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handoutMasterIdLst>
    <p:handoutMasterId r:id="rId29"/>
  </p:handoutMasterIdLst>
  <p:sldIdLst>
    <p:sldId id="263" r:id="rId2"/>
    <p:sldId id="324" r:id="rId3"/>
    <p:sldId id="318" r:id="rId4"/>
    <p:sldId id="295" r:id="rId5"/>
    <p:sldId id="296" r:id="rId6"/>
    <p:sldId id="332" r:id="rId7"/>
    <p:sldId id="311" r:id="rId8"/>
    <p:sldId id="315" r:id="rId9"/>
    <p:sldId id="317" r:id="rId10"/>
    <p:sldId id="333" r:id="rId11"/>
    <p:sldId id="329" r:id="rId12"/>
    <p:sldId id="334" r:id="rId13"/>
    <p:sldId id="331" r:id="rId14"/>
    <p:sldId id="330" r:id="rId15"/>
    <p:sldId id="335" r:id="rId16"/>
    <p:sldId id="316" r:id="rId17"/>
    <p:sldId id="320" r:id="rId18"/>
    <p:sldId id="314" r:id="rId19"/>
    <p:sldId id="325" r:id="rId20"/>
    <p:sldId id="313" r:id="rId21"/>
    <p:sldId id="326" r:id="rId22"/>
    <p:sldId id="323" r:id="rId23"/>
    <p:sldId id="322" r:id="rId24"/>
    <p:sldId id="328" r:id="rId25"/>
    <p:sldId id="312" r:id="rId26"/>
    <p:sldId id="310" r:id="rId27"/>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FC682D4-F9EF-4561-A515-27AD8F8A4F0C}">
          <p14:sldIdLst>
            <p14:sldId id="263"/>
            <p14:sldId id="324"/>
          </p14:sldIdLst>
        </p14:section>
        <p14:section name="Where I'm Coming From" id="{ABC5BCC1-E86E-472A-A0CE-B186D5FFD074}">
          <p14:sldIdLst>
            <p14:sldId id="318"/>
            <p14:sldId id="295"/>
            <p14:sldId id="296"/>
            <p14:sldId id="332"/>
          </p14:sldIdLst>
        </p14:section>
        <p14:section name="Regulation: How did we get here?" id="{6A3D8456-5DD9-4AD5-B8C2-1BAD26E91D60}">
          <p14:sldIdLst>
            <p14:sldId id="311"/>
            <p14:sldId id="315"/>
            <p14:sldId id="317"/>
            <p14:sldId id="333"/>
          </p14:sldIdLst>
        </p14:section>
        <p14:section name="Regulation: What's normal?" id="{96241FD1-594B-463E-869E-62AE5F92068F}">
          <p14:sldIdLst>
            <p14:sldId id="329"/>
            <p14:sldId id="334"/>
            <p14:sldId id="331"/>
            <p14:sldId id="330"/>
            <p14:sldId id="335"/>
            <p14:sldId id="316"/>
          </p14:sldIdLst>
        </p14:section>
        <p14:section name="Regulation: Getting easier? Less important?" id="{82646FB9-E67E-4559-BBD9-B1E97399EA7D}">
          <p14:sldIdLst>
            <p14:sldId id="320"/>
            <p14:sldId id="314"/>
            <p14:sldId id="325"/>
            <p14:sldId id="313"/>
          </p14:sldIdLst>
        </p14:section>
        <p14:section name="Constructive commentary" id="{E5518C17-66A8-4573-937F-EF5FF5489C23}">
          <p14:sldIdLst>
            <p14:sldId id="326"/>
            <p14:sldId id="323"/>
            <p14:sldId id="322"/>
            <p14:sldId id="328"/>
            <p14:sldId id="312"/>
          </p14:sldIdLst>
        </p14:section>
        <p14:section name="Honest Abe!" id="{CD4F50DC-8738-496F-A448-10A6CE9160CE}">
          <p14:sldIdLst>
            <p14:sldId id="31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6247" autoAdjust="0"/>
  </p:normalViewPr>
  <p:slideViewPr>
    <p:cSldViewPr snapToGrid="0">
      <p:cViewPr varScale="1">
        <p:scale>
          <a:sx n="106" d="100"/>
          <a:sy n="106" d="100"/>
        </p:scale>
        <p:origin x="654"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3" d="100"/>
          <a:sy n="83" d="100"/>
        </p:scale>
        <p:origin x="381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A266342-DA67-47DB-9755-E6C8C9DA1B3F}"/>
              </a:ext>
            </a:extLst>
          </p:cNvPr>
          <p:cNvSpPr>
            <a:spLocks noGrp="1"/>
          </p:cNvSpPr>
          <p:nvPr>
            <p:ph type="hdr" sz="quarter"/>
          </p:nvPr>
        </p:nvSpPr>
        <p:spPr>
          <a:xfrm>
            <a:off x="0" y="0"/>
            <a:ext cx="3077739" cy="471054"/>
          </a:xfrm>
          <a:prstGeom prst="rect">
            <a:avLst/>
          </a:prstGeom>
        </p:spPr>
        <p:txBody>
          <a:bodyPr vert="horz" lIns="94218" tIns="47108" rIns="94218" bIns="47108" rtlCol="0"/>
          <a:lstStyle>
            <a:lvl1pPr algn="l">
              <a:defRPr sz="1200"/>
            </a:lvl1pPr>
          </a:lstStyle>
          <a:p>
            <a:endParaRPr lang="en-US" dirty="0"/>
          </a:p>
        </p:txBody>
      </p:sp>
      <p:sp>
        <p:nvSpPr>
          <p:cNvPr id="3" name="Date Placeholder 2">
            <a:extLst>
              <a:ext uri="{FF2B5EF4-FFF2-40B4-BE49-F238E27FC236}">
                <a16:creationId xmlns:a16="http://schemas.microsoft.com/office/drawing/2014/main" id="{5A0E91A6-4E6D-4FEF-A3A9-C6A2FCD5C262}"/>
              </a:ext>
            </a:extLst>
          </p:cNvPr>
          <p:cNvSpPr>
            <a:spLocks noGrp="1"/>
          </p:cNvSpPr>
          <p:nvPr>
            <p:ph type="dt" sz="quarter" idx="1"/>
          </p:nvPr>
        </p:nvSpPr>
        <p:spPr>
          <a:xfrm>
            <a:off x="4023093" y="0"/>
            <a:ext cx="3077739" cy="471054"/>
          </a:xfrm>
          <a:prstGeom prst="rect">
            <a:avLst/>
          </a:prstGeom>
        </p:spPr>
        <p:txBody>
          <a:bodyPr vert="horz" lIns="94218" tIns="47108" rIns="94218" bIns="47108" rtlCol="0"/>
          <a:lstStyle>
            <a:lvl1pPr algn="r">
              <a:defRPr sz="1200"/>
            </a:lvl1pPr>
          </a:lstStyle>
          <a:p>
            <a:fld id="{FB8EDD75-BC6B-48BE-853C-131FA6A52B86}" type="datetimeFigureOut">
              <a:rPr lang="en-US" smtClean="0"/>
              <a:t>7/24/2018</a:t>
            </a:fld>
            <a:endParaRPr lang="en-US" dirty="0"/>
          </a:p>
        </p:txBody>
      </p:sp>
      <p:sp>
        <p:nvSpPr>
          <p:cNvPr id="4" name="Footer Placeholder 3">
            <a:extLst>
              <a:ext uri="{FF2B5EF4-FFF2-40B4-BE49-F238E27FC236}">
                <a16:creationId xmlns:a16="http://schemas.microsoft.com/office/drawing/2014/main" id="{3FA284CE-686C-439F-BC91-E8A7586BC19E}"/>
              </a:ext>
            </a:extLst>
          </p:cNvPr>
          <p:cNvSpPr>
            <a:spLocks noGrp="1"/>
          </p:cNvSpPr>
          <p:nvPr>
            <p:ph type="ftr" sz="quarter" idx="2"/>
          </p:nvPr>
        </p:nvSpPr>
        <p:spPr>
          <a:xfrm>
            <a:off x="0" y="8917423"/>
            <a:ext cx="3077739" cy="471053"/>
          </a:xfrm>
          <a:prstGeom prst="rect">
            <a:avLst/>
          </a:prstGeom>
        </p:spPr>
        <p:txBody>
          <a:bodyPr vert="horz" lIns="94218" tIns="47108" rIns="94218" bIns="47108"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596BA92-B5E7-45C6-A96B-6E5FF51578C0}"/>
              </a:ext>
            </a:extLst>
          </p:cNvPr>
          <p:cNvSpPr>
            <a:spLocks noGrp="1"/>
          </p:cNvSpPr>
          <p:nvPr>
            <p:ph type="sldNum" sz="quarter" idx="3"/>
          </p:nvPr>
        </p:nvSpPr>
        <p:spPr>
          <a:xfrm>
            <a:off x="4023093" y="8917423"/>
            <a:ext cx="3077739" cy="471053"/>
          </a:xfrm>
          <a:prstGeom prst="rect">
            <a:avLst/>
          </a:prstGeom>
        </p:spPr>
        <p:txBody>
          <a:bodyPr vert="horz" lIns="94218" tIns="47108" rIns="94218" bIns="47108" rtlCol="0" anchor="b"/>
          <a:lstStyle>
            <a:lvl1pPr algn="r">
              <a:defRPr sz="1200"/>
            </a:lvl1pPr>
          </a:lstStyle>
          <a:p>
            <a:fld id="{C6AA1B34-F023-4C33-9C15-91CA14E4E5BC}" type="slidenum">
              <a:rPr lang="en-US" smtClean="0"/>
              <a:t>‹#›</a:t>
            </a:fld>
            <a:endParaRPr lang="en-US" dirty="0"/>
          </a:p>
        </p:txBody>
      </p:sp>
    </p:spTree>
    <p:extLst>
      <p:ext uri="{BB962C8B-B14F-4D97-AF65-F5344CB8AC3E}">
        <p14:creationId xmlns:p14="http://schemas.microsoft.com/office/powerpoint/2010/main" val="3969277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18" tIns="47108" rIns="94218" bIns="47108" rtlCol="0"/>
          <a:lstStyle>
            <a:lvl1pPr algn="l">
              <a:defRPr sz="1200"/>
            </a:lvl1pPr>
          </a:lstStyle>
          <a:p>
            <a:endParaRPr lang="en-US" dirty="0"/>
          </a:p>
        </p:txBody>
      </p:sp>
      <p:sp>
        <p:nvSpPr>
          <p:cNvPr id="3" name="Date Placeholder 2"/>
          <p:cNvSpPr>
            <a:spLocks noGrp="1"/>
          </p:cNvSpPr>
          <p:nvPr>
            <p:ph type="dt" idx="1"/>
          </p:nvPr>
        </p:nvSpPr>
        <p:spPr>
          <a:xfrm>
            <a:off x="4023093" y="0"/>
            <a:ext cx="3077739" cy="471054"/>
          </a:xfrm>
          <a:prstGeom prst="rect">
            <a:avLst/>
          </a:prstGeom>
        </p:spPr>
        <p:txBody>
          <a:bodyPr vert="horz" lIns="94218" tIns="47108" rIns="94218" bIns="47108" rtlCol="0"/>
          <a:lstStyle>
            <a:lvl1pPr algn="r">
              <a:defRPr sz="1200"/>
            </a:lvl1pPr>
          </a:lstStyle>
          <a:p>
            <a:fld id="{3EF8C602-B25D-4784-B593-785E87FD3586}" type="datetimeFigureOut">
              <a:rPr lang="en-US" smtClean="0"/>
              <a:t>7/24/2018</a:t>
            </a:fld>
            <a:endParaRPr lang="en-US"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18" tIns="47108" rIns="94218" bIns="47108" rtlCol="0" anchor="ctr"/>
          <a:lstStyle/>
          <a:p>
            <a:endParaRPr lang="en-US" dirty="0"/>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18" tIns="47108" rIns="94218" bIns="4710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3"/>
            <a:ext cx="3077739" cy="471053"/>
          </a:xfrm>
          <a:prstGeom prst="rect">
            <a:avLst/>
          </a:prstGeom>
        </p:spPr>
        <p:txBody>
          <a:bodyPr vert="horz" lIns="94218" tIns="47108" rIns="94218" bIns="471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3" y="8917423"/>
            <a:ext cx="3077739" cy="471053"/>
          </a:xfrm>
          <a:prstGeom prst="rect">
            <a:avLst/>
          </a:prstGeom>
        </p:spPr>
        <p:txBody>
          <a:bodyPr vert="horz" lIns="94218" tIns="47108" rIns="94218" bIns="47108" rtlCol="0" anchor="b"/>
          <a:lstStyle>
            <a:lvl1pPr algn="r">
              <a:defRPr sz="1200"/>
            </a:lvl1pPr>
          </a:lstStyle>
          <a:p>
            <a:fld id="{717BBB08-2B2B-4E74-A0FB-F3AAD6B87DB6}" type="slidenum">
              <a:rPr lang="en-US" smtClean="0"/>
              <a:t>‹#›</a:t>
            </a:fld>
            <a:endParaRPr lang="en-US" dirty="0"/>
          </a:p>
        </p:txBody>
      </p:sp>
    </p:spTree>
    <p:extLst>
      <p:ext uri="{BB962C8B-B14F-4D97-AF65-F5344CB8AC3E}">
        <p14:creationId xmlns:p14="http://schemas.microsoft.com/office/powerpoint/2010/main" val="34881806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a:t>
            </a:fld>
            <a:endParaRPr lang="en-US" dirty="0"/>
          </a:p>
        </p:txBody>
      </p:sp>
    </p:spTree>
    <p:extLst>
      <p:ext uri="{BB962C8B-B14F-4D97-AF65-F5344CB8AC3E}">
        <p14:creationId xmlns:p14="http://schemas.microsoft.com/office/powerpoint/2010/main" val="2075443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0</a:t>
            </a:fld>
            <a:endParaRPr lang="en-US" dirty="0"/>
          </a:p>
        </p:txBody>
      </p:sp>
    </p:spTree>
    <p:extLst>
      <p:ext uri="{BB962C8B-B14F-4D97-AF65-F5344CB8AC3E}">
        <p14:creationId xmlns:p14="http://schemas.microsoft.com/office/powerpoint/2010/main" val="2934811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1</a:t>
            </a:fld>
            <a:endParaRPr lang="en-US" dirty="0"/>
          </a:p>
        </p:txBody>
      </p:sp>
    </p:spTree>
    <p:extLst>
      <p:ext uri="{BB962C8B-B14F-4D97-AF65-F5344CB8AC3E}">
        <p14:creationId xmlns:p14="http://schemas.microsoft.com/office/powerpoint/2010/main" val="2002952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2</a:t>
            </a:fld>
            <a:endParaRPr lang="en-US" dirty="0"/>
          </a:p>
        </p:txBody>
      </p:sp>
    </p:spTree>
    <p:extLst>
      <p:ext uri="{BB962C8B-B14F-4D97-AF65-F5344CB8AC3E}">
        <p14:creationId xmlns:p14="http://schemas.microsoft.com/office/powerpoint/2010/main" val="1650293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3</a:t>
            </a:fld>
            <a:endParaRPr lang="en-US" dirty="0"/>
          </a:p>
        </p:txBody>
      </p:sp>
    </p:spTree>
    <p:extLst>
      <p:ext uri="{BB962C8B-B14F-4D97-AF65-F5344CB8AC3E}">
        <p14:creationId xmlns:p14="http://schemas.microsoft.com/office/powerpoint/2010/main" val="26056920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4</a:t>
            </a:fld>
            <a:endParaRPr lang="en-US" dirty="0"/>
          </a:p>
        </p:txBody>
      </p:sp>
    </p:spTree>
    <p:extLst>
      <p:ext uri="{BB962C8B-B14F-4D97-AF65-F5344CB8AC3E}">
        <p14:creationId xmlns:p14="http://schemas.microsoft.com/office/powerpoint/2010/main" val="2033919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5</a:t>
            </a:fld>
            <a:endParaRPr lang="en-US" dirty="0"/>
          </a:p>
        </p:txBody>
      </p:sp>
    </p:spTree>
    <p:extLst>
      <p:ext uri="{BB962C8B-B14F-4D97-AF65-F5344CB8AC3E}">
        <p14:creationId xmlns:p14="http://schemas.microsoft.com/office/powerpoint/2010/main" val="40034519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6</a:t>
            </a:fld>
            <a:endParaRPr lang="en-US" dirty="0"/>
          </a:p>
        </p:txBody>
      </p:sp>
    </p:spTree>
    <p:extLst>
      <p:ext uri="{BB962C8B-B14F-4D97-AF65-F5344CB8AC3E}">
        <p14:creationId xmlns:p14="http://schemas.microsoft.com/office/powerpoint/2010/main" val="3236504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7</a:t>
            </a:fld>
            <a:endParaRPr lang="en-US" dirty="0"/>
          </a:p>
        </p:txBody>
      </p:sp>
    </p:spTree>
    <p:extLst>
      <p:ext uri="{BB962C8B-B14F-4D97-AF65-F5344CB8AC3E}">
        <p14:creationId xmlns:p14="http://schemas.microsoft.com/office/powerpoint/2010/main" val="20338003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8</a:t>
            </a:fld>
            <a:endParaRPr lang="en-US" dirty="0"/>
          </a:p>
        </p:txBody>
      </p:sp>
    </p:spTree>
    <p:extLst>
      <p:ext uri="{BB962C8B-B14F-4D97-AF65-F5344CB8AC3E}">
        <p14:creationId xmlns:p14="http://schemas.microsoft.com/office/powerpoint/2010/main" val="36382252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19</a:t>
            </a:fld>
            <a:endParaRPr lang="en-US" dirty="0"/>
          </a:p>
        </p:txBody>
      </p:sp>
    </p:spTree>
    <p:extLst>
      <p:ext uri="{BB962C8B-B14F-4D97-AF65-F5344CB8AC3E}">
        <p14:creationId xmlns:p14="http://schemas.microsoft.com/office/powerpoint/2010/main" val="2834931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2</a:t>
            </a:fld>
            <a:endParaRPr lang="en-US" dirty="0"/>
          </a:p>
        </p:txBody>
      </p:sp>
    </p:spTree>
    <p:extLst>
      <p:ext uri="{BB962C8B-B14F-4D97-AF65-F5344CB8AC3E}">
        <p14:creationId xmlns:p14="http://schemas.microsoft.com/office/powerpoint/2010/main" val="2575924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20</a:t>
            </a:fld>
            <a:endParaRPr lang="en-US" dirty="0"/>
          </a:p>
        </p:txBody>
      </p:sp>
    </p:spTree>
    <p:extLst>
      <p:ext uri="{BB962C8B-B14F-4D97-AF65-F5344CB8AC3E}">
        <p14:creationId xmlns:p14="http://schemas.microsoft.com/office/powerpoint/2010/main" val="24364677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21</a:t>
            </a:fld>
            <a:endParaRPr lang="en-US" dirty="0"/>
          </a:p>
        </p:txBody>
      </p:sp>
    </p:spTree>
    <p:extLst>
      <p:ext uri="{BB962C8B-B14F-4D97-AF65-F5344CB8AC3E}">
        <p14:creationId xmlns:p14="http://schemas.microsoft.com/office/powerpoint/2010/main" val="1393972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23</a:t>
            </a:fld>
            <a:endParaRPr lang="en-US" dirty="0"/>
          </a:p>
        </p:txBody>
      </p:sp>
    </p:spTree>
    <p:extLst>
      <p:ext uri="{BB962C8B-B14F-4D97-AF65-F5344CB8AC3E}">
        <p14:creationId xmlns:p14="http://schemas.microsoft.com/office/powerpoint/2010/main" val="312544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24</a:t>
            </a:fld>
            <a:endParaRPr lang="en-US" dirty="0"/>
          </a:p>
        </p:txBody>
      </p:sp>
    </p:spTree>
    <p:extLst>
      <p:ext uri="{BB962C8B-B14F-4D97-AF65-F5344CB8AC3E}">
        <p14:creationId xmlns:p14="http://schemas.microsoft.com/office/powerpoint/2010/main" val="14382379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25</a:t>
            </a:fld>
            <a:endParaRPr lang="en-US" dirty="0"/>
          </a:p>
        </p:txBody>
      </p:sp>
    </p:spTree>
    <p:extLst>
      <p:ext uri="{BB962C8B-B14F-4D97-AF65-F5344CB8AC3E}">
        <p14:creationId xmlns:p14="http://schemas.microsoft.com/office/powerpoint/2010/main" val="7803562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8.</a:t>
            </a:r>
            <a:r>
              <a:rPr lang="en-US" dirty="0"/>
              <a:t> During his time in New Salem, Illinois, Abraham Lincoln was a business partner of William F. Berry. Together they operated a store. On March 6, 1833, Berry and Lincoln were issued a tavern license (liquor license), but Berry alone signed the $300 bond for the license. He signed both his own and Lincoln's name. A resident named Bowling Green also signed the bond. The license was issued by the Sangamon County Commissioners and was good for one year. The license itself cost Berry and Lincoln $7. The liquor license allowed them to sell 1/2 pint of wine or French brandy for $.25. Also, they could sell 1/2 pint of rum, peach brandy, or Holland gin for $.1875. http://rogerjnorton.com/Lincoln92.html </a:t>
            </a:r>
          </a:p>
        </p:txBody>
      </p:sp>
      <p:sp>
        <p:nvSpPr>
          <p:cNvPr id="4" name="Slide Number Placeholder 3"/>
          <p:cNvSpPr>
            <a:spLocks noGrp="1"/>
          </p:cNvSpPr>
          <p:nvPr>
            <p:ph type="sldNum" sz="quarter" idx="10"/>
          </p:nvPr>
        </p:nvSpPr>
        <p:spPr/>
        <p:txBody>
          <a:bodyPr/>
          <a:lstStyle/>
          <a:p>
            <a:fld id="{703C74BA-BF2D-314A-BFDD-7FC657CD1237}" type="slidenum">
              <a:rPr lang="en-US" smtClean="0"/>
              <a:t>26</a:t>
            </a:fld>
            <a:endParaRPr lang="en-US" dirty="0"/>
          </a:p>
        </p:txBody>
      </p:sp>
    </p:spTree>
    <p:extLst>
      <p:ext uri="{BB962C8B-B14F-4D97-AF65-F5344CB8AC3E}">
        <p14:creationId xmlns:p14="http://schemas.microsoft.com/office/powerpoint/2010/main" val="3860888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3</a:t>
            </a:fld>
            <a:endParaRPr lang="en-US" dirty="0"/>
          </a:p>
        </p:txBody>
      </p:sp>
    </p:spTree>
    <p:extLst>
      <p:ext uri="{BB962C8B-B14F-4D97-AF65-F5344CB8AC3E}">
        <p14:creationId xmlns:p14="http://schemas.microsoft.com/office/powerpoint/2010/main" val="4193296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4</a:t>
            </a:fld>
            <a:endParaRPr lang="en-US" dirty="0"/>
          </a:p>
        </p:txBody>
      </p:sp>
    </p:spTree>
    <p:extLst>
      <p:ext uri="{BB962C8B-B14F-4D97-AF65-F5344CB8AC3E}">
        <p14:creationId xmlns:p14="http://schemas.microsoft.com/office/powerpoint/2010/main" val="3003417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5</a:t>
            </a:fld>
            <a:endParaRPr lang="en-US" dirty="0"/>
          </a:p>
        </p:txBody>
      </p:sp>
    </p:spTree>
    <p:extLst>
      <p:ext uri="{BB962C8B-B14F-4D97-AF65-F5344CB8AC3E}">
        <p14:creationId xmlns:p14="http://schemas.microsoft.com/office/powerpoint/2010/main" val="15021713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6</a:t>
            </a:fld>
            <a:endParaRPr lang="en-US" dirty="0"/>
          </a:p>
        </p:txBody>
      </p:sp>
    </p:spTree>
    <p:extLst>
      <p:ext uri="{BB962C8B-B14F-4D97-AF65-F5344CB8AC3E}">
        <p14:creationId xmlns:p14="http://schemas.microsoft.com/office/powerpoint/2010/main" val="4152284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7</a:t>
            </a:fld>
            <a:endParaRPr lang="en-US" dirty="0"/>
          </a:p>
        </p:txBody>
      </p:sp>
    </p:spTree>
    <p:extLst>
      <p:ext uri="{BB962C8B-B14F-4D97-AF65-F5344CB8AC3E}">
        <p14:creationId xmlns:p14="http://schemas.microsoft.com/office/powerpoint/2010/main" val="2042969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8</a:t>
            </a:fld>
            <a:endParaRPr lang="en-US" dirty="0"/>
          </a:p>
        </p:txBody>
      </p:sp>
    </p:spTree>
    <p:extLst>
      <p:ext uri="{BB962C8B-B14F-4D97-AF65-F5344CB8AC3E}">
        <p14:creationId xmlns:p14="http://schemas.microsoft.com/office/powerpoint/2010/main" val="2818650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3C74BA-BF2D-314A-BFDD-7FC657CD1237}" type="slidenum">
              <a:rPr lang="en-US" smtClean="0"/>
              <a:t>9</a:t>
            </a:fld>
            <a:endParaRPr lang="en-US" dirty="0"/>
          </a:p>
        </p:txBody>
      </p:sp>
    </p:spTree>
    <p:extLst>
      <p:ext uri="{BB962C8B-B14F-4D97-AF65-F5344CB8AC3E}">
        <p14:creationId xmlns:p14="http://schemas.microsoft.com/office/powerpoint/2010/main" val="225037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6E2FA-9971-4666-A880-05E7ABDE10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8E774B-4D03-46AD-9913-A5ACF9FB715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C80BCFD-F9A4-4D5F-AB56-B5528A553BBC}"/>
              </a:ext>
            </a:extLst>
          </p:cNvPr>
          <p:cNvSpPr>
            <a:spLocks noGrp="1"/>
          </p:cNvSpPr>
          <p:nvPr>
            <p:ph type="dt" sz="half" idx="10"/>
          </p:nvPr>
        </p:nvSpPr>
        <p:spPr/>
        <p:txBody>
          <a:bodyPr/>
          <a:lstStyle/>
          <a:p>
            <a:fld id="{07CFD0D6-1521-4D7C-90C6-239326D0EAD5}" type="datetime1">
              <a:rPr lang="en-US" smtClean="0"/>
              <a:t>7/24/2018</a:t>
            </a:fld>
            <a:endParaRPr lang="en-US" dirty="0"/>
          </a:p>
        </p:txBody>
      </p:sp>
      <p:sp>
        <p:nvSpPr>
          <p:cNvPr id="5" name="Footer Placeholder 4">
            <a:extLst>
              <a:ext uri="{FF2B5EF4-FFF2-40B4-BE49-F238E27FC236}">
                <a16:creationId xmlns:a16="http://schemas.microsoft.com/office/drawing/2014/main" id="{AD44D23A-B1E1-4FD4-A714-1A914B9FA6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12AD252-70E1-44E0-ABCB-827E64027140}"/>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6511376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532CE-EFBE-46D1-ADB3-2CB57CFD81A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3EDCDB2-1772-4E5E-AEC0-942D2CE2A6C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64CFDC-77E0-4C98-A498-C2D9621C3C6A}"/>
              </a:ext>
            </a:extLst>
          </p:cNvPr>
          <p:cNvSpPr>
            <a:spLocks noGrp="1"/>
          </p:cNvSpPr>
          <p:nvPr>
            <p:ph type="dt" sz="half" idx="10"/>
          </p:nvPr>
        </p:nvSpPr>
        <p:spPr/>
        <p:txBody>
          <a:bodyPr/>
          <a:lstStyle/>
          <a:p>
            <a:fld id="{B2AFAA2F-28EB-4270-A984-35010B147C73}" type="datetime1">
              <a:rPr lang="en-US" smtClean="0"/>
              <a:t>7/24/2018</a:t>
            </a:fld>
            <a:endParaRPr lang="en-US" dirty="0"/>
          </a:p>
        </p:txBody>
      </p:sp>
      <p:sp>
        <p:nvSpPr>
          <p:cNvPr id="5" name="Footer Placeholder 4">
            <a:extLst>
              <a:ext uri="{FF2B5EF4-FFF2-40B4-BE49-F238E27FC236}">
                <a16:creationId xmlns:a16="http://schemas.microsoft.com/office/drawing/2014/main" id="{31508623-2BC6-4AA8-B81C-94F4C47635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61B761-C3FE-434A-B9C4-9A64986F2F1F}"/>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26406222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0785ADA-1923-45F2-8327-9C9E46CC010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1C6A7E0-8FA2-498C-BB18-DA4BF3DD3AA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2E57FC-D4F1-417D-BA55-ABD89A98CED5}"/>
              </a:ext>
            </a:extLst>
          </p:cNvPr>
          <p:cNvSpPr>
            <a:spLocks noGrp="1"/>
          </p:cNvSpPr>
          <p:nvPr>
            <p:ph type="dt" sz="half" idx="10"/>
          </p:nvPr>
        </p:nvSpPr>
        <p:spPr/>
        <p:txBody>
          <a:bodyPr/>
          <a:lstStyle/>
          <a:p>
            <a:fld id="{271BA927-B870-4DC7-9631-05D4895B5114}" type="datetime1">
              <a:rPr lang="en-US" smtClean="0"/>
              <a:t>7/24/2018</a:t>
            </a:fld>
            <a:endParaRPr lang="en-US" dirty="0"/>
          </a:p>
        </p:txBody>
      </p:sp>
      <p:sp>
        <p:nvSpPr>
          <p:cNvPr id="5" name="Footer Placeholder 4">
            <a:extLst>
              <a:ext uri="{FF2B5EF4-FFF2-40B4-BE49-F238E27FC236}">
                <a16:creationId xmlns:a16="http://schemas.microsoft.com/office/drawing/2014/main" id="{1004DE79-7828-41DA-A005-75B2203B70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E5E8B80-C50D-41FB-8BC7-7A163EF4A011}"/>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129095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DE17D-CBDC-4546-A45E-DBFFE0E4E4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224911-B870-48B4-8AAE-7CAAD4927C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13E060-5F07-4C36-9F06-17D7A8F64631}"/>
              </a:ext>
            </a:extLst>
          </p:cNvPr>
          <p:cNvSpPr>
            <a:spLocks noGrp="1"/>
          </p:cNvSpPr>
          <p:nvPr>
            <p:ph type="dt" sz="half" idx="10"/>
          </p:nvPr>
        </p:nvSpPr>
        <p:spPr/>
        <p:txBody>
          <a:bodyPr/>
          <a:lstStyle/>
          <a:p>
            <a:fld id="{0E38A6ED-D8EA-40D1-95EC-7D2E305A017B}" type="datetime1">
              <a:rPr lang="en-US" smtClean="0"/>
              <a:t>7/24/2018</a:t>
            </a:fld>
            <a:endParaRPr lang="en-US" dirty="0"/>
          </a:p>
        </p:txBody>
      </p:sp>
      <p:sp>
        <p:nvSpPr>
          <p:cNvPr id="5" name="Footer Placeholder 4">
            <a:extLst>
              <a:ext uri="{FF2B5EF4-FFF2-40B4-BE49-F238E27FC236}">
                <a16:creationId xmlns:a16="http://schemas.microsoft.com/office/drawing/2014/main" id="{EE20B0CE-5A61-4BD3-B3D5-1DD5132649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4E4386E-61D9-4CD4-A72F-8DBB7B4BA0AC}"/>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5834933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02B3F-68EB-46B8-9F5F-B749D460CE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AD22124-14E6-4010-AB62-BBA6199846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29EEDA0-FF5E-472A-BC49-79E2F5DB37EE}"/>
              </a:ext>
            </a:extLst>
          </p:cNvPr>
          <p:cNvSpPr>
            <a:spLocks noGrp="1"/>
          </p:cNvSpPr>
          <p:nvPr>
            <p:ph type="dt" sz="half" idx="10"/>
          </p:nvPr>
        </p:nvSpPr>
        <p:spPr/>
        <p:txBody>
          <a:bodyPr/>
          <a:lstStyle/>
          <a:p>
            <a:fld id="{3BC4220F-BD2E-4C83-B8B7-871485D22BA1}" type="datetime1">
              <a:rPr lang="en-US" smtClean="0"/>
              <a:t>7/24/2018</a:t>
            </a:fld>
            <a:endParaRPr lang="en-US" dirty="0"/>
          </a:p>
        </p:txBody>
      </p:sp>
      <p:sp>
        <p:nvSpPr>
          <p:cNvPr id="5" name="Footer Placeholder 4">
            <a:extLst>
              <a:ext uri="{FF2B5EF4-FFF2-40B4-BE49-F238E27FC236}">
                <a16:creationId xmlns:a16="http://schemas.microsoft.com/office/drawing/2014/main" id="{0905A6ED-CDF7-401B-B1AC-A9CB75E452B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6CF0298-3D66-4681-A833-ACA205E3F9B5}"/>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29781916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218B7-F7DC-421E-95A9-1313EC90CC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F81F2A-6753-47CD-9C11-9B3D7DCDF9F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79E793-B387-4310-8DCC-6B476EB544C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75679D-6F16-4440-A1BE-345D3040B4C8}"/>
              </a:ext>
            </a:extLst>
          </p:cNvPr>
          <p:cNvSpPr>
            <a:spLocks noGrp="1"/>
          </p:cNvSpPr>
          <p:nvPr>
            <p:ph type="dt" sz="half" idx="10"/>
          </p:nvPr>
        </p:nvSpPr>
        <p:spPr/>
        <p:txBody>
          <a:bodyPr/>
          <a:lstStyle/>
          <a:p>
            <a:fld id="{63E04679-D51A-4918-9FCD-46BA5128EA14}" type="datetime1">
              <a:rPr lang="en-US" smtClean="0"/>
              <a:t>7/24/2018</a:t>
            </a:fld>
            <a:endParaRPr lang="en-US" dirty="0"/>
          </a:p>
        </p:txBody>
      </p:sp>
      <p:sp>
        <p:nvSpPr>
          <p:cNvPr id="6" name="Footer Placeholder 5">
            <a:extLst>
              <a:ext uri="{FF2B5EF4-FFF2-40B4-BE49-F238E27FC236}">
                <a16:creationId xmlns:a16="http://schemas.microsoft.com/office/drawing/2014/main" id="{D363957B-BEDD-4204-9DC5-125796970F2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2F76FE9-2D48-4D4D-9A36-20457A09F44C}"/>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1803241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F3748-F753-487F-B627-0D93B947E07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D54EB1B-8B17-416E-90DA-E411F6D1A2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E6DE74D-9BC3-4533-956F-1AE7443C7AF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8493E8-6EA8-48DE-88D6-4EBDA2FC52C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3B46A82-CBA3-41F3-8DBC-E23F8D6A11E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9D9A23-B1C8-4E8A-B3BC-0F9ED91DC9A2}"/>
              </a:ext>
            </a:extLst>
          </p:cNvPr>
          <p:cNvSpPr>
            <a:spLocks noGrp="1"/>
          </p:cNvSpPr>
          <p:nvPr>
            <p:ph type="dt" sz="half" idx="10"/>
          </p:nvPr>
        </p:nvSpPr>
        <p:spPr/>
        <p:txBody>
          <a:bodyPr/>
          <a:lstStyle/>
          <a:p>
            <a:fld id="{D0823F26-6E5E-4B10-A6F5-00D533E9AE0C}" type="datetime1">
              <a:rPr lang="en-US" smtClean="0"/>
              <a:t>7/24/2018</a:t>
            </a:fld>
            <a:endParaRPr lang="en-US" dirty="0"/>
          </a:p>
        </p:txBody>
      </p:sp>
      <p:sp>
        <p:nvSpPr>
          <p:cNvPr id="8" name="Footer Placeholder 7">
            <a:extLst>
              <a:ext uri="{FF2B5EF4-FFF2-40B4-BE49-F238E27FC236}">
                <a16:creationId xmlns:a16="http://schemas.microsoft.com/office/drawing/2014/main" id="{283B5853-BF68-4DC3-9FE2-FB04210494BA}"/>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6C984FC-916F-4BC4-A3B9-44875C410DDE}"/>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2208706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29E24-3DF8-4632-A616-5DA2813FB69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AC86CFA-8B1D-44C7-924D-E4C651B2680A}"/>
              </a:ext>
            </a:extLst>
          </p:cNvPr>
          <p:cNvSpPr>
            <a:spLocks noGrp="1"/>
          </p:cNvSpPr>
          <p:nvPr>
            <p:ph type="dt" sz="half" idx="10"/>
          </p:nvPr>
        </p:nvSpPr>
        <p:spPr/>
        <p:txBody>
          <a:bodyPr/>
          <a:lstStyle/>
          <a:p>
            <a:fld id="{9BEF6D5E-7CD7-44BB-8DDE-F3E4EBABABDA}" type="datetime1">
              <a:rPr lang="en-US" smtClean="0"/>
              <a:t>7/24/2018</a:t>
            </a:fld>
            <a:endParaRPr lang="en-US" dirty="0"/>
          </a:p>
        </p:txBody>
      </p:sp>
      <p:sp>
        <p:nvSpPr>
          <p:cNvPr id="4" name="Footer Placeholder 3">
            <a:extLst>
              <a:ext uri="{FF2B5EF4-FFF2-40B4-BE49-F238E27FC236}">
                <a16:creationId xmlns:a16="http://schemas.microsoft.com/office/drawing/2014/main" id="{9FBFD3FC-29DE-4D7A-9A49-A42E29E1A7D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22CBB63-EB4D-464F-B91E-7C014C215D54}"/>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2886970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F0E0B1D-A6B2-4123-9B68-BB32D83568AB}"/>
              </a:ext>
            </a:extLst>
          </p:cNvPr>
          <p:cNvSpPr>
            <a:spLocks noGrp="1"/>
          </p:cNvSpPr>
          <p:nvPr>
            <p:ph type="dt" sz="half" idx="10"/>
          </p:nvPr>
        </p:nvSpPr>
        <p:spPr/>
        <p:txBody>
          <a:bodyPr/>
          <a:lstStyle/>
          <a:p>
            <a:fld id="{49CFEF4C-A2C5-488F-8F59-163FBC44A21F}" type="datetime1">
              <a:rPr lang="en-US" smtClean="0"/>
              <a:t>7/24/2018</a:t>
            </a:fld>
            <a:endParaRPr lang="en-US" dirty="0"/>
          </a:p>
        </p:txBody>
      </p:sp>
      <p:sp>
        <p:nvSpPr>
          <p:cNvPr id="3" name="Footer Placeholder 2">
            <a:extLst>
              <a:ext uri="{FF2B5EF4-FFF2-40B4-BE49-F238E27FC236}">
                <a16:creationId xmlns:a16="http://schemas.microsoft.com/office/drawing/2014/main" id="{F77DBE51-B63B-4584-99A2-E424C1BA8E1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472100E-AC4B-4F57-9ABB-1EBCDCE1F8DA}"/>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2817106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B0F0D-D5B4-463F-AF09-D33C1AF640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D63A62-781E-4E5C-9073-3470A3D74D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A44E0B-4F94-4E47-ABB0-08A50C1B19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CD79D1F-C939-45CF-B9D1-06B69ECA8AD4}"/>
              </a:ext>
            </a:extLst>
          </p:cNvPr>
          <p:cNvSpPr>
            <a:spLocks noGrp="1"/>
          </p:cNvSpPr>
          <p:nvPr>
            <p:ph type="dt" sz="half" idx="10"/>
          </p:nvPr>
        </p:nvSpPr>
        <p:spPr/>
        <p:txBody>
          <a:bodyPr/>
          <a:lstStyle/>
          <a:p>
            <a:fld id="{948C0739-C5E4-46F3-81B4-7813580EC956}" type="datetime1">
              <a:rPr lang="en-US" smtClean="0"/>
              <a:t>7/24/2018</a:t>
            </a:fld>
            <a:endParaRPr lang="en-US" dirty="0"/>
          </a:p>
        </p:txBody>
      </p:sp>
      <p:sp>
        <p:nvSpPr>
          <p:cNvPr id="6" name="Footer Placeholder 5">
            <a:extLst>
              <a:ext uri="{FF2B5EF4-FFF2-40B4-BE49-F238E27FC236}">
                <a16:creationId xmlns:a16="http://schemas.microsoft.com/office/drawing/2014/main" id="{14B34DC8-3B79-41B3-BD1B-66D1A57AEB2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53F1947-4BFA-4B41-A13B-E75151C1D7C2}"/>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2537021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8BBDD-4671-4DE8-AC46-D749FE363D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C2555A-B16F-4CF5-A66F-6E2D9EE1F1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3F0C6223-784B-4A16-AF06-4DF3E995DA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3325E93-2848-4B21-8F5F-94E34FE76068}"/>
              </a:ext>
            </a:extLst>
          </p:cNvPr>
          <p:cNvSpPr>
            <a:spLocks noGrp="1"/>
          </p:cNvSpPr>
          <p:nvPr>
            <p:ph type="dt" sz="half" idx="10"/>
          </p:nvPr>
        </p:nvSpPr>
        <p:spPr/>
        <p:txBody>
          <a:bodyPr/>
          <a:lstStyle/>
          <a:p>
            <a:fld id="{71269461-7553-4AE6-9B7B-B54EC93B54F0}" type="datetime1">
              <a:rPr lang="en-US" smtClean="0"/>
              <a:t>7/24/2018</a:t>
            </a:fld>
            <a:endParaRPr lang="en-US" dirty="0"/>
          </a:p>
        </p:txBody>
      </p:sp>
      <p:sp>
        <p:nvSpPr>
          <p:cNvPr id="6" name="Footer Placeholder 5">
            <a:extLst>
              <a:ext uri="{FF2B5EF4-FFF2-40B4-BE49-F238E27FC236}">
                <a16:creationId xmlns:a16="http://schemas.microsoft.com/office/drawing/2014/main" id="{466B7165-2978-4A83-AF50-76056D27BDC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56C17E5-F7EF-492B-8AFE-1A2ABFAEF46C}"/>
              </a:ext>
            </a:extLst>
          </p:cNvPr>
          <p:cNvSpPr>
            <a:spLocks noGrp="1"/>
          </p:cNvSpPr>
          <p:nvPr>
            <p:ph type="sldNum" sz="quarter" idx="12"/>
          </p:nvPr>
        </p:nvSpPr>
        <p:spPr/>
        <p:txBody>
          <a:bodyPr/>
          <a:lstStyle/>
          <a:p>
            <a:fld id="{E688E218-EDC1-45FE-BD02-D56DD4A0E21D}" type="slidenum">
              <a:rPr lang="en-US" smtClean="0"/>
              <a:t>‹#›</a:t>
            </a:fld>
            <a:endParaRPr lang="en-US" dirty="0"/>
          </a:p>
        </p:txBody>
      </p:sp>
    </p:spTree>
    <p:extLst>
      <p:ext uri="{BB962C8B-B14F-4D97-AF65-F5344CB8AC3E}">
        <p14:creationId xmlns:p14="http://schemas.microsoft.com/office/powerpoint/2010/main" val="6020969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6B374EB-A83C-4C17-A721-A8D5D4EDED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341002-787B-4014-8412-4F613E6D5B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647326-8026-41EE-B7A1-A561A48A82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0510FF-C18E-47EB-96F8-7E64D1950282}" type="datetime1">
              <a:rPr lang="en-US" smtClean="0"/>
              <a:t>7/24/2018</a:t>
            </a:fld>
            <a:endParaRPr lang="en-US" dirty="0"/>
          </a:p>
        </p:txBody>
      </p:sp>
      <p:sp>
        <p:nvSpPr>
          <p:cNvPr id="5" name="Footer Placeholder 4">
            <a:extLst>
              <a:ext uri="{FF2B5EF4-FFF2-40B4-BE49-F238E27FC236}">
                <a16:creationId xmlns:a16="http://schemas.microsoft.com/office/drawing/2014/main" id="{9FC64300-3977-4956-8EAA-F9BB68293C3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DA61051-AC6F-4D8F-ACC3-FD419DB726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88E218-EDC1-45FE-BD02-D56DD4A0E21D}" type="slidenum">
              <a:rPr lang="en-US" smtClean="0"/>
              <a:t>‹#›</a:t>
            </a:fld>
            <a:endParaRPr lang="en-US" dirty="0"/>
          </a:p>
        </p:txBody>
      </p:sp>
    </p:spTree>
    <p:extLst>
      <p:ext uri="{BB962C8B-B14F-4D97-AF65-F5344CB8AC3E}">
        <p14:creationId xmlns:p14="http://schemas.microsoft.com/office/powerpoint/2010/main" val="16024702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jpeg"/></Relationships>
</file>

<file path=ppt/slides/_rels/slide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2.jpeg"/></Relationships>
</file>

<file path=ppt/slides/_rels/slide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11.jpeg"/><Relationship Id="rId11" Type="http://schemas.openxmlformats.org/officeDocument/2006/relationships/image" Target="../media/image2.jpeg"/><Relationship Id="rId5" Type="http://schemas.openxmlformats.org/officeDocument/2006/relationships/image" Target="../media/image10.png"/><Relationship Id="rId10" Type="http://schemas.openxmlformats.org/officeDocument/2006/relationships/image" Target="../media/image15.jpeg"/><Relationship Id="rId4" Type="http://schemas.openxmlformats.org/officeDocument/2006/relationships/image" Target="../media/image9.gif"/><Relationship Id="rId9" Type="http://schemas.openxmlformats.org/officeDocument/2006/relationships/image" Target="../media/image14.jpeg"/></Relationships>
</file>

<file path=ppt/slides/_rels/slide1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png"/><Relationship Id="rId12" Type="http://schemas.openxmlformats.org/officeDocument/2006/relationships/image" Target="../media/image2.jpe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19.jpeg"/><Relationship Id="rId11" Type="http://schemas.openxmlformats.org/officeDocument/2006/relationships/image" Target="../media/image24.jpeg"/><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png"/><Relationship Id="rId9"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jpeg"/></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2.jpeg"/><Relationship Id="rId5" Type="http://schemas.openxmlformats.org/officeDocument/2006/relationships/image" Target="../media/image28.jpeg"/><Relationship Id="rId4"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2.jpe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mailto:bodnovich@ablusa.org"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2.jpeg"/><Relationship Id="rId5" Type="http://schemas.openxmlformats.org/officeDocument/2006/relationships/image" Target="../media/image30.jpeg"/><Relationship Id="rId4" Type="http://schemas.openxmlformats.org/officeDocument/2006/relationships/hyperlink" Target="http://www.ablusa.org/"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jpeg"/></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2.jpeg"/></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38" Type="http://schemas.openxmlformats.org/officeDocument/2006/relationships/tags" Target="../tags/tag138.xml"/><Relationship Id="rId154" Type="http://schemas.openxmlformats.org/officeDocument/2006/relationships/tags" Target="../tags/tag154.xml"/><Relationship Id="rId159" Type="http://schemas.openxmlformats.org/officeDocument/2006/relationships/tags" Target="../tags/tag159.xml"/><Relationship Id="rId175" Type="http://schemas.openxmlformats.org/officeDocument/2006/relationships/image" Target="../media/image2.jpeg"/><Relationship Id="rId170" Type="http://schemas.openxmlformats.org/officeDocument/2006/relationships/tags" Target="../tags/tag170.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28" Type="http://schemas.openxmlformats.org/officeDocument/2006/relationships/tags" Target="../tags/tag128.xml"/><Relationship Id="rId144" Type="http://schemas.openxmlformats.org/officeDocument/2006/relationships/tags" Target="../tags/tag144.xml"/><Relationship Id="rId149" Type="http://schemas.openxmlformats.org/officeDocument/2006/relationships/tags" Target="../tags/tag14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160" Type="http://schemas.openxmlformats.org/officeDocument/2006/relationships/tags" Target="../tags/tag160.xml"/><Relationship Id="rId165" Type="http://schemas.openxmlformats.org/officeDocument/2006/relationships/tags" Target="../tags/tag16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134" Type="http://schemas.openxmlformats.org/officeDocument/2006/relationships/tags" Target="../tags/tag134.xml"/><Relationship Id="rId139" Type="http://schemas.openxmlformats.org/officeDocument/2006/relationships/tags" Target="../tags/tag139.xml"/><Relationship Id="rId80" Type="http://schemas.openxmlformats.org/officeDocument/2006/relationships/tags" Target="../tags/tag80.xml"/><Relationship Id="rId85" Type="http://schemas.openxmlformats.org/officeDocument/2006/relationships/tags" Target="../tags/tag85.xml"/><Relationship Id="rId150" Type="http://schemas.openxmlformats.org/officeDocument/2006/relationships/tags" Target="../tags/tag150.xml"/><Relationship Id="rId155" Type="http://schemas.openxmlformats.org/officeDocument/2006/relationships/tags" Target="../tags/tag155.xml"/><Relationship Id="rId171" Type="http://schemas.openxmlformats.org/officeDocument/2006/relationships/tags" Target="../tags/tag171.xml"/><Relationship Id="rId12" Type="http://schemas.openxmlformats.org/officeDocument/2006/relationships/tags" Target="../tags/tag12.xml"/><Relationship Id="rId17" Type="http://schemas.openxmlformats.org/officeDocument/2006/relationships/tags" Target="../tags/tag17.xml"/><Relationship Id="rId33" Type="http://schemas.openxmlformats.org/officeDocument/2006/relationships/tags" Target="../tags/tag33.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08" Type="http://schemas.openxmlformats.org/officeDocument/2006/relationships/tags" Target="../tags/tag108.xml"/><Relationship Id="rId124" Type="http://schemas.openxmlformats.org/officeDocument/2006/relationships/tags" Target="../tags/tag124.xml"/><Relationship Id="rId129" Type="http://schemas.openxmlformats.org/officeDocument/2006/relationships/tags" Target="../tags/tag129.xml"/><Relationship Id="rId54" Type="http://schemas.openxmlformats.org/officeDocument/2006/relationships/tags" Target="../tags/tag54.xml"/><Relationship Id="rId70" Type="http://schemas.openxmlformats.org/officeDocument/2006/relationships/tags" Target="../tags/tag70.xml"/><Relationship Id="rId75" Type="http://schemas.openxmlformats.org/officeDocument/2006/relationships/tags" Target="../tags/tag75.xml"/><Relationship Id="rId91" Type="http://schemas.openxmlformats.org/officeDocument/2006/relationships/tags" Target="../tags/tag91.xml"/><Relationship Id="rId96" Type="http://schemas.openxmlformats.org/officeDocument/2006/relationships/tags" Target="../tags/tag96.xml"/><Relationship Id="rId140" Type="http://schemas.openxmlformats.org/officeDocument/2006/relationships/tags" Target="../tags/tag140.xml"/><Relationship Id="rId145" Type="http://schemas.openxmlformats.org/officeDocument/2006/relationships/tags" Target="../tags/tag145.xml"/><Relationship Id="rId161" Type="http://schemas.openxmlformats.org/officeDocument/2006/relationships/tags" Target="../tags/tag161.xml"/><Relationship Id="rId166" Type="http://schemas.openxmlformats.org/officeDocument/2006/relationships/tags" Target="../tags/tag166.xml"/><Relationship Id="rId1" Type="http://schemas.openxmlformats.org/officeDocument/2006/relationships/tags" Target="../tags/tag1.xml"/><Relationship Id="rId6" Type="http://schemas.openxmlformats.org/officeDocument/2006/relationships/tags" Target="../tags/tag6.xml"/><Relationship Id="rId23" Type="http://schemas.openxmlformats.org/officeDocument/2006/relationships/tags" Target="../tags/tag23.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119" Type="http://schemas.openxmlformats.org/officeDocument/2006/relationships/tags" Target="../tags/tag119.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30" Type="http://schemas.openxmlformats.org/officeDocument/2006/relationships/tags" Target="../tags/tag130.xml"/><Relationship Id="rId135" Type="http://schemas.openxmlformats.org/officeDocument/2006/relationships/tags" Target="../tags/tag135.xml"/><Relationship Id="rId143" Type="http://schemas.openxmlformats.org/officeDocument/2006/relationships/tags" Target="../tags/tag143.xml"/><Relationship Id="rId148" Type="http://schemas.openxmlformats.org/officeDocument/2006/relationships/tags" Target="../tags/tag148.xml"/><Relationship Id="rId151" Type="http://schemas.openxmlformats.org/officeDocument/2006/relationships/tags" Target="../tags/tag151.xml"/><Relationship Id="rId156" Type="http://schemas.openxmlformats.org/officeDocument/2006/relationships/tags" Target="../tags/tag156.xml"/><Relationship Id="rId164" Type="http://schemas.openxmlformats.org/officeDocument/2006/relationships/tags" Target="../tags/tag164.xml"/><Relationship Id="rId169" Type="http://schemas.openxmlformats.org/officeDocument/2006/relationships/tags" Target="../tags/tag169.xml"/><Relationship Id="rId4" Type="http://schemas.openxmlformats.org/officeDocument/2006/relationships/tags" Target="../tags/tag4.xml"/><Relationship Id="rId9" Type="http://schemas.openxmlformats.org/officeDocument/2006/relationships/tags" Target="../tags/tag9.xml"/><Relationship Id="rId172" Type="http://schemas.openxmlformats.org/officeDocument/2006/relationships/tags" Target="../tags/tag172.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167" Type="http://schemas.openxmlformats.org/officeDocument/2006/relationships/tags" Target="../tags/tag167.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162" Type="http://schemas.openxmlformats.org/officeDocument/2006/relationships/tags" Target="../tags/tag16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157" Type="http://schemas.openxmlformats.org/officeDocument/2006/relationships/tags" Target="../tags/tag157.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slideLayout" Target="../slideLayouts/slideLayout6.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3" Type="http://schemas.openxmlformats.org/officeDocument/2006/relationships/tags" Target="../tags/tag3.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notesSlide" Target="../notesSlides/notesSlide8.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BCD35A48-41A3-4A6A-A7E3-90CA8487DC18}"/>
              </a:ext>
            </a:extLst>
          </p:cNvPr>
          <p:cNvGrpSpPr/>
          <p:nvPr/>
        </p:nvGrpSpPr>
        <p:grpSpPr>
          <a:xfrm>
            <a:off x="624689" y="1620574"/>
            <a:ext cx="4684328" cy="4885028"/>
            <a:chOff x="624689" y="1620574"/>
            <a:chExt cx="4684328" cy="4885028"/>
          </a:xfrm>
        </p:grpSpPr>
        <p:sp>
          <p:nvSpPr>
            <p:cNvPr id="15" name="Title 1">
              <a:extLst>
                <a:ext uri="{FF2B5EF4-FFF2-40B4-BE49-F238E27FC236}">
                  <a16:creationId xmlns:a16="http://schemas.microsoft.com/office/drawing/2014/main" id="{5877EF22-330A-4244-A9E8-5CEB48D467BC}"/>
                </a:ext>
              </a:extLst>
            </p:cNvPr>
            <p:cNvSpPr txBox="1">
              <a:spLocks/>
            </p:cNvSpPr>
            <p:nvPr/>
          </p:nvSpPr>
          <p:spPr>
            <a:xfrm>
              <a:off x="689907" y="1620574"/>
              <a:ext cx="4553892" cy="2387600"/>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latin typeface="Cambria" panose="02040503050406030204" pitchFamily="18" charset="0"/>
                </a:rPr>
                <a:t>Regulation of </a:t>
              </a:r>
            </a:p>
            <a:p>
              <a:pPr algn="ctr"/>
              <a:r>
                <a:rPr lang="en-US" b="1" dirty="0">
                  <a:latin typeface="Cambria" panose="02040503050406030204" pitchFamily="18" charset="0"/>
                </a:rPr>
                <a:t>the Alcohol Marketplace</a:t>
              </a:r>
            </a:p>
          </p:txBody>
        </p:sp>
        <p:sp>
          <p:nvSpPr>
            <p:cNvPr id="16" name="Subtitle 2">
              <a:extLst>
                <a:ext uri="{FF2B5EF4-FFF2-40B4-BE49-F238E27FC236}">
                  <a16:creationId xmlns:a16="http://schemas.microsoft.com/office/drawing/2014/main" id="{7AC05EAE-A21A-4CC1-AA8F-43DFAB7DC47B}"/>
                </a:ext>
              </a:extLst>
            </p:cNvPr>
            <p:cNvSpPr txBox="1">
              <a:spLocks/>
            </p:cNvSpPr>
            <p:nvPr/>
          </p:nvSpPr>
          <p:spPr>
            <a:xfrm>
              <a:off x="624689" y="4118002"/>
              <a:ext cx="4684328" cy="2387600"/>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latin typeface="Cambria" panose="02040503050406030204" pitchFamily="18" charset="0"/>
                </a:rPr>
                <a:t>Wisconsin Legislative Council</a:t>
              </a:r>
            </a:p>
            <a:p>
              <a:pPr marL="0" indent="0" algn="ctr">
                <a:buNone/>
              </a:pPr>
              <a:endParaRPr lang="en-US" sz="2400" i="1" dirty="0">
                <a:latin typeface="Cambria" panose="02040503050406030204" pitchFamily="18" charset="0"/>
              </a:endParaRPr>
            </a:p>
            <a:p>
              <a:pPr marL="0" indent="0" algn="ctr">
                <a:buNone/>
              </a:pPr>
              <a:r>
                <a:rPr lang="en-US" sz="2400" i="1" dirty="0">
                  <a:latin typeface="Cambria" panose="02040503050406030204" pitchFamily="18" charset="0"/>
                </a:rPr>
                <a:t>Study Committee on Alcohol Beverages Enforcement</a:t>
              </a:r>
            </a:p>
            <a:p>
              <a:pPr marL="0" indent="0" algn="ctr">
                <a:buNone/>
              </a:pPr>
              <a:endParaRPr lang="en-US" sz="1800" dirty="0">
                <a:latin typeface="Cambria" panose="02040503050406030204" pitchFamily="18" charset="0"/>
              </a:endParaRPr>
            </a:p>
            <a:p>
              <a:pPr marL="0" indent="0" algn="ctr">
                <a:buNone/>
              </a:pPr>
              <a:r>
                <a:rPr lang="en-US" sz="1800" dirty="0">
                  <a:latin typeface="Cambria" panose="02040503050406030204" pitchFamily="18" charset="0"/>
                </a:rPr>
                <a:t>July 25, 2018 | Madison, WI</a:t>
              </a:r>
            </a:p>
          </p:txBody>
        </p:sp>
      </p:grpSp>
      <p:pic>
        <p:nvPicPr>
          <p:cNvPr id="1026" name="Picture 2" descr="Image result for alcohol regulation">
            <a:extLst>
              <a:ext uri="{FF2B5EF4-FFF2-40B4-BE49-F238E27FC236}">
                <a16:creationId xmlns:a16="http://schemas.microsoft.com/office/drawing/2014/main" id="{12E9C430-EA32-4A66-8895-55A5629B58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4612" y="1940455"/>
            <a:ext cx="6151976" cy="413543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DB27FCAB-2531-4688-8C91-DDA907936B3A}"/>
              </a:ext>
            </a:extLst>
          </p:cNvPr>
          <p:cNvSpPr>
            <a:spLocks noGrp="1"/>
          </p:cNvSpPr>
          <p:nvPr>
            <p:ph type="sldNum" sz="quarter" idx="12"/>
          </p:nvPr>
        </p:nvSpPr>
        <p:spPr/>
        <p:txBody>
          <a:bodyPr/>
          <a:lstStyle/>
          <a:p>
            <a:fld id="{E688E218-EDC1-45FE-BD02-D56DD4A0E21D}" type="slidenum">
              <a:rPr lang="en-US" smtClean="0"/>
              <a:t>1</a:t>
            </a:fld>
            <a:endParaRPr lang="en-US" dirty="0"/>
          </a:p>
        </p:txBody>
      </p:sp>
      <p:pic>
        <p:nvPicPr>
          <p:cNvPr id="8" name="Picture 7">
            <a:extLst>
              <a:ext uri="{FF2B5EF4-FFF2-40B4-BE49-F238E27FC236}">
                <a16:creationId xmlns:a16="http://schemas.microsoft.com/office/drawing/2014/main" id="{4A90983D-A778-4674-B14E-0CE2594D8A33}"/>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4100848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Three-Tier System</a:t>
            </a:r>
            <a:br>
              <a:rPr lang="en-US" sz="3200" b="1" dirty="0">
                <a:latin typeface="Cambria" panose="02040503050406030204" pitchFamily="18" charset="0"/>
              </a:rPr>
            </a:br>
            <a:r>
              <a:rPr lang="en-US" sz="2900" dirty="0">
                <a:latin typeface="Cambria" panose="02040503050406030204" pitchFamily="18" charset="0"/>
              </a:rPr>
              <a:t>Five Common Characteristics Among State Systems</a:t>
            </a:r>
          </a:p>
        </p:txBody>
      </p:sp>
      <p:sp>
        <p:nvSpPr>
          <p:cNvPr id="6" name="Rectangle 5">
            <a:extLst>
              <a:ext uri="{FF2B5EF4-FFF2-40B4-BE49-F238E27FC236}">
                <a16:creationId xmlns:a16="http://schemas.microsoft.com/office/drawing/2014/main" id="{0B21CA6A-5A88-4E47-A5ED-32EBDAF15739}"/>
              </a:ext>
            </a:extLst>
          </p:cNvPr>
          <p:cNvSpPr/>
          <p:nvPr/>
        </p:nvSpPr>
        <p:spPr>
          <a:xfrm>
            <a:off x="923922" y="1462332"/>
            <a:ext cx="9478509" cy="4955203"/>
          </a:xfrm>
          <a:prstGeom prst="rect">
            <a:avLst/>
          </a:prstGeom>
        </p:spPr>
        <p:txBody>
          <a:bodyPr wrap="square">
            <a:spAutoFit/>
          </a:bodyPr>
          <a:lstStyle/>
          <a:p>
            <a:pPr marL="457200" indent="-457200">
              <a:buFont typeface="+mj-lt"/>
              <a:buAutoNum type="arabicPeriod"/>
            </a:pPr>
            <a:r>
              <a:rPr lang="en-US" b="1" dirty="0">
                <a:latin typeface="Cambria" panose="02040503050406030204" pitchFamily="18" charset="0"/>
              </a:rPr>
              <a:t>Efficiently collecting taxes</a:t>
            </a:r>
          </a:p>
          <a:p>
            <a:pPr marL="914400" lvl="1" indent="-457200">
              <a:buFont typeface="Arial" panose="020B0604020202020204" pitchFamily="34" charset="0"/>
              <a:buChar char="•"/>
            </a:pPr>
            <a:r>
              <a:rPr lang="en-US" sz="1600" dirty="0">
                <a:latin typeface="Cambria" panose="02040503050406030204" pitchFamily="18" charset="0"/>
              </a:rPr>
              <a:t>State and local tax collection is straightforward and easy to track through a clear chain of custody</a:t>
            </a:r>
          </a:p>
          <a:p>
            <a:pPr marL="457200" indent="-457200">
              <a:buFont typeface="+mj-lt"/>
              <a:buAutoNum type="arabicPeriod"/>
            </a:pPr>
            <a:endParaRPr lang="en-US" sz="1600" dirty="0">
              <a:latin typeface="Cambria" panose="02040503050406030204" pitchFamily="18" charset="0"/>
            </a:endParaRPr>
          </a:p>
          <a:p>
            <a:pPr marL="457200" indent="-457200">
              <a:buFont typeface="+mj-lt"/>
              <a:buAutoNum type="arabicPeriod"/>
            </a:pPr>
            <a:r>
              <a:rPr lang="en-US" b="1" dirty="0">
                <a:latin typeface="Cambria" panose="02040503050406030204" pitchFamily="18" charset="0"/>
              </a:rPr>
              <a:t>Preventing the sale of alcohol to minors</a:t>
            </a:r>
          </a:p>
          <a:p>
            <a:pPr marL="914400" lvl="1" indent="-457200">
              <a:buFont typeface="Arial" panose="020B0604020202020204" pitchFamily="34" charset="0"/>
              <a:buChar char="•"/>
            </a:pPr>
            <a:r>
              <a:rPr lang="en-US" sz="1600" dirty="0">
                <a:latin typeface="Cambria" panose="02040503050406030204" pitchFamily="18" charset="0"/>
              </a:rPr>
              <a:t>Sales are made to of-age consumers by licensed retailers under threat of loss of their license and their business for non-compliance</a:t>
            </a:r>
          </a:p>
          <a:p>
            <a:pPr marL="457200" indent="-457200">
              <a:buFont typeface="+mj-lt"/>
              <a:buAutoNum type="arabicPeriod"/>
            </a:pPr>
            <a:endParaRPr lang="en-US" sz="1600" dirty="0">
              <a:latin typeface="Cambria" panose="02040503050406030204" pitchFamily="18" charset="0"/>
            </a:endParaRPr>
          </a:p>
          <a:p>
            <a:pPr marL="457200" indent="-457200">
              <a:buFont typeface="+mj-lt"/>
              <a:buAutoNum type="arabicPeriod"/>
            </a:pPr>
            <a:r>
              <a:rPr lang="en-US" b="1" dirty="0">
                <a:latin typeface="Cambria" panose="02040503050406030204" pitchFamily="18" charset="0"/>
              </a:rPr>
              <a:t>Fostering and overseeing responsible competition in a regulated environment and marketplace</a:t>
            </a:r>
          </a:p>
          <a:p>
            <a:pPr marL="914400" lvl="1" indent="-457200">
              <a:buFont typeface="Arial" panose="020B0604020202020204" pitchFamily="34" charset="0"/>
              <a:buChar char="•"/>
            </a:pPr>
            <a:r>
              <a:rPr lang="en-US" sz="1600" dirty="0">
                <a:latin typeface="Cambria" panose="02040503050406030204" pitchFamily="18" charset="0"/>
              </a:rPr>
              <a:t>Builds and expand brands through merchandising, product promotion, marketing plans that are available to all licensees</a:t>
            </a:r>
          </a:p>
          <a:p>
            <a:pPr marL="457200" indent="-457200">
              <a:buFont typeface="+mj-lt"/>
              <a:buAutoNum type="arabicPeriod"/>
            </a:pPr>
            <a:endParaRPr lang="en-US" sz="1600" dirty="0">
              <a:latin typeface="Cambria" panose="02040503050406030204" pitchFamily="18" charset="0"/>
            </a:endParaRPr>
          </a:p>
          <a:p>
            <a:pPr marL="457200" indent="-457200">
              <a:buFont typeface="+mj-lt"/>
              <a:buAutoNum type="arabicPeriod"/>
            </a:pPr>
            <a:r>
              <a:rPr lang="en-US" b="1" dirty="0">
                <a:latin typeface="Cambria" panose="02040503050406030204" pitchFamily="18" charset="0"/>
              </a:rPr>
              <a:t>Ensuring product safety</a:t>
            </a:r>
          </a:p>
          <a:p>
            <a:pPr marL="914400" lvl="1" indent="-457200">
              <a:buFont typeface="Arial" panose="020B0604020202020204" pitchFamily="34" charset="0"/>
              <a:buChar char="•"/>
            </a:pPr>
            <a:r>
              <a:rPr lang="en-US" sz="1600" dirty="0">
                <a:latin typeface="Cambria" panose="02040503050406030204" pitchFamily="18" charset="0"/>
              </a:rPr>
              <a:t>Product accountability through tracking products from manufacturer to retailer provides a transparent and traceable chain of custody</a:t>
            </a:r>
          </a:p>
          <a:p>
            <a:pPr marL="457200" indent="-457200">
              <a:buFont typeface="+mj-lt"/>
              <a:buAutoNum type="arabicPeriod"/>
            </a:pPr>
            <a:endParaRPr lang="en-US" sz="1600" dirty="0">
              <a:latin typeface="Cambria" panose="02040503050406030204" pitchFamily="18" charset="0"/>
            </a:endParaRPr>
          </a:p>
          <a:p>
            <a:pPr marL="457200" indent="-457200">
              <a:buFont typeface="+mj-lt"/>
              <a:buAutoNum type="arabicPeriod"/>
            </a:pPr>
            <a:r>
              <a:rPr lang="en-US" b="1" dirty="0">
                <a:latin typeface="Cambria" panose="02040503050406030204" pitchFamily="18" charset="0"/>
              </a:rPr>
              <a:t>Preventing the sale of tainted or counterfeit products</a:t>
            </a:r>
          </a:p>
          <a:p>
            <a:pPr marL="914400" lvl="1" indent="-457200">
              <a:buFont typeface="Arial" panose="020B0604020202020204" pitchFamily="34" charset="0"/>
              <a:buChar char="•"/>
            </a:pPr>
            <a:r>
              <a:rPr lang="en-US" sz="1600" dirty="0">
                <a:latin typeface="Cambria" panose="02040503050406030204" pitchFamily="18" charset="0"/>
              </a:rPr>
              <a:t>System participants use leading quality control mechanisms, significantly decreasing instances of tainted or counterfeit alcohol products appearing in the marketplace</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10</a:t>
            </a:fld>
            <a:endParaRPr lang="en-US" dirty="0"/>
          </a:p>
        </p:txBody>
      </p:sp>
      <p:pic>
        <p:nvPicPr>
          <p:cNvPr id="7" name="Picture 6">
            <a:extLst>
              <a:ext uri="{FF2B5EF4-FFF2-40B4-BE49-F238E27FC236}">
                <a16:creationId xmlns:a16="http://schemas.microsoft.com/office/drawing/2014/main" id="{FD69B1B1-9D4F-4581-B60C-C27744DAF4A9}"/>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2195161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Federal Alcohol Regulation</a:t>
            </a:r>
            <a:br>
              <a:rPr lang="en-US" sz="3600" b="1" dirty="0">
                <a:latin typeface="Cambria" panose="02040503050406030204" pitchFamily="18" charset="0"/>
              </a:rPr>
            </a:br>
            <a:r>
              <a:rPr lang="en-US" sz="2900" dirty="0">
                <a:latin typeface="Cambria" panose="02040503050406030204" pitchFamily="18" charset="0"/>
              </a:rPr>
              <a:t>Is There a Dedicated Federal Alcohol Enforcement Agency?</a:t>
            </a:r>
          </a:p>
        </p:txBody>
      </p:sp>
      <p:sp>
        <p:nvSpPr>
          <p:cNvPr id="6" name="Rectangle 5">
            <a:extLst>
              <a:ext uri="{FF2B5EF4-FFF2-40B4-BE49-F238E27FC236}">
                <a16:creationId xmlns:a16="http://schemas.microsoft.com/office/drawing/2014/main" id="{0B21CA6A-5A88-4E47-A5ED-32EBDAF15739}"/>
              </a:ext>
            </a:extLst>
          </p:cNvPr>
          <p:cNvSpPr/>
          <p:nvPr/>
        </p:nvSpPr>
        <p:spPr>
          <a:xfrm>
            <a:off x="923923" y="1462332"/>
            <a:ext cx="9220895" cy="5386090"/>
          </a:xfrm>
          <a:prstGeom prst="rect">
            <a:avLst/>
          </a:prstGeom>
        </p:spPr>
        <p:txBody>
          <a:bodyPr wrap="square">
            <a:spAutoFit/>
          </a:bodyPr>
          <a:lstStyle/>
          <a:p>
            <a:pPr marL="285750" indent="-285750">
              <a:buFont typeface="Arial" panose="020B0604020202020204" pitchFamily="34" charset="0"/>
              <a:buChar char="•"/>
            </a:pPr>
            <a:r>
              <a:rPr lang="en-US" b="1" dirty="0">
                <a:latin typeface="Cambria" panose="02040503050406030204" pitchFamily="18" charset="0"/>
                <a:ea typeface="Cambria" panose="02040503050406030204" pitchFamily="18" charset="0"/>
              </a:rPr>
              <a:t>YES.</a:t>
            </a:r>
          </a:p>
          <a:p>
            <a:pPr marL="285750" indent="-285750">
              <a:buFont typeface="Arial" panose="020B0604020202020204" pitchFamily="34" charset="0"/>
              <a:buChar char="•"/>
            </a:pPr>
            <a:endParaRPr lang="en-US" dirty="0">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ea typeface="Cambria" panose="02040503050406030204" pitchFamily="18" charset="0"/>
              </a:rPr>
              <a:t>The Alcohol and Tobacco Tax and Trade Bureau (TTB) </a:t>
            </a:r>
          </a:p>
          <a:p>
            <a:pPr marL="742950" lvl="1" indent="-285750">
              <a:buFont typeface="Arial" panose="020B0604020202020204" pitchFamily="34" charset="0"/>
              <a:buChar char="•"/>
            </a:pPr>
            <a:endParaRPr lang="en-US" dirty="0">
              <a:latin typeface="Cambria" panose="02040503050406030204" pitchFamily="18" charset="0"/>
              <a:ea typeface="Cambria" panose="02040503050406030204" pitchFamily="18" charset="0"/>
            </a:endParaRPr>
          </a:p>
          <a:p>
            <a:pPr marL="742950" lvl="1" indent="-285750">
              <a:buFont typeface="Arial" panose="020B0604020202020204" pitchFamily="34" charset="0"/>
              <a:buChar char="•"/>
            </a:pPr>
            <a:r>
              <a:rPr lang="en-US" sz="1600" dirty="0">
                <a:latin typeface="Cambria" panose="02040503050406030204" pitchFamily="18" charset="0"/>
                <a:ea typeface="Cambria" panose="02040503050406030204" pitchFamily="18" charset="0"/>
              </a:rPr>
              <a:t>Created in 2003 with the split the Bureau of Alcohol, Tobacco and Firearms:</a:t>
            </a:r>
          </a:p>
          <a:p>
            <a:pPr marL="1200150" lvl="2" indent="-285750">
              <a:buFont typeface="Arial" panose="020B0604020202020204" pitchFamily="34" charset="0"/>
              <a:buChar char="•"/>
            </a:pPr>
            <a:endParaRPr lang="en-US" sz="1600" dirty="0">
              <a:latin typeface="Cambria" panose="02040503050406030204" pitchFamily="18" charset="0"/>
              <a:ea typeface="Cambria" panose="02040503050406030204" pitchFamily="18" charset="0"/>
            </a:endParaRPr>
          </a:p>
          <a:p>
            <a:pPr marL="1200150" lvl="2" indent="-285750">
              <a:buFont typeface="Arial" panose="020B0604020202020204" pitchFamily="34" charset="0"/>
              <a:buChar char="•"/>
            </a:pPr>
            <a:r>
              <a:rPr lang="en-US" sz="1600" dirty="0">
                <a:latin typeface="Cambria" panose="02040503050406030204" pitchFamily="18" charset="0"/>
                <a:ea typeface="Cambria" panose="02040503050406030204" pitchFamily="18" charset="0"/>
              </a:rPr>
              <a:t>ATF -  investigation and prevention of federal offenses involving the unlawful use, manufacture, and possession of firearms and explosives; acts of arson and bombings; and illegal trafficking of alcohol and tobacco products (Dept. of Justice)</a:t>
            </a:r>
          </a:p>
          <a:p>
            <a:pPr marL="1200150" lvl="2" indent="-285750">
              <a:buFont typeface="Arial" panose="020B0604020202020204" pitchFamily="34" charset="0"/>
              <a:buChar char="•"/>
            </a:pPr>
            <a:endParaRPr lang="en-US" sz="1600" dirty="0">
              <a:latin typeface="Cambria" panose="02040503050406030204" pitchFamily="18" charset="0"/>
              <a:ea typeface="Cambria" panose="02040503050406030204" pitchFamily="18" charset="0"/>
            </a:endParaRPr>
          </a:p>
          <a:p>
            <a:pPr marL="1200150" lvl="2" indent="-285750">
              <a:buFont typeface="Arial" panose="020B0604020202020204" pitchFamily="34" charset="0"/>
              <a:buChar char="•"/>
            </a:pPr>
            <a:r>
              <a:rPr lang="en-US" sz="1600" dirty="0">
                <a:latin typeface="Cambria" panose="02040503050406030204" pitchFamily="18" charset="0"/>
                <a:ea typeface="Cambria" panose="02040503050406030204" pitchFamily="18" charset="0"/>
              </a:rPr>
              <a:t>TTB – tax collection, regulation of legitimate trade e.g. label and formula approval; trade practice investigations &amp; enforcement (Dept. of Treasury)</a:t>
            </a:r>
          </a:p>
          <a:p>
            <a:pPr marL="285750" indent="-285750">
              <a:buFont typeface="Arial" panose="020B0604020202020204" pitchFamily="34" charset="0"/>
              <a:buChar char="•"/>
            </a:pPr>
            <a:endParaRPr lang="en-US" dirty="0">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ea typeface="Cambria" panose="02040503050406030204" pitchFamily="18" charset="0"/>
              </a:rPr>
              <a:t>TTB enforces the provisions of the Federal Alcohol Administration Act (FAA Act).  Certain alcohol businesses must file an application with and receive approval from TTB before engaging in business.</a:t>
            </a:r>
          </a:p>
          <a:p>
            <a:pPr marL="285750" indent="-285750">
              <a:buFont typeface="Arial" panose="020B0604020202020204" pitchFamily="34" charset="0"/>
              <a:buChar char="•"/>
            </a:pPr>
            <a:endParaRPr lang="en-US" dirty="0">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n-US" b="1" u="sng" dirty="0">
                <a:latin typeface="Cambria" panose="02040503050406030204" pitchFamily="18" charset="0"/>
                <a:ea typeface="Cambria" panose="02040503050406030204" pitchFamily="18" charset="0"/>
              </a:rPr>
              <a:t>The TTB does NOT issue a license to sell beverage alcohol products at retail. </a:t>
            </a:r>
            <a:r>
              <a:rPr lang="en-US" dirty="0">
                <a:latin typeface="Cambria" panose="02040503050406030204" pitchFamily="18" charset="0"/>
                <a:ea typeface="Cambria" panose="02040503050406030204" pitchFamily="18" charset="0"/>
              </a:rPr>
              <a:t>Interested parties must contact their State or local licensing authority to obtain a retail license.</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11</a:t>
            </a:fld>
            <a:endParaRPr lang="en-US" dirty="0"/>
          </a:p>
        </p:txBody>
      </p:sp>
      <p:pic>
        <p:nvPicPr>
          <p:cNvPr id="4098" name="Picture 2" descr="https://upload.wikimedia.org/wikipedia/commons/thumb/4/4d/US-AlcoholAndTobaccoTaxAndTradeBureau-Seal.svg/140px-US-AlcoholAndTobaccoTaxAndTradeBureau-Seal.svg.png">
            <a:extLst>
              <a:ext uri="{FF2B5EF4-FFF2-40B4-BE49-F238E27FC236}">
                <a16:creationId xmlns:a16="http://schemas.microsoft.com/office/drawing/2014/main" id="{52677BA5-045D-4A28-9A5D-ECBD33D7F4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2200" y="1895917"/>
            <a:ext cx="1813041" cy="181304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FF17A66-6376-427E-82CB-FA900E48C306}"/>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2638070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9953985" cy="930275"/>
          </a:xfrm>
        </p:spPr>
        <p:txBody>
          <a:bodyPr anchor="t">
            <a:normAutofit fontScale="90000"/>
          </a:bodyPr>
          <a:lstStyle/>
          <a:p>
            <a:r>
              <a:rPr lang="en-US" sz="3600" b="1" dirty="0">
                <a:latin typeface="Cambria" panose="02040503050406030204" pitchFamily="18" charset="0"/>
              </a:rPr>
              <a:t>State Alcohol Regulation</a:t>
            </a:r>
            <a:br>
              <a:rPr lang="en-US" sz="3600" b="1" dirty="0">
                <a:latin typeface="Cambria" panose="02040503050406030204" pitchFamily="18" charset="0"/>
              </a:rPr>
            </a:br>
            <a:r>
              <a:rPr lang="en-US" sz="2900" dirty="0">
                <a:latin typeface="Cambria" panose="02040503050406030204" pitchFamily="18" charset="0"/>
              </a:rPr>
              <a:t>Do Most States Have Dedicated Alcohol Laws Enforcement Agencies?</a:t>
            </a:r>
          </a:p>
        </p:txBody>
      </p:sp>
      <p:sp>
        <p:nvSpPr>
          <p:cNvPr id="6" name="Rectangle 5">
            <a:extLst>
              <a:ext uri="{FF2B5EF4-FFF2-40B4-BE49-F238E27FC236}">
                <a16:creationId xmlns:a16="http://schemas.microsoft.com/office/drawing/2014/main" id="{0B21CA6A-5A88-4E47-A5ED-32EBDAF15739}"/>
              </a:ext>
            </a:extLst>
          </p:cNvPr>
          <p:cNvSpPr/>
          <p:nvPr/>
        </p:nvSpPr>
        <p:spPr>
          <a:xfrm>
            <a:off x="923923" y="1770147"/>
            <a:ext cx="9953986" cy="4708981"/>
          </a:xfrm>
          <a:prstGeom prst="rect">
            <a:avLst/>
          </a:prstGeom>
        </p:spPr>
        <p:txBody>
          <a:bodyPr wrap="square">
            <a:spAutoFit/>
          </a:bodyPr>
          <a:lstStyle/>
          <a:p>
            <a:pPr marL="285750" indent="-285750">
              <a:buFont typeface="Arial" panose="020B0604020202020204" pitchFamily="34" charset="0"/>
              <a:buChar char="•"/>
            </a:pPr>
            <a:r>
              <a:rPr lang="en-US" b="1" dirty="0">
                <a:latin typeface="Cambria" panose="02040503050406030204" pitchFamily="18" charset="0"/>
                <a:ea typeface="Cambria" panose="02040503050406030204" pitchFamily="18" charset="0"/>
              </a:rPr>
              <a:t>YES.</a:t>
            </a:r>
          </a:p>
          <a:p>
            <a:pPr marL="285750" indent="-285750">
              <a:buFont typeface="Arial" panose="020B0604020202020204" pitchFamily="34" charset="0"/>
              <a:buChar char="•"/>
            </a:pPr>
            <a:endParaRPr lang="en-US" b="1" dirty="0">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ea typeface="Cambria" panose="02040503050406030204" pitchFamily="18" charset="0"/>
              </a:rPr>
              <a:t>Almost all states have some type of dedicated alcohol agency that focuses on alcohol laws, licensing, tax collection and enforcement. </a:t>
            </a:r>
          </a:p>
          <a:p>
            <a:pPr marL="742950" lvl="1" indent="-285750">
              <a:buFont typeface="Arial" panose="020B0604020202020204" pitchFamily="34" charset="0"/>
              <a:buChar char="•"/>
            </a:pPr>
            <a:endParaRPr lang="en-US" dirty="0">
              <a:latin typeface="Cambria" panose="02040503050406030204" pitchFamily="18" charset="0"/>
              <a:ea typeface="Cambria" panose="02040503050406030204" pitchFamily="18" charset="0"/>
            </a:endParaRPr>
          </a:p>
          <a:p>
            <a:pPr marL="742950" lvl="1" indent="-285750">
              <a:buFont typeface="Arial" panose="020B0604020202020204" pitchFamily="34" charset="0"/>
              <a:buChar char="•"/>
            </a:pPr>
            <a:r>
              <a:rPr lang="en-US" dirty="0">
                <a:latin typeface="Cambria" panose="02040503050406030204" pitchFamily="18" charset="0"/>
                <a:ea typeface="Cambria" panose="02040503050406030204" pitchFamily="18" charset="0"/>
              </a:rPr>
              <a:t>WHY?  Public safety; revenue; orderly marketplace; fair competition; education</a:t>
            </a:r>
          </a:p>
          <a:p>
            <a:endParaRPr lang="en-US" dirty="0">
              <a:latin typeface="Cambria" panose="02040503050406030204" pitchFamily="18" charset="0"/>
              <a:ea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ea typeface="Cambria" panose="02040503050406030204" pitchFamily="18" charset="0"/>
              </a:rPr>
              <a:t>Different ≠ Dissimilar </a:t>
            </a:r>
          </a:p>
          <a:p>
            <a:pPr marL="742950" lvl="1" indent="-285750">
              <a:buFont typeface="Arial" panose="020B0604020202020204" pitchFamily="34" charset="0"/>
              <a:buChar char="•"/>
            </a:pPr>
            <a:endParaRPr lang="en-US" dirty="0">
              <a:latin typeface="Cambria" panose="02040503050406030204" pitchFamily="18" charset="0"/>
              <a:ea typeface="Cambria" panose="02040503050406030204" pitchFamily="18" charset="0"/>
            </a:endParaRPr>
          </a:p>
          <a:p>
            <a:pPr marL="742950" lvl="1" indent="-285750">
              <a:buFont typeface="Arial" panose="020B0604020202020204" pitchFamily="34" charset="0"/>
              <a:buChar char="•"/>
            </a:pPr>
            <a:r>
              <a:rPr lang="en-US" dirty="0">
                <a:latin typeface="Cambria" panose="02040503050406030204" pitchFamily="18" charset="0"/>
                <a:ea typeface="Cambria" panose="02040503050406030204" pitchFamily="18" charset="0"/>
              </a:rPr>
              <a:t>States vary in many ways when it comes to how they regulate alcohol commerce, and they all have different alcohol laws and regulations, but there are common themes and threads that are worth examining.</a:t>
            </a:r>
          </a:p>
          <a:p>
            <a:pPr marL="742950" lvl="1" indent="-285750">
              <a:buFont typeface="Arial" panose="020B0604020202020204" pitchFamily="34" charset="0"/>
              <a:buChar char="•"/>
            </a:pPr>
            <a:endParaRPr lang="en-US" dirty="0">
              <a:latin typeface="Cambria" panose="02040503050406030204" pitchFamily="18" charset="0"/>
              <a:ea typeface="Cambria" panose="02040503050406030204" pitchFamily="18" charset="0"/>
            </a:endParaRPr>
          </a:p>
          <a:p>
            <a:pPr marL="742950" lvl="1" indent="-285750">
              <a:buFont typeface="Arial" panose="020B0604020202020204" pitchFamily="34" charset="0"/>
              <a:buChar char="•"/>
            </a:pPr>
            <a:r>
              <a:rPr lang="en-US" dirty="0">
                <a:latin typeface="Cambria" panose="02040503050406030204" pitchFamily="18" charset="0"/>
                <a:ea typeface="Cambria" panose="02040503050406030204" pitchFamily="18" charset="0"/>
              </a:rPr>
              <a:t>EXAMPLE: State alcohol control agency structures </a:t>
            </a:r>
          </a:p>
          <a:p>
            <a:pPr marL="1200150" lvl="2" indent="-285750">
              <a:buFont typeface="Arial" panose="020B0604020202020204" pitchFamily="34" charset="0"/>
              <a:buChar char="•"/>
            </a:pPr>
            <a:r>
              <a:rPr lang="en-US" sz="1600" b="1" dirty="0">
                <a:latin typeface="Cambria" panose="02040503050406030204" pitchFamily="18" charset="0"/>
                <a:ea typeface="Cambria" panose="02040503050406030204" pitchFamily="18" charset="0"/>
              </a:rPr>
              <a:t>Illinois</a:t>
            </a:r>
            <a:r>
              <a:rPr lang="en-US" sz="1600" dirty="0">
                <a:latin typeface="Cambria" panose="02040503050406030204" pitchFamily="18" charset="0"/>
                <a:ea typeface="Cambria" panose="02040503050406030204" pitchFamily="18" charset="0"/>
              </a:rPr>
              <a:t>	Licensing		Legal		Investigations	Education</a:t>
            </a:r>
          </a:p>
          <a:p>
            <a:pPr marL="1200150" lvl="2" indent="-285750">
              <a:buFont typeface="Arial" panose="020B0604020202020204" pitchFamily="34" charset="0"/>
              <a:buChar char="•"/>
            </a:pPr>
            <a:r>
              <a:rPr lang="en-US" sz="1600" b="1" dirty="0">
                <a:latin typeface="Cambria" panose="02040503050406030204" pitchFamily="18" charset="0"/>
                <a:ea typeface="Cambria" panose="02040503050406030204" pitchFamily="18" charset="0"/>
              </a:rPr>
              <a:t>Michigan</a:t>
            </a:r>
            <a:r>
              <a:rPr lang="en-US" sz="1600" dirty="0">
                <a:latin typeface="Cambria" panose="02040503050406030204" pitchFamily="18" charset="0"/>
                <a:ea typeface="Cambria" panose="02040503050406030204" pitchFamily="18" charset="0"/>
              </a:rPr>
              <a:t>	Licensing		Exec. Services	Enforcement	Financial Mgt</a:t>
            </a:r>
          </a:p>
          <a:p>
            <a:pPr marL="1200150" lvl="2" indent="-285750">
              <a:buFont typeface="Arial" panose="020B0604020202020204" pitchFamily="34" charset="0"/>
              <a:buChar char="•"/>
            </a:pPr>
            <a:r>
              <a:rPr lang="en-US" sz="1600" b="1" dirty="0">
                <a:latin typeface="Cambria" panose="02040503050406030204" pitchFamily="18" charset="0"/>
                <a:ea typeface="Cambria" panose="02040503050406030204" pitchFamily="18" charset="0"/>
              </a:rPr>
              <a:t>Massachusetts</a:t>
            </a:r>
            <a:r>
              <a:rPr lang="en-US" sz="1600" dirty="0">
                <a:latin typeface="Cambria" panose="02040503050406030204" pitchFamily="18" charset="0"/>
                <a:ea typeface="Cambria" panose="02040503050406030204" pitchFamily="18" charset="0"/>
              </a:rPr>
              <a:t>	Licensing		Legal		Investigation	Administration</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12</a:t>
            </a:fld>
            <a:endParaRPr lang="en-US" dirty="0"/>
          </a:p>
        </p:txBody>
      </p:sp>
      <p:pic>
        <p:nvPicPr>
          <p:cNvPr id="7" name="Picture 6">
            <a:extLst>
              <a:ext uri="{FF2B5EF4-FFF2-40B4-BE49-F238E27FC236}">
                <a16:creationId xmlns:a16="http://schemas.microsoft.com/office/drawing/2014/main" id="{E64230E4-D7FD-4552-9793-982B6C61FD64}"/>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2167485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State Alcohol Regulation</a:t>
            </a:r>
            <a:br>
              <a:rPr lang="en-US" sz="3600" b="1" dirty="0">
                <a:latin typeface="Cambria" panose="02040503050406030204" pitchFamily="18" charset="0"/>
              </a:rPr>
            </a:br>
            <a:r>
              <a:rPr lang="en-US" sz="2900" dirty="0">
                <a:latin typeface="Cambria" panose="02040503050406030204" pitchFamily="18" charset="0"/>
              </a:rPr>
              <a:t>Which State Govt. Departments Are Alcohol Control Agencies?</a:t>
            </a:r>
          </a:p>
        </p:txBody>
      </p:sp>
      <p:sp>
        <p:nvSpPr>
          <p:cNvPr id="6" name="Rectangle 5">
            <a:extLst>
              <a:ext uri="{FF2B5EF4-FFF2-40B4-BE49-F238E27FC236}">
                <a16:creationId xmlns:a16="http://schemas.microsoft.com/office/drawing/2014/main" id="{0B21CA6A-5A88-4E47-A5ED-32EBDAF15739}"/>
              </a:ext>
            </a:extLst>
          </p:cNvPr>
          <p:cNvSpPr/>
          <p:nvPr/>
        </p:nvSpPr>
        <p:spPr>
          <a:xfrm>
            <a:off x="923923" y="1462332"/>
            <a:ext cx="7482959" cy="4585871"/>
          </a:xfrm>
          <a:prstGeom prst="rect">
            <a:avLst/>
          </a:prstGeom>
        </p:spPr>
        <p:txBody>
          <a:bodyPr wrap="square">
            <a:spAutoFit/>
          </a:bodyPr>
          <a:lstStyle/>
          <a:p>
            <a:pPr marL="285750" indent="-285750">
              <a:buFont typeface="Arial" panose="020B0604020202020204" pitchFamily="34" charset="0"/>
              <a:buChar char="•"/>
            </a:pPr>
            <a:r>
              <a:rPr lang="en-US" sz="2400" b="1" dirty="0">
                <a:latin typeface="Cambria" panose="02040503050406030204" pitchFamily="18" charset="0"/>
              </a:rPr>
              <a:t>Department-Level Examples from States</a:t>
            </a:r>
          </a:p>
          <a:p>
            <a:pPr marL="285750" indent="-285750">
              <a:buFont typeface="Arial" panose="020B0604020202020204" pitchFamily="34" charset="0"/>
              <a:buChar char="•"/>
            </a:pPr>
            <a:endParaRPr lang="en-US" sz="800" b="1" dirty="0">
              <a:latin typeface="Cambria" panose="02040503050406030204" pitchFamily="18" charset="0"/>
            </a:endParaRPr>
          </a:p>
          <a:p>
            <a:pPr marL="742950" lvl="1" indent="-285750">
              <a:buFont typeface="Arial" panose="020B0604020202020204" pitchFamily="34" charset="0"/>
              <a:buChar char="•"/>
            </a:pPr>
            <a:r>
              <a:rPr lang="en-US" sz="2000" dirty="0">
                <a:latin typeface="Cambria" panose="02040503050406030204" pitchFamily="18" charset="0"/>
              </a:rPr>
              <a:t>Department of Alcoholic Beverage Control</a:t>
            </a:r>
          </a:p>
          <a:p>
            <a:pPr marL="742950" lvl="1" indent="-285750">
              <a:buFont typeface="Arial" panose="020B0604020202020204" pitchFamily="34" charset="0"/>
              <a:buChar char="•"/>
            </a:pPr>
            <a:r>
              <a:rPr lang="en-US" sz="2000" dirty="0">
                <a:latin typeface="Cambria" panose="02040503050406030204" pitchFamily="18" charset="0"/>
              </a:rPr>
              <a:t>Department of Business Regulation</a:t>
            </a:r>
          </a:p>
          <a:p>
            <a:pPr marL="742950" lvl="1" indent="-285750">
              <a:buFont typeface="Arial" panose="020B0604020202020204" pitchFamily="34" charset="0"/>
              <a:buChar char="•"/>
            </a:pPr>
            <a:r>
              <a:rPr lang="en-US" sz="2000" dirty="0">
                <a:latin typeface="Cambria" panose="02040503050406030204" pitchFamily="18" charset="0"/>
              </a:rPr>
              <a:t>Department of Commerce</a:t>
            </a:r>
          </a:p>
          <a:p>
            <a:pPr marL="742950" lvl="1" indent="-285750">
              <a:buFont typeface="Arial" panose="020B0604020202020204" pitchFamily="34" charset="0"/>
              <a:buChar char="•"/>
            </a:pPr>
            <a:r>
              <a:rPr lang="en-US" sz="2000" dirty="0">
                <a:latin typeface="Cambria" panose="02040503050406030204" pitchFamily="18" charset="0"/>
              </a:rPr>
              <a:t>Department of Consumer Protection</a:t>
            </a:r>
          </a:p>
          <a:p>
            <a:pPr marL="742950" lvl="1" indent="-285750">
              <a:buFont typeface="Arial" panose="020B0604020202020204" pitchFamily="34" charset="0"/>
              <a:buChar char="•"/>
            </a:pPr>
            <a:r>
              <a:rPr lang="en-US" sz="2000" dirty="0">
                <a:latin typeface="Cambria" panose="02040503050406030204" pitchFamily="18" charset="0"/>
              </a:rPr>
              <a:t>Department of Finance &amp; Administration</a:t>
            </a:r>
          </a:p>
          <a:p>
            <a:pPr marL="742950" lvl="1" indent="-285750">
              <a:buFont typeface="Arial" panose="020B0604020202020204" pitchFamily="34" charset="0"/>
              <a:buChar char="•"/>
            </a:pPr>
            <a:r>
              <a:rPr lang="en-US" sz="2000" dirty="0">
                <a:latin typeface="Cambria" panose="02040503050406030204" pitchFamily="18" charset="0"/>
              </a:rPr>
              <a:t>Department of Law &amp; Public Safety</a:t>
            </a:r>
          </a:p>
          <a:p>
            <a:pPr marL="742950" lvl="1" indent="-285750">
              <a:buFont typeface="Arial" panose="020B0604020202020204" pitchFamily="34" charset="0"/>
              <a:buChar char="•"/>
            </a:pPr>
            <a:r>
              <a:rPr lang="en-US" sz="2000" dirty="0">
                <a:latin typeface="Cambria" panose="02040503050406030204" pitchFamily="18" charset="0"/>
              </a:rPr>
              <a:t>Department of Liquor Licenses &amp; Control</a:t>
            </a:r>
          </a:p>
          <a:p>
            <a:pPr marL="742950" lvl="1" indent="-285750">
              <a:buFont typeface="Arial" panose="020B0604020202020204" pitchFamily="34" charset="0"/>
              <a:buChar char="•"/>
            </a:pPr>
            <a:r>
              <a:rPr lang="en-US" sz="2000" dirty="0">
                <a:latin typeface="Cambria" panose="02040503050406030204" pitchFamily="18" charset="0"/>
              </a:rPr>
              <a:t>Department of Public Safety</a:t>
            </a:r>
          </a:p>
          <a:p>
            <a:pPr marL="742950" lvl="1" indent="-285750">
              <a:buFont typeface="Arial" panose="020B0604020202020204" pitchFamily="34" charset="0"/>
              <a:buChar char="•"/>
            </a:pPr>
            <a:r>
              <a:rPr lang="en-US" sz="2000" dirty="0">
                <a:latin typeface="Cambria" panose="02040503050406030204" pitchFamily="18" charset="0"/>
              </a:rPr>
              <a:t>Department of Revenue</a:t>
            </a:r>
          </a:p>
          <a:p>
            <a:pPr marL="742950" lvl="1" indent="-285750">
              <a:buFont typeface="Arial" panose="020B0604020202020204" pitchFamily="34" charset="0"/>
              <a:buChar char="•"/>
            </a:pPr>
            <a:r>
              <a:rPr lang="en-US" sz="2000" dirty="0">
                <a:latin typeface="Cambria" panose="02040503050406030204" pitchFamily="18" charset="0"/>
              </a:rPr>
              <a:t>Department of State Regulation &amp; Licensing</a:t>
            </a:r>
          </a:p>
          <a:p>
            <a:pPr marL="742950" lvl="1" indent="-285750">
              <a:buFont typeface="Arial" panose="020B0604020202020204" pitchFamily="34" charset="0"/>
              <a:buChar char="•"/>
            </a:pPr>
            <a:r>
              <a:rPr lang="en-US" sz="2000" dirty="0">
                <a:latin typeface="Cambria" panose="02040503050406030204" pitchFamily="18" charset="0"/>
              </a:rPr>
              <a:t>Department of Taxation</a:t>
            </a:r>
          </a:p>
          <a:p>
            <a:pPr marL="742950" lvl="1" indent="-285750">
              <a:buFont typeface="Arial" panose="020B0604020202020204" pitchFamily="34" charset="0"/>
              <a:buChar char="•"/>
            </a:pPr>
            <a:r>
              <a:rPr lang="en-US" sz="2000" dirty="0">
                <a:latin typeface="Cambria" panose="02040503050406030204" pitchFamily="18" charset="0"/>
              </a:rPr>
              <a:t>Office of the Treasurer; Office of the Comptroller</a:t>
            </a:r>
          </a:p>
          <a:p>
            <a:pPr marL="742950" lvl="1" indent="-285750">
              <a:buFont typeface="Arial" panose="020B0604020202020204" pitchFamily="34" charset="0"/>
              <a:buChar char="•"/>
            </a:pPr>
            <a:r>
              <a:rPr lang="en-US" sz="2000" dirty="0">
                <a:latin typeface="Cambria" panose="02040503050406030204" pitchFamily="18" charset="0"/>
              </a:rPr>
              <a:t>Directly appointed Commission; Authority</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13</a:t>
            </a:fld>
            <a:endParaRPr lang="en-US" dirty="0"/>
          </a:p>
        </p:txBody>
      </p:sp>
      <p:pic>
        <p:nvPicPr>
          <p:cNvPr id="5122" name="Picture 2" descr="Image result for wisconsin department revenue">
            <a:extLst>
              <a:ext uri="{FF2B5EF4-FFF2-40B4-BE49-F238E27FC236}">
                <a16:creationId xmlns:a16="http://schemas.microsoft.com/office/drawing/2014/main" id="{B8396B4A-7DFB-4D8D-820E-0F2FB1825B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85063" y="3044493"/>
            <a:ext cx="3768737" cy="164784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03CEE41-B6EA-479E-B49A-DC802148CC17}"/>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429767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State Alcohol Regulation</a:t>
            </a:r>
            <a:br>
              <a:rPr lang="en-US" sz="3600" b="1" dirty="0">
                <a:latin typeface="Cambria" panose="02040503050406030204" pitchFamily="18" charset="0"/>
              </a:rPr>
            </a:br>
            <a:r>
              <a:rPr lang="en-US" sz="2900" dirty="0">
                <a:latin typeface="Cambria" panose="02040503050406030204" pitchFamily="18" charset="0"/>
              </a:rPr>
              <a:t>What Are Alcohol Control Agencies Called?</a:t>
            </a:r>
          </a:p>
        </p:txBody>
      </p:sp>
      <p:sp>
        <p:nvSpPr>
          <p:cNvPr id="6" name="Rectangle 5">
            <a:extLst>
              <a:ext uri="{FF2B5EF4-FFF2-40B4-BE49-F238E27FC236}">
                <a16:creationId xmlns:a16="http://schemas.microsoft.com/office/drawing/2014/main" id="{0B21CA6A-5A88-4E47-A5ED-32EBDAF15739}"/>
              </a:ext>
            </a:extLst>
          </p:cNvPr>
          <p:cNvSpPr/>
          <p:nvPr/>
        </p:nvSpPr>
        <p:spPr>
          <a:xfrm>
            <a:off x="923923" y="1462332"/>
            <a:ext cx="5663489" cy="5386090"/>
          </a:xfrm>
          <a:prstGeom prst="rect">
            <a:avLst/>
          </a:prstGeom>
        </p:spPr>
        <p:txBody>
          <a:bodyPr wrap="square">
            <a:spAutoFit/>
          </a:bodyPr>
          <a:lstStyle/>
          <a:p>
            <a:pPr marL="285750" indent="-285750">
              <a:buFont typeface="Arial" panose="020B0604020202020204" pitchFamily="34" charset="0"/>
              <a:buChar char="•"/>
            </a:pPr>
            <a:r>
              <a:rPr lang="en-US" sz="2400" b="1" dirty="0">
                <a:latin typeface="Cambria" panose="02040503050406030204" pitchFamily="18" charset="0"/>
              </a:rPr>
              <a:t>Division-Level Examples from States </a:t>
            </a:r>
          </a:p>
          <a:p>
            <a:pPr marL="742950" lvl="1" indent="-285750">
              <a:buFont typeface="Arial" panose="020B0604020202020204" pitchFamily="34" charset="0"/>
              <a:buChar char="•"/>
            </a:pPr>
            <a:endParaRPr lang="en-US" sz="800" dirty="0">
              <a:latin typeface="Cambria" panose="02040503050406030204" pitchFamily="18" charset="0"/>
            </a:endParaRPr>
          </a:p>
          <a:p>
            <a:pPr marL="742950" lvl="1" indent="-285750">
              <a:buFont typeface="Arial" panose="020B0604020202020204" pitchFamily="34" charset="0"/>
              <a:buChar char="•"/>
            </a:pPr>
            <a:r>
              <a:rPr lang="en-US" sz="2000" dirty="0">
                <a:latin typeface="Cambria" panose="02040503050406030204" pitchFamily="18" charset="0"/>
              </a:rPr>
              <a:t>Alcohol &amp; Gaming Division</a:t>
            </a:r>
          </a:p>
          <a:p>
            <a:pPr marL="742950" lvl="1" indent="-285750">
              <a:buFont typeface="Arial" panose="020B0604020202020204" pitchFamily="34" charset="0"/>
              <a:buChar char="•"/>
            </a:pPr>
            <a:r>
              <a:rPr lang="en-US" sz="2000" dirty="0">
                <a:latin typeface="Cambria" panose="02040503050406030204" pitchFamily="18" charset="0"/>
              </a:rPr>
              <a:t>Alcohol &amp; Gambling Enforcement</a:t>
            </a:r>
          </a:p>
          <a:p>
            <a:pPr marL="742950" lvl="1" indent="-285750">
              <a:buFont typeface="Arial" panose="020B0604020202020204" pitchFamily="34" charset="0"/>
              <a:buChar char="•"/>
            </a:pPr>
            <a:r>
              <a:rPr lang="en-US" sz="2000" dirty="0">
                <a:solidFill>
                  <a:schemeClr val="accent6">
                    <a:lumMod val="50000"/>
                  </a:schemeClr>
                </a:solidFill>
                <a:latin typeface="Cambria" panose="02040503050406030204" pitchFamily="18" charset="0"/>
              </a:rPr>
              <a:t>Alcohol &amp; Marijuana Control Division (AK)</a:t>
            </a:r>
          </a:p>
          <a:p>
            <a:pPr marL="742950" lvl="1" indent="-285750">
              <a:buFont typeface="Arial" panose="020B0604020202020204" pitchFamily="34" charset="0"/>
              <a:buChar char="•"/>
            </a:pPr>
            <a:r>
              <a:rPr lang="en-US" sz="2000" dirty="0">
                <a:latin typeface="Cambria" panose="02040503050406030204" pitchFamily="18" charset="0"/>
              </a:rPr>
              <a:t>Alcohol &amp; Tobacco Control Division</a:t>
            </a:r>
          </a:p>
          <a:p>
            <a:pPr marL="742950" lvl="1" indent="-285750">
              <a:buFont typeface="Arial" panose="020B0604020202020204" pitchFamily="34" charset="0"/>
              <a:buChar char="•"/>
            </a:pPr>
            <a:r>
              <a:rPr lang="en-US" sz="2000" dirty="0">
                <a:latin typeface="Cambria" panose="02040503050406030204" pitchFamily="18" charset="0"/>
              </a:rPr>
              <a:t>Alcohol Beverage Control Board</a:t>
            </a:r>
          </a:p>
          <a:p>
            <a:pPr marL="742950" lvl="1" indent="-285750">
              <a:buFont typeface="Arial" panose="020B0604020202020204" pitchFamily="34" charset="0"/>
              <a:buChar char="•"/>
            </a:pPr>
            <a:r>
              <a:rPr lang="en-US" sz="2000" dirty="0">
                <a:latin typeface="Cambria" panose="02040503050406030204" pitchFamily="18" charset="0"/>
              </a:rPr>
              <a:t>Alcohol Beverage Licensing Section</a:t>
            </a:r>
          </a:p>
          <a:p>
            <a:pPr marL="742950" lvl="1" indent="-285750">
              <a:buFont typeface="Arial" panose="020B0604020202020204" pitchFamily="34" charset="0"/>
              <a:buChar char="•"/>
            </a:pPr>
            <a:r>
              <a:rPr lang="en-US" sz="2000" dirty="0">
                <a:latin typeface="Cambria" panose="02040503050406030204" pitchFamily="18" charset="0"/>
              </a:rPr>
              <a:t>Alcoholic Beverage Commission</a:t>
            </a:r>
          </a:p>
          <a:p>
            <a:pPr marL="742950" lvl="1" indent="-285750">
              <a:buFont typeface="Arial" panose="020B0604020202020204" pitchFamily="34" charset="0"/>
              <a:buChar char="•"/>
            </a:pPr>
            <a:r>
              <a:rPr lang="en-US" sz="2000" dirty="0">
                <a:latin typeface="Cambria" panose="02040503050406030204" pitchFamily="18" charset="0"/>
              </a:rPr>
              <a:t>Alcoholic Beverages Control Commission</a:t>
            </a:r>
          </a:p>
          <a:p>
            <a:pPr marL="742950" lvl="1" indent="-285750">
              <a:buFont typeface="Arial" panose="020B0604020202020204" pitchFamily="34" charset="0"/>
              <a:buChar char="•"/>
            </a:pPr>
            <a:r>
              <a:rPr lang="en-US" sz="2000" dirty="0">
                <a:latin typeface="Cambria" panose="02040503050406030204" pitchFamily="18" charset="0"/>
              </a:rPr>
              <a:t>Division of Alcoholic Beverages &amp; Tobacco</a:t>
            </a:r>
          </a:p>
          <a:p>
            <a:pPr marL="742950" lvl="1" indent="-285750">
              <a:buFont typeface="Arial" panose="020B0604020202020204" pitchFamily="34" charset="0"/>
              <a:buChar char="•"/>
            </a:pPr>
            <a:r>
              <a:rPr lang="en-US" sz="2000" dirty="0">
                <a:latin typeface="Cambria" panose="02040503050406030204" pitchFamily="18" charset="0"/>
              </a:rPr>
              <a:t>Division of Alcoholic Beverage Control</a:t>
            </a:r>
          </a:p>
          <a:p>
            <a:pPr marL="742950" lvl="1" indent="-285750">
              <a:buFont typeface="Arial" panose="020B0604020202020204" pitchFamily="34" charset="0"/>
              <a:buChar char="•"/>
            </a:pPr>
            <a:r>
              <a:rPr lang="en-US" sz="2000" dirty="0">
                <a:latin typeface="Cambria" panose="02040503050406030204" pitchFamily="18" charset="0"/>
              </a:rPr>
              <a:t>Division of Liquor Control</a:t>
            </a:r>
          </a:p>
          <a:p>
            <a:pPr marL="742950" lvl="1" indent="-285750">
              <a:buFont typeface="Arial" panose="020B0604020202020204" pitchFamily="34" charset="0"/>
              <a:buChar char="•"/>
            </a:pPr>
            <a:r>
              <a:rPr lang="en-US" sz="2000" dirty="0">
                <a:latin typeface="Cambria" panose="02040503050406030204" pitchFamily="18" charset="0"/>
              </a:rPr>
              <a:t>Liquor Control Administration</a:t>
            </a:r>
          </a:p>
          <a:p>
            <a:pPr marL="742950" lvl="1" indent="-285750">
              <a:buFont typeface="Arial" panose="020B0604020202020204" pitchFamily="34" charset="0"/>
              <a:buChar char="•"/>
            </a:pPr>
            <a:r>
              <a:rPr lang="en-US" sz="2000" dirty="0">
                <a:latin typeface="Cambria" panose="02040503050406030204" pitchFamily="18" charset="0"/>
              </a:rPr>
              <a:t>Liquor Control Commission</a:t>
            </a:r>
          </a:p>
          <a:p>
            <a:pPr marL="742950" lvl="1" indent="-285750">
              <a:buFont typeface="Arial" panose="020B0604020202020204" pitchFamily="34" charset="0"/>
              <a:buChar char="•"/>
            </a:pPr>
            <a:r>
              <a:rPr lang="en-US" sz="2000" dirty="0">
                <a:latin typeface="Cambria" panose="02040503050406030204" pitchFamily="18" charset="0"/>
              </a:rPr>
              <a:t>Office of Alcohol &amp; Tobacco Control</a:t>
            </a:r>
          </a:p>
          <a:p>
            <a:pPr marL="742950" lvl="1" indent="-285750">
              <a:buFont typeface="Arial" panose="020B0604020202020204" pitchFamily="34" charset="0"/>
              <a:buChar char="•"/>
            </a:pPr>
            <a:r>
              <a:rPr lang="en-US" sz="2000" dirty="0">
                <a:solidFill>
                  <a:schemeClr val="accent6">
                    <a:lumMod val="50000"/>
                  </a:schemeClr>
                </a:solidFill>
                <a:latin typeface="Cambria" panose="02040503050406030204" pitchFamily="18" charset="0"/>
              </a:rPr>
              <a:t>State Liquor and Cannabis Board (WA)</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14</a:t>
            </a:fld>
            <a:endParaRPr lang="en-US" dirty="0"/>
          </a:p>
        </p:txBody>
      </p:sp>
      <p:pic>
        <p:nvPicPr>
          <p:cNvPr id="2050" name="Picture 2" descr="Image result for colorado department of revenue enforcement division">
            <a:extLst>
              <a:ext uri="{FF2B5EF4-FFF2-40B4-BE49-F238E27FC236}">
                <a16:creationId xmlns:a16="http://schemas.microsoft.com/office/drawing/2014/main" id="{6339ABD4-281A-47EA-A5E2-BCB7D59723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4339" y="1785138"/>
            <a:ext cx="3373479" cy="80845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upload.wikimedia.org/wikipedia/en/thumb/5/52/California_Department_of_Alcoholic_Beverage_Control_logo.gif/220px-California_Department_of_Alcoholic_Beverage_Control_logo.gif">
            <a:extLst>
              <a:ext uri="{FF2B5EF4-FFF2-40B4-BE49-F238E27FC236}">
                <a16:creationId xmlns:a16="http://schemas.microsoft.com/office/drawing/2014/main" id="{6977EAE0-A4E7-4AE7-AA72-DDDFAC9FAB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15375" y="2710393"/>
            <a:ext cx="2095500" cy="1143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ak alcohol beverage control division logo">
            <a:extLst>
              <a:ext uri="{FF2B5EF4-FFF2-40B4-BE49-F238E27FC236}">
                <a16:creationId xmlns:a16="http://schemas.microsoft.com/office/drawing/2014/main" id="{E4827744-278D-40C2-8157-0F1C0F8A53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75289" y="3083336"/>
            <a:ext cx="1602427" cy="160242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ak alcohol beverage control division logo">
            <a:extLst>
              <a:ext uri="{FF2B5EF4-FFF2-40B4-BE49-F238E27FC236}">
                <a16:creationId xmlns:a16="http://schemas.microsoft.com/office/drawing/2014/main" id="{2BF5CF2B-6FB1-4D70-842E-EAB71E7B12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82300" y="1785138"/>
            <a:ext cx="1143000" cy="11430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ak alcohol beverage control division logo">
            <a:extLst>
              <a:ext uri="{FF2B5EF4-FFF2-40B4-BE49-F238E27FC236}">
                <a16:creationId xmlns:a16="http://schemas.microsoft.com/office/drawing/2014/main" id="{6E35379A-6EB6-4F7C-B2A1-00F97F78D6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2541" y="4969059"/>
            <a:ext cx="2085975" cy="1171575"/>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ak alcohol beverage control division logo">
            <a:extLst>
              <a:ext uri="{FF2B5EF4-FFF2-40B4-BE49-F238E27FC236}">
                <a16:creationId xmlns:a16="http://schemas.microsoft.com/office/drawing/2014/main" id="{30D66FF6-A10D-4DF1-ACE7-13A6285BA7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782300" y="3429000"/>
            <a:ext cx="1310247" cy="130151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nllea">
            <a:extLst>
              <a:ext uri="{FF2B5EF4-FFF2-40B4-BE49-F238E27FC236}">
                <a16:creationId xmlns:a16="http://schemas.microsoft.com/office/drawing/2014/main" id="{8E8F18E0-DF2F-4C31-A29C-6FE17272EC4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65593" y="3884549"/>
            <a:ext cx="1455867" cy="1561748"/>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alcoholic beverage commission">
            <a:extLst>
              <a:ext uri="{FF2B5EF4-FFF2-40B4-BE49-F238E27FC236}">
                <a16:creationId xmlns:a16="http://schemas.microsoft.com/office/drawing/2014/main" id="{94EEA7A7-E01A-4FBC-A15D-A506330EED2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83183" y="5505474"/>
            <a:ext cx="2610824" cy="89514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30B9AD4E-2497-46AD-960C-B10491474712}"/>
              </a:ext>
            </a:extLst>
          </p:cNvPr>
          <p:cNvPicPr>
            <a:picLocks noChangeAspect="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342442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State Alcohol Regulation</a:t>
            </a:r>
            <a:br>
              <a:rPr lang="en-US" sz="3600" b="1" dirty="0">
                <a:latin typeface="Cambria" panose="02040503050406030204" pitchFamily="18" charset="0"/>
              </a:rPr>
            </a:br>
            <a:r>
              <a:rPr lang="en-US" sz="2900" dirty="0">
                <a:latin typeface="Cambria" panose="02040503050406030204" pitchFamily="18" charset="0"/>
              </a:rPr>
              <a:t>Examples of States with Dedicated Alcohol Law Enforcement</a:t>
            </a:r>
          </a:p>
        </p:txBody>
      </p:sp>
      <p:sp>
        <p:nvSpPr>
          <p:cNvPr id="6" name="Rectangle 5">
            <a:extLst>
              <a:ext uri="{FF2B5EF4-FFF2-40B4-BE49-F238E27FC236}">
                <a16:creationId xmlns:a16="http://schemas.microsoft.com/office/drawing/2014/main" id="{0B21CA6A-5A88-4E47-A5ED-32EBDAF15739}"/>
              </a:ext>
            </a:extLst>
          </p:cNvPr>
          <p:cNvSpPr/>
          <p:nvPr/>
        </p:nvSpPr>
        <p:spPr>
          <a:xfrm>
            <a:off x="923923" y="1462332"/>
            <a:ext cx="6680524" cy="4770537"/>
          </a:xfrm>
          <a:prstGeom prst="rect">
            <a:avLst/>
          </a:prstGeom>
        </p:spPr>
        <p:txBody>
          <a:bodyPr wrap="square">
            <a:spAutoFit/>
          </a:bodyPr>
          <a:lstStyle/>
          <a:p>
            <a:pPr marL="285750" indent="-285750">
              <a:buFont typeface="Arial" panose="020B0604020202020204" pitchFamily="34" charset="0"/>
              <a:buChar char="•"/>
            </a:pPr>
            <a:r>
              <a:rPr lang="en-US" sz="2400" b="1" dirty="0">
                <a:latin typeface="Cambria" panose="02040503050406030204" pitchFamily="18" charset="0"/>
              </a:rPr>
              <a:t>Law Enforcement Examples from States </a:t>
            </a:r>
          </a:p>
          <a:p>
            <a:pPr marL="742950" lvl="1" indent="-285750">
              <a:buFont typeface="Arial" panose="020B0604020202020204" pitchFamily="34" charset="0"/>
              <a:buChar char="•"/>
            </a:pPr>
            <a:endParaRPr lang="en-US" sz="800" b="1" dirty="0">
              <a:latin typeface="Cambria" panose="02040503050406030204" pitchFamily="18" charset="0"/>
              <a:ea typeface="Cambria" panose="02040503050406030204" pitchFamily="18" charset="0"/>
            </a:endParaRPr>
          </a:p>
          <a:p>
            <a:pPr marL="1657350" lvl="3" indent="-285750">
              <a:buFont typeface="Arial" panose="020B0604020202020204" pitchFamily="34" charset="0"/>
              <a:buChar char="•"/>
            </a:pPr>
            <a:r>
              <a:rPr lang="en-US" sz="1600" b="1" dirty="0">
                <a:latin typeface="Cambria" panose="02040503050406030204" pitchFamily="18" charset="0"/>
                <a:ea typeface="Cambria" panose="02040503050406030204" pitchFamily="18" charset="0"/>
              </a:rPr>
              <a:t>Indiana State Excise Police – </a:t>
            </a:r>
            <a:r>
              <a:rPr lang="en-US" sz="1600" dirty="0">
                <a:latin typeface="Cambria" panose="02040503050406030204" pitchFamily="18" charset="0"/>
                <a:ea typeface="Cambria" panose="02040503050406030204" pitchFamily="18" charset="0"/>
              </a:rPr>
              <a:t>Law enforcement division of the Alcohol &amp; Tobacco Commission (ATC). State excise police officers are empowered by statute to enforce the laws and rules of the ATC as well as the laws of the State of Indiana</a:t>
            </a:r>
          </a:p>
          <a:p>
            <a:pPr marL="742950" lvl="1" indent="-285750">
              <a:buFont typeface="Arial" panose="020B0604020202020204" pitchFamily="34" charset="0"/>
              <a:buChar char="•"/>
            </a:pPr>
            <a:endParaRPr lang="en-US" sz="1600" dirty="0">
              <a:latin typeface="Cambria" panose="02040503050406030204" pitchFamily="18" charset="0"/>
              <a:ea typeface="Cambria" panose="02040503050406030204" pitchFamily="18" charset="0"/>
            </a:endParaRPr>
          </a:p>
          <a:p>
            <a:pPr marL="1657350" lvl="3" indent="-285750">
              <a:buFont typeface="Arial" panose="020B0604020202020204" pitchFamily="34" charset="0"/>
              <a:buChar char="•"/>
            </a:pPr>
            <a:r>
              <a:rPr lang="en-US" sz="1600" b="1" dirty="0">
                <a:latin typeface="Cambria" panose="02040503050406030204" pitchFamily="18" charset="0"/>
                <a:ea typeface="Cambria" panose="02040503050406030204" pitchFamily="18" charset="0"/>
              </a:rPr>
              <a:t>North Carolina Alcohol Law Enforcement (ALE) - </a:t>
            </a:r>
            <a:r>
              <a:rPr lang="en-US" sz="1600" dirty="0">
                <a:latin typeface="Cambria" panose="02040503050406030204" pitchFamily="18" charset="0"/>
                <a:ea typeface="Cambria" panose="02040503050406030204" pitchFamily="18" charset="0"/>
              </a:rPr>
              <a:t>A branch under the State Bureau of Investigation. ALE is the lead enforcement agency for the state's alcoholic beverage control laws.</a:t>
            </a:r>
          </a:p>
          <a:p>
            <a:pPr marL="742950" lvl="1" indent="-285750">
              <a:buFont typeface="Arial" panose="020B0604020202020204" pitchFamily="34" charset="0"/>
              <a:buChar char="•"/>
            </a:pPr>
            <a:endParaRPr lang="en-US" sz="1600" dirty="0">
              <a:latin typeface="Cambria" panose="02040503050406030204" pitchFamily="18" charset="0"/>
              <a:ea typeface="Cambria" panose="02040503050406030204" pitchFamily="18" charset="0"/>
            </a:endParaRPr>
          </a:p>
          <a:p>
            <a:pPr marL="1657350" lvl="3" indent="-285750">
              <a:buFont typeface="Arial" panose="020B0604020202020204" pitchFamily="34" charset="0"/>
              <a:buChar char="•"/>
            </a:pPr>
            <a:r>
              <a:rPr lang="en-US" sz="1600" b="1" dirty="0">
                <a:latin typeface="Cambria" panose="02040503050406030204" pitchFamily="18" charset="0"/>
                <a:ea typeface="Cambria" panose="02040503050406030204" pitchFamily="18" charset="0"/>
              </a:rPr>
              <a:t>Virginia ABC Bureau of Law Enforcement – </a:t>
            </a:r>
            <a:r>
              <a:rPr lang="en-US" sz="1600" dirty="0">
                <a:latin typeface="Cambria" panose="02040503050406030204" pitchFamily="18" charset="0"/>
                <a:ea typeface="Cambria" panose="02040503050406030204" pitchFamily="18" charset="0"/>
              </a:rPr>
              <a:t>Agents enforce the alcoholic beverage laws and have full police powers with a diverse range of duties including investigating license applicants; conducting underage sale compliance checks; and enforcing ABC laws in nearly 19,000 licensed establishments.</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15</a:t>
            </a:fld>
            <a:endParaRPr lang="en-US" dirty="0"/>
          </a:p>
        </p:txBody>
      </p:sp>
      <p:pic>
        <p:nvPicPr>
          <p:cNvPr id="3074" name="Picture 2" descr="Image result for ak alcohol beverage control division logo">
            <a:extLst>
              <a:ext uri="{FF2B5EF4-FFF2-40B4-BE49-F238E27FC236}">
                <a16:creationId xmlns:a16="http://schemas.microsoft.com/office/drawing/2014/main" id="{9B195BD5-45F0-494F-895F-EBE45E28A0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6146" y="4672968"/>
            <a:ext cx="1212358" cy="155990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ak alcohol beverage control division logo">
            <a:extLst>
              <a:ext uri="{FF2B5EF4-FFF2-40B4-BE49-F238E27FC236}">
                <a16:creationId xmlns:a16="http://schemas.microsoft.com/office/drawing/2014/main" id="{199A5CC7-F784-4239-B593-FA09CF6BD5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11960" y="1794342"/>
            <a:ext cx="1179800" cy="142648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ak alcohol beverage control division logo">
            <a:extLst>
              <a:ext uri="{FF2B5EF4-FFF2-40B4-BE49-F238E27FC236}">
                <a16:creationId xmlns:a16="http://schemas.microsoft.com/office/drawing/2014/main" id="{CAE452F4-29A5-4FF1-814D-E3AD1CE818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94121" y="5007317"/>
            <a:ext cx="1182852" cy="1168066"/>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Image result for alcohol law enforcement north carolina">
            <a:extLst>
              <a:ext uri="{FF2B5EF4-FFF2-40B4-BE49-F238E27FC236}">
                <a16:creationId xmlns:a16="http://schemas.microsoft.com/office/drawing/2014/main" id="{F9933714-CA70-4BD4-94D7-51BF2A59E04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7414" y="3501373"/>
            <a:ext cx="1389822" cy="1051632"/>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Related image">
            <a:extLst>
              <a:ext uri="{FF2B5EF4-FFF2-40B4-BE49-F238E27FC236}">
                <a16:creationId xmlns:a16="http://schemas.microsoft.com/office/drawing/2014/main" id="{8C437FC5-1668-4362-80AC-BB508DED24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2968" y="1999607"/>
            <a:ext cx="1274268" cy="1274268"/>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Related image">
            <a:extLst>
              <a:ext uri="{FF2B5EF4-FFF2-40B4-BE49-F238E27FC236}">
                <a16:creationId xmlns:a16="http://schemas.microsoft.com/office/drawing/2014/main" id="{B6961760-B73F-492A-97EF-634C3FA3F0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05697" y="1869222"/>
            <a:ext cx="1100312" cy="1288519"/>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https://encrypted-tbn0.gstatic.com/images?q=tbn:ANd9GcR9b5MSPRudnCHfxh5Qq6-pn-tiIcGn5IJgKHTJu-Omr3coayLjYg">
            <a:extLst>
              <a:ext uri="{FF2B5EF4-FFF2-40B4-BE49-F238E27FC236}">
                <a16:creationId xmlns:a16="http://schemas.microsoft.com/office/drawing/2014/main" id="{0240326F-2420-421E-A1CC-D980BB354EF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16893" y="3424953"/>
            <a:ext cx="1227925" cy="1266819"/>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Related image">
            <a:extLst>
              <a:ext uri="{FF2B5EF4-FFF2-40B4-BE49-F238E27FC236}">
                <a16:creationId xmlns:a16="http://schemas.microsoft.com/office/drawing/2014/main" id="{BABEA2D5-2595-4288-ADCB-FC101BBC7D6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07306" y="4958985"/>
            <a:ext cx="887473" cy="1273884"/>
          </a:xfrm>
          <a:prstGeom prst="rect">
            <a:avLst/>
          </a:prstGeom>
          <a:noFill/>
          <a:extLst>
            <a:ext uri="{909E8E84-426E-40DD-AFC4-6F175D3DCCD1}">
              <a14:hiddenFill xmlns:a14="http://schemas.microsoft.com/office/drawing/2010/main">
                <a:solidFill>
                  <a:srgbClr val="FFFFFF"/>
                </a:solidFill>
              </a14:hiddenFill>
            </a:ext>
          </a:extLst>
        </p:spPr>
      </p:pic>
      <p:pic>
        <p:nvPicPr>
          <p:cNvPr id="3100" name="Picture 28" descr="Image result for nllea">
            <a:extLst>
              <a:ext uri="{FF2B5EF4-FFF2-40B4-BE49-F238E27FC236}">
                <a16:creationId xmlns:a16="http://schemas.microsoft.com/office/drawing/2014/main" id="{DDC8F105-7F24-4B49-B391-B28353473A3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13594" y="3399092"/>
            <a:ext cx="1074898" cy="131854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742417D7-1CAA-4C10-B733-C2FCC523F5E6}"/>
              </a:ext>
            </a:extLst>
          </p:cNvPr>
          <p:cNvCxnSpPr>
            <a:cxnSpLocks/>
          </p:cNvCxnSpPr>
          <p:nvPr/>
        </p:nvCxnSpPr>
        <p:spPr>
          <a:xfrm>
            <a:off x="8246706" y="1902992"/>
            <a:ext cx="0" cy="427643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0C7345CE-7E34-45B7-BEC4-A38A89A1AD6D}"/>
              </a:ext>
            </a:extLst>
          </p:cNvPr>
          <p:cNvPicPr>
            <a:picLocks noChangeAspect="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22632756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Snapshot on Enforcement</a:t>
            </a:r>
            <a:br>
              <a:rPr lang="en-US" sz="3200" b="1" dirty="0">
                <a:latin typeface="Cambria" panose="02040503050406030204" pitchFamily="18" charset="0"/>
              </a:rPr>
            </a:br>
            <a:r>
              <a:rPr lang="en-US" sz="3100" dirty="0">
                <a:latin typeface="Cambria" panose="02040503050406030204" pitchFamily="18" charset="0"/>
              </a:rPr>
              <a:t>Compliance Checks Enforced in the United States</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16</a:t>
            </a:fld>
            <a:endParaRPr lang="en-US" dirty="0"/>
          </a:p>
        </p:txBody>
      </p:sp>
      <p:pic>
        <p:nvPicPr>
          <p:cNvPr id="3" name="Picture 2">
            <a:extLst>
              <a:ext uri="{FF2B5EF4-FFF2-40B4-BE49-F238E27FC236}">
                <a16:creationId xmlns:a16="http://schemas.microsoft.com/office/drawing/2014/main" id="{A8D0DED5-ABFF-4D6D-BB28-2B3FD532E44C}"/>
              </a:ext>
            </a:extLst>
          </p:cNvPr>
          <p:cNvPicPr>
            <a:picLocks noChangeAspect="1"/>
          </p:cNvPicPr>
          <p:nvPr/>
        </p:nvPicPr>
        <p:blipFill>
          <a:blip r:embed="rId3"/>
          <a:stretch>
            <a:fillRect/>
          </a:stretch>
        </p:blipFill>
        <p:spPr>
          <a:xfrm>
            <a:off x="2322647" y="1286435"/>
            <a:ext cx="7546706" cy="5553638"/>
          </a:xfrm>
          <a:prstGeom prst="rect">
            <a:avLst/>
          </a:prstGeom>
        </p:spPr>
      </p:pic>
      <p:pic>
        <p:nvPicPr>
          <p:cNvPr id="8" name="Picture 7">
            <a:extLst>
              <a:ext uri="{FF2B5EF4-FFF2-40B4-BE49-F238E27FC236}">
                <a16:creationId xmlns:a16="http://schemas.microsoft.com/office/drawing/2014/main" id="{66B912AD-55E1-42D9-AB06-1DBBE7302E29}"/>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336013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chemeClr val="tx1"/>
              </a:solidFill>
            </a:endParaRPr>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altLang="en-US" sz="3600" b="1" dirty="0">
                <a:latin typeface="Cambria"/>
                <a:cs typeface="Cambria"/>
              </a:rPr>
              <a:t>State Challenges &amp; Opportunities…</a:t>
            </a:r>
            <a:br>
              <a:rPr lang="en-US" altLang="en-US" sz="3200" b="1" dirty="0">
                <a:latin typeface="Cambria"/>
                <a:cs typeface="Cambria"/>
              </a:rPr>
            </a:br>
            <a:r>
              <a:rPr lang="en-US" altLang="en-US" sz="2900" dirty="0">
                <a:latin typeface="Cambria"/>
                <a:cs typeface="Cambria"/>
              </a:rPr>
              <a:t>…But Mostly Challenges</a:t>
            </a:r>
            <a:endParaRPr lang="en-US" sz="2900" dirty="0">
              <a:latin typeface="Cambria" panose="02040503050406030204" pitchFamily="18" charset="0"/>
            </a:endParaRPr>
          </a:p>
        </p:txBody>
      </p:sp>
      <p:sp>
        <p:nvSpPr>
          <p:cNvPr id="6" name="Rectangle 5">
            <a:extLst>
              <a:ext uri="{FF2B5EF4-FFF2-40B4-BE49-F238E27FC236}">
                <a16:creationId xmlns:a16="http://schemas.microsoft.com/office/drawing/2014/main" id="{0B21CA6A-5A88-4E47-A5ED-32EBDAF15739}"/>
              </a:ext>
            </a:extLst>
          </p:cNvPr>
          <p:cNvSpPr/>
          <p:nvPr/>
        </p:nvSpPr>
        <p:spPr>
          <a:xfrm>
            <a:off x="923922" y="1462332"/>
            <a:ext cx="6853005" cy="5786199"/>
          </a:xfrm>
          <a:prstGeom prst="rect">
            <a:avLst/>
          </a:prstGeom>
        </p:spPr>
        <p:txBody>
          <a:bodyPr wrap="square">
            <a:spAutoFit/>
          </a:bodyPr>
          <a:lstStyle/>
          <a:p>
            <a:pPr marL="285750" indent="-285750">
              <a:buFont typeface="Arial" panose="020B0604020202020204" pitchFamily="34" charset="0"/>
              <a:buChar char="•"/>
            </a:pPr>
            <a:r>
              <a:rPr lang="en-US" b="1" dirty="0">
                <a:latin typeface="Cambria" panose="02040503050406030204" pitchFamily="18" charset="0"/>
              </a:rPr>
              <a:t>Legislative Churn</a:t>
            </a:r>
          </a:p>
          <a:p>
            <a:pPr marL="800100" lvl="1" indent="-342900">
              <a:buFont typeface="Arial" panose="020B0604020202020204" pitchFamily="34" charset="0"/>
              <a:buChar char="•"/>
            </a:pPr>
            <a:r>
              <a:rPr lang="en-US" sz="1600" dirty="0">
                <a:latin typeface="Cambria" panose="02040503050406030204" pitchFamily="18" charset="0"/>
              </a:rPr>
              <a:t>2018: 6,066 of the nation’s 7,383 legislative seats are up for regularly scheduled elections </a:t>
            </a:r>
            <a:r>
              <a:rPr lang="en-US" sz="1200" dirty="0">
                <a:latin typeface="Cambria" panose="02040503050406030204" pitchFamily="18" charset="0"/>
              </a:rPr>
              <a:t>(Source: NCSL)</a:t>
            </a:r>
            <a:endParaRPr lang="en-US" sz="1200" dirty="0">
              <a:latin typeface="Cambria" panose="02040503050406030204" pitchFamily="18" charset="0"/>
              <a:cs typeface="Cambria"/>
            </a:endParaRPr>
          </a:p>
          <a:p>
            <a:pPr marL="800100" lvl="1" indent="-342900">
              <a:buFont typeface="Arial" panose="020B0604020202020204" pitchFamily="34" charset="0"/>
              <a:buChar char="•"/>
            </a:pPr>
            <a:r>
              <a:rPr lang="en-US" sz="1600" i="1" dirty="0">
                <a:latin typeface="Cambria" panose="02040503050406030204" pitchFamily="18" charset="0"/>
                <a:cs typeface="Cambria"/>
              </a:rPr>
              <a:t>“What would say…you do here?”  </a:t>
            </a:r>
            <a:r>
              <a:rPr lang="en-US" sz="1600" dirty="0">
                <a:latin typeface="Cambria" panose="02040503050406030204" pitchFamily="18" charset="0"/>
                <a:cs typeface="Cambria"/>
              </a:rPr>
              <a:t>Bob Slydell, Office Space</a:t>
            </a:r>
            <a:endParaRPr lang="en-US" sz="1600" dirty="0">
              <a:latin typeface="Cambria"/>
              <a:cs typeface="Cambria"/>
            </a:endParaRPr>
          </a:p>
          <a:p>
            <a:pPr marL="342900" indent="-342900">
              <a:buFont typeface="Arial"/>
              <a:buChar char="•"/>
            </a:pPr>
            <a:endParaRPr lang="en-US" sz="1400" b="1" dirty="0">
              <a:latin typeface="Cambria"/>
              <a:cs typeface="Cambria"/>
            </a:endParaRPr>
          </a:p>
          <a:p>
            <a:pPr marL="342900" indent="-342900">
              <a:buFont typeface="Arial"/>
              <a:buChar char="•"/>
            </a:pPr>
            <a:r>
              <a:rPr lang="en-US" b="1" dirty="0">
                <a:latin typeface="Cambria"/>
                <a:cs typeface="Cambria"/>
              </a:rPr>
              <a:t>Groundhog Day</a:t>
            </a:r>
          </a:p>
          <a:p>
            <a:pPr marL="800100" lvl="1" indent="-342900">
              <a:buFont typeface="Arial"/>
              <a:buChar char="•"/>
            </a:pPr>
            <a:r>
              <a:rPr lang="en-US" sz="1600" dirty="0">
                <a:latin typeface="Cambria"/>
                <a:cs typeface="Cambria"/>
              </a:rPr>
              <a:t>New year, same issues</a:t>
            </a:r>
            <a:endParaRPr lang="en-US" sz="1400" dirty="0">
              <a:latin typeface="Cambria"/>
              <a:cs typeface="Cambria"/>
            </a:endParaRPr>
          </a:p>
          <a:p>
            <a:endParaRPr lang="en-US" sz="1400" b="1" u="sng" dirty="0">
              <a:latin typeface="Cambria"/>
              <a:cs typeface="Cambria"/>
            </a:endParaRPr>
          </a:p>
          <a:p>
            <a:pPr marL="285750" indent="-285750">
              <a:buFont typeface="Arial" panose="020B0604020202020204" pitchFamily="34" charset="0"/>
              <a:buChar char="•"/>
            </a:pPr>
            <a:r>
              <a:rPr lang="en-US" b="1" dirty="0">
                <a:latin typeface="Cambria"/>
                <a:cs typeface="Cambria"/>
              </a:rPr>
              <a:t>(Costly) Lawsuits</a:t>
            </a:r>
          </a:p>
          <a:p>
            <a:pPr marL="742950" lvl="1" indent="-285750">
              <a:buFont typeface="Arial" panose="020B0604020202020204" pitchFamily="34" charset="0"/>
              <a:buChar char="•"/>
            </a:pPr>
            <a:r>
              <a:rPr lang="en-US" sz="1600" dirty="0">
                <a:latin typeface="Cambria"/>
                <a:cs typeface="Cambria"/>
              </a:rPr>
              <a:t>Courtrooms – not legislature – now preferred venue to change laws</a:t>
            </a:r>
          </a:p>
          <a:p>
            <a:pPr marL="342900" indent="-342900">
              <a:buFont typeface="Arial" panose="020B0604020202020204" pitchFamily="34" charset="0"/>
              <a:buChar char="•"/>
            </a:pPr>
            <a:endParaRPr lang="en-US" sz="1400" b="1" dirty="0">
              <a:latin typeface="Cambria" panose="02040503050406030204" pitchFamily="18" charset="0"/>
            </a:endParaRPr>
          </a:p>
          <a:p>
            <a:pPr marL="342900" indent="-342900">
              <a:buFont typeface="Arial" panose="020B0604020202020204" pitchFamily="34" charset="0"/>
              <a:buChar char="•"/>
            </a:pPr>
            <a:r>
              <a:rPr lang="en-US" b="1" dirty="0">
                <a:latin typeface="Cambria" panose="02040503050406030204" pitchFamily="18" charset="0"/>
              </a:rPr>
              <a:t>Enforcing the Law</a:t>
            </a:r>
          </a:p>
          <a:p>
            <a:pPr marL="800100" lvl="1" indent="-342900">
              <a:buFont typeface="Arial" panose="020B0604020202020204" pitchFamily="34" charset="0"/>
              <a:buChar char="•"/>
            </a:pPr>
            <a:r>
              <a:rPr lang="en-US" sz="1600" b="1" dirty="0">
                <a:latin typeface="Cambria" panose="02040503050406030204" pitchFamily="18" charset="0"/>
              </a:rPr>
              <a:t>Mississippi AG Jim Hood: </a:t>
            </a:r>
            <a:r>
              <a:rPr lang="en-US" sz="1600" dirty="0">
                <a:latin typeface="Cambria" panose="02040503050406030204" pitchFamily="18" charset="0"/>
              </a:rPr>
              <a:t>“We’re losing millions of dollars a year (in tax revenue) because so many companies are shipping alcohol into the state.” (Revenue loss: ~$6 lost on every $25 bottle of wine.)</a:t>
            </a:r>
            <a:endParaRPr lang="en-US" sz="1600" dirty="0">
              <a:solidFill>
                <a:srgbClr val="FF0000"/>
              </a:solidFill>
              <a:latin typeface="Cambria" panose="02040503050406030204" pitchFamily="18" charset="0"/>
            </a:endParaRPr>
          </a:p>
          <a:p>
            <a:pPr marL="800100" lvl="1" indent="-342900">
              <a:buFont typeface="Arial" panose="020B0604020202020204" pitchFamily="34" charset="0"/>
              <a:buChar char="•"/>
            </a:pPr>
            <a:r>
              <a:rPr lang="en-US" sz="1600" dirty="0">
                <a:solidFill>
                  <a:srgbClr val="FF0000"/>
                </a:solidFill>
                <a:latin typeface="Cambria" panose="02040503050406030204" pitchFamily="18" charset="0"/>
              </a:rPr>
              <a:t>"The place to fix that law is to walk across the street over here at the legislature. It's our duty to enforce it.” </a:t>
            </a:r>
          </a:p>
          <a:p>
            <a:pPr marL="800100" lvl="1" indent="-342900">
              <a:buFont typeface="Arial" panose="020B0604020202020204" pitchFamily="34" charset="0"/>
              <a:buChar char="•"/>
            </a:pPr>
            <a:r>
              <a:rPr lang="en-US" sz="1600" i="1" dirty="0">
                <a:latin typeface="Cambria" panose="02040503050406030204" pitchFamily="18" charset="0"/>
              </a:rPr>
              <a:t>"I know it's been phrased as a 'crack down' or a taking away of privileges, but actually what it really is, is focusing on enforcing the statutes in the various states the way the regulators want them enforced."   - Steve Gross, VP of State Relations, Wine Institute</a:t>
            </a:r>
          </a:p>
          <a:p>
            <a:pPr marL="800100" lvl="1" indent="-342900">
              <a:buFont typeface="Arial" panose="020B0604020202020204" pitchFamily="34" charset="0"/>
              <a:buChar char="•"/>
            </a:pPr>
            <a:endParaRPr lang="en-US" sz="1600" dirty="0">
              <a:solidFill>
                <a:srgbClr val="FF0000"/>
              </a:solidFill>
              <a:latin typeface="Cambria" panose="02040503050406030204" pitchFamily="18" charset="0"/>
            </a:endParaRPr>
          </a:p>
          <a:p>
            <a:pPr marL="800100" lvl="1" indent="-342900">
              <a:buFont typeface="Arial" panose="020B0604020202020204" pitchFamily="34" charset="0"/>
              <a:buChar char="•"/>
            </a:pPr>
            <a:endParaRPr lang="en-US" sz="1600" dirty="0">
              <a:solidFill>
                <a:srgbClr val="FF0000"/>
              </a:solidFill>
              <a:latin typeface="Cambria" panose="02040503050406030204" pitchFamily="18" charset="0"/>
            </a:endParaRPr>
          </a:p>
        </p:txBody>
      </p:sp>
      <p:pic>
        <p:nvPicPr>
          <p:cNvPr id="5122" name="Picture 2" descr="Image result for groundhog day">
            <a:extLst>
              <a:ext uri="{FF2B5EF4-FFF2-40B4-BE49-F238E27FC236}">
                <a16:creationId xmlns:a16="http://schemas.microsoft.com/office/drawing/2014/main" id="{4E186157-ECD8-4B1C-B5ED-C95EB8D672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7075" y="2949430"/>
            <a:ext cx="2762044" cy="1726277"/>
          </a:xfrm>
          <a:prstGeom prst="rect">
            <a:avLst/>
          </a:prstGeom>
          <a:noFill/>
          <a:extLst>
            <a:ext uri="{909E8E84-426E-40dd-AFC4-6F175D3DCCD1}">
              <a14:hiddenFill xmlns:a14="http://schemas.microsoft.com/office/drawing/2010/main" xmlns="">
                <a:solidFill>
                  <a:srgbClr val="FFFFFF"/>
                </a:solidFill>
              </a14:hiddenFill>
            </a:ext>
          </a:extLst>
        </p:spPr>
      </p:pic>
      <p:pic>
        <p:nvPicPr>
          <p:cNvPr id="5131" name="Picture 11" descr="Image result for mississippi jim hood wine">
            <a:extLst>
              <a:ext uri="{FF2B5EF4-FFF2-40B4-BE49-F238E27FC236}">
                <a16:creationId xmlns:a16="http://schemas.microsoft.com/office/drawing/2014/main" id="{B181FED2-7424-4686-B7E1-F57526168C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10840" y="4802449"/>
            <a:ext cx="2694513" cy="2020885"/>
          </a:xfrm>
          <a:prstGeom prst="rect">
            <a:avLst/>
          </a:prstGeom>
          <a:noFill/>
          <a:extLst>
            <a:ext uri="{909E8E84-426E-40dd-AFC4-6F175D3DCCD1}">
              <a14:hiddenFill xmlns:a14="http://schemas.microsoft.com/office/drawing/2010/main" xmlns="">
                <a:solidFill>
                  <a:srgbClr val="FFFFFF"/>
                </a:solidFill>
              </a14:hiddenFill>
            </a:ext>
          </a:extLst>
        </p:spPr>
      </p:pic>
      <p:pic>
        <p:nvPicPr>
          <p:cNvPr id="6146" name="Picture 2" descr="Image result for what would say it is, ya do here?">
            <a:extLst>
              <a:ext uri="{FF2B5EF4-FFF2-40B4-BE49-F238E27FC236}">
                <a16:creationId xmlns:a16="http://schemas.microsoft.com/office/drawing/2014/main" id="{E79AE91A-B70A-4E95-A2F2-5BAE58A228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6927" y="1337064"/>
            <a:ext cx="4159748" cy="148562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76B8215A-D67F-4557-AFDB-BC40D03BFDEB}"/>
              </a:ext>
            </a:extLst>
          </p:cNvPr>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10155175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altLang="en-US" sz="3600" b="1" dirty="0">
                <a:latin typeface="Cambria"/>
                <a:cs typeface="Cambria"/>
              </a:rPr>
              <a:t>Market Facts</a:t>
            </a:r>
            <a:br>
              <a:rPr lang="en-US" altLang="en-US" sz="3200" b="1" dirty="0">
                <a:latin typeface="Cambria"/>
                <a:cs typeface="Cambria"/>
              </a:rPr>
            </a:br>
            <a:r>
              <a:rPr lang="en-US" altLang="en-US" sz="2900" dirty="0">
                <a:latin typeface="Cambria"/>
                <a:cs typeface="Cambria"/>
              </a:rPr>
              <a:t>Pertinent Realities for Alcohol Marketplace Regulation</a:t>
            </a:r>
            <a:endParaRPr lang="en-US" sz="2900" dirty="0">
              <a:latin typeface="Cambria" panose="02040503050406030204" pitchFamily="18" charset="0"/>
            </a:endParaRPr>
          </a:p>
        </p:txBody>
      </p:sp>
      <p:sp>
        <p:nvSpPr>
          <p:cNvPr id="6" name="Rectangle 5">
            <a:extLst>
              <a:ext uri="{FF2B5EF4-FFF2-40B4-BE49-F238E27FC236}">
                <a16:creationId xmlns:a16="http://schemas.microsoft.com/office/drawing/2014/main" id="{0B21CA6A-5A88-4E47-A5ED-32EBDAF15739}"/>
              </a:ext>
            </a:extLst>
          </p:cNvPr>
          <p:cNvSpPr/>
          <p:nvPr/>
        </p:nvSpPr>
        <p:spPr>
          <a:xfrm>
            <a:off x="923922" y="1462332"/>
            <a:ext cx="10210803" cy="5324535"/>
          </a:xfrm>
          <a:prstGeom prst="rect">
            <a:avLst/>
          </a:prstGeom>
        </p:spPr>
        <p:txBody>
          <a:bodyPr wrap="square">
            <a:spAutoFit/>
          </a:bodyPr>
          <a:lstStyle/>
          <a:p>
            <a:pPr marL="285750" indent="-285750">
              <a:buFont typeface="Arial" panose="020B0604020202020204" pitchFamily="34" charset="0"/>
              <a:buChar char="•"/>
            </a:pPr>
            <a:r>
              <a:rPr lang="en-US" altLang="en-US" b="1" kern="0" dirty="0">
                <a:latin typeface="Cambria" panose="02040503050406030204" pitchFamily="18" charset="0"/>
              </a:rPr>
              <a:t>There are more ways for consumers to purchase alcohol than ever before.</a:t>
            </a:r>
          </a:p>
          <a:p>
            <a:pPr marL="742950" lvl="1" indent="-285750">
              <a:buFont typeface="Arial" panose="020B0604020202020204" pitchFamily="34" charset="0"/>
              <a:buChar char="•"/>
            </a:pPr>
            <a:r>
              <a:rPr lang="en-US" altLang="en-US" sz="1600" kern="0" dirty="0">
                <a:latin typeface="Cambria" panose="02040503050406030204" pitchFamily="18" charset="0"/>
              </a:rPr>
              <a:t>The number of places that sell alcohol beverages in the U.S. grew by over 100,000 between 2007-2017.  </a:t>
            </a:r>
            <a:r>
              <a:rPr lang="en-US" altLang="en-US" sz="1200" kern="0" dirty="0">
                <a:latin typeface="Cambria" panose="02040503050406030204" pitchFamily="18" charset="0"/>
              </a:rPr>
              <a:t>(Source: Nielsen)</a:t>
            </a:r>
          </a:p>
          <a:p>
            <a:pPr marL="285750" indent="-285750">
              <a:buFont typeface="Arial" panose="020B0604020202020204" pitchFamily="34" charset="0"/>
              <a:buChar char="•"/>
            </a:pPr>
            <a:endParaRPr lang="en-US" altLang="en-US" kern="0" dirty="0">
              <a:latin typeface="Cambria" panose="02040503050406030204" pitchFamily="18" charset="0"/>
            </a:endParaRPr>
          </a:p>
          <a:p>
            <a:pPr marL="285750" indent="-285750">
              <a:buFont typeface="Arial" panose="020B0604020202020204" pitchFamily="34" charset="0"/>
              <a:buChar char="•"/>
            </a:pPr>
            <a:r>
              <a:rPr lang="en-US" altLang="en-US" b="1" kern="0" dirty="0">
                <a:latin typeface="Cambria" panose="02040503050406030204" pitchFamily="18" charset="0"/>
              </a:rPr>
              <a:t>There are more beverage alcohol products than ever before.</a:t>
            </a:r>
          </a:p>
          <a:p>
            <a:pPr marL="742950" lvl="1" indent="-285750">
              <a:buFont typeface="Arial" panose="020B0604020202020204" pitchFamily="34" charset="0"/>
              <a:buChar char="•"/>
            </a:pPr>
            <a:r>
              <a:rPr lang="en-US" sz="1600" dirty="0">
                <a:latin typeface="Cambria" panose="02040503050406030204" pitchFamily="18" charset="0"/>
                <a:ea typeface="Cambria" panose="02040503050406030204" pitchFamily="18" charset="0"/>
              </a:rPr>
              <a:t>The Alcohol &amp; Tobacco Tax &amp;Trade Bureau (TTB) received over 170,000 label submissions in 2017.</a:t>
            </a:r>
            <a:endParaRPr lang="en-US" altLang="en-US" sz="1600" kern="0" dirty="0">
              <a:latin typeface="Cambria" panose="02040503050406030204" pitchFamily="18" charset="0"/>
              <a:ea typeface="Cambria" panose="02040503050406030204" pitchFamily="18" charset="0"/>
            </a:endParaRPr>
          </a:p>
          <a:p>
            <a:endParaRPr lang="en-US" altLang="en-US" kern="0" dirty="0">
              <a:latin typeface="Cambria" panose="02040503050406030204" pitchFamily="18" charset="0"/>
            </a:endParaRPr>
          </a:p>
          <a:p>
            <a:pPr marL="285750" indent="-285750">
              <a:buFont typeface="Arial" panose="020B0604020202020204" pitchFamily="34" charset="0"/>
              <a:buChar char="•"/>
            </a:pPr>
            <a:r>
              <a:rPr lang="en-US" altLang="en-US" b="1" kern="0" dirty="0">
                <a:latin typeface="Cambria" panose="02040503050406030204" pitchFamily="18" charset="0"/>
              </a:rPr>
              <a:t>By volume, overall beverage alcohol consumption was -0.2% in 2017.</a:t>
            </a:r>
          </a:p>
          <a:p>
            <a:pPr marL="742950" lvl="1" indent="-285750">
              <a:buFont typeface="Arial" panose="020B0604020202020204" pitchFamily="34" charset="0"/>
              <a:buChar char="•"/>
            </a:pPr>
            <a:r>
              <a:rPr lang="en-US" altLang="en-US" sz="1600" kern="0" dirty="0">
                <a:latin typeface="Cambria" panose="02040503050406030204" pitchFamily="18" charset="0"/>
              </a:rPr>
              <a:t>Wine: +1%; Spirits: +2.2%; Beer: -1.1% (“Craft” Beer: +5.0%; Import Beer: +3.2%)                                     </a:t>
            </a:r>
            <a:r>
              <a:rPr lang="en-US" altLang="en-US" sz="1200" kern="0" dirty="0">
                <a:latin typeface="Cambria" panose="02040503050406030204" pitchFamily="18" charset="0"/>
              </a:rPr>
              <a:t>(Source: IWSR)</a:t>
            </a:r>
            <a:endParaRPr lang="en-US" altLang="en-US" sz="1200" i="1" kern="0" dirty="0">
              <a:latin typeface="Cambria" panose="02040503050406030204" pitchFamily="18" charset="0"/>
            </a:endParaRPr>
          </a:p>
          <a:p>
            <a:pPr lvl="1"/>
            <a:endParaRPr lang="en-US" altLang="en-US" kern="0" dirty="0">
              <a:latin typeface="Cambria" panose="02040503050406030204" pitchFamily="18" charset="0"/>
            </a:endParaRPr>
          </a:p>
          <a:p>
            <a:pPr marL="285750" indent="-285750">
              <a:buFont typeface="Arial" panose="020B0604020202020204" pitchFamily="34" charset="0"/>
              <a:buChar char="•"/>
            </a:pPr>
            <a:r>
              <a:rPr lang="en-US" altLang="en-US" b="1" kern="0" dirty="0">
                <a:latin typeface="Cambria" panose="02040503050406030204" pitchFamily="18" charset="0"/>
              </a:rPr>
              <a:t>The three tier system allows small, medium and large businesses to compete; grow.</a:t>
            </a:r>
          </a:p>
          <a:p>
            <a:pPr marL="742950" lvl="1" indent="-285750">
              <a:buFont typeface="Arial" panose="020B0604020202020204" pitchFamily="34" charset="0"/>
              <a:buChar char="•"/>
            </a:pPr>
            <a:r>
              <a:rPr lang="en-US" altLang="en-US" sz="1600" kern="0" dirty="0">
                <a:latin typeface="Cambria" panose="02040503050406030204" pitchFamily="18" charset="0"/>
              </a:rPr>
              <a:t> 12,734 wineries; 9,175 breweries; 3,094 distilleries (25k+ wholesalers; 12k+ importers; 600K+ retailers)                         </a:t>
            </a:r>
            <a:r>
              <a:rPr lang="en-US" altLang="en-US" sz="1200" kern="0" dirty="0">
                <a:latin typeface="Cambria" panose="02040503050406030204" pitchFamily="18" charset="0"/>
              </a:rPr>
              <a:t>(Source: TTB)</a:t>
            </a:r>
          </a:p>
          <a:p>
            <a:pPr marL="285750" indent="-285750">
              <a:buFont typeface="Arial" panose="020B0604020202020204" pitchFamily="34" charset="0"/>
              <a:buChar char="•"/>
            </a:pPr>
            <a:endParaRPr lang="en-US" altLang="en-US" kern="0" dirty="0">
              <a:latin typeface="Cambria" panose="02040503050406030204" pitchFamily="18" charset="0"/>
            </a:endParaRPr>
          </a:p>
          <a:p>
            <a:pPr marL="285750" indent="-285750">
              <a:buFont typeface="Arial" panose="020B0604020202020204" pitchFamily="34" charset="0"/>
              <a:buChar char="•"/>
            </a:pPr>
            <a:r>
              <a:rPr lang="en-US" altLang="en-US" b="1" kern="0" dirty="0">
                <a:latin typeface="Cambria" panose="02040503050406030204" pitchFamily="18" charset="0"/>
              </a:rPr>
              <a:t>Alcohol is a secondary enhancement to new market entrants’ primary business interests.</a:t>
            </a:r>
          </a:p>
          <a:p>
            <a:pPr marL="742950" lvl="1" indent="-285750">
              <a:buFont typeface="Arial" panose="020B0604020202020204" pitchFamily="34" charset="0"/>
              <a:buChar char="•"/>
            </a:pPr>
            <a:r>
              <a:rPr lang="en-US" altLang="en-US" sz="1600" kern="0" dirty="0">
                <a:latin typeface="Cambria" panose="02040503050406030204" pitchFamily="18" charset="0"/>
              </a:rPr>
              <a:t>Getting into alcohol retail: Dunkin’ Donuts; Dollar Stores; Taco Bell; Amazon; Walgreens; your local zoo</a:t>
            </a:r>
          </a:p>
          <a:p>
            <a:pPr marL="285750" indent="-285750">
              <a:buFont typeface="Arial" panose="020B0604020202020204" pitchFamily="34" charset="0"/>
              <a:buChar char="•"/>
            </a:pPr>
            <a:endParaRPr lang="en-US" altLang="en-US" sz="1600" kern="0" dirty="0">
              <a:latin typeface="Cambria" panose="02040503050406030204" pitchFamily="18" charset="0"/>
            </a:endParaRPr>
          </a:p>
          <a:p>
            <a:pPr marL="285750" indent="-285750">
              <a:buFont typeface="Arial" panose="020B0604020202020204" pitchFamily="34" charset="0"/>
              <a:buChar char="•"/>
            </a:pPr>
            <a:r>
              <a:rPr lang="en-US" altLang="en-US" b="1" kern="0" dirty="0">
                <a:latin typeface="Cambria" panose="02040503050406030204" pitchFamily="18" charset="0"/>
              </a:rPr>
              <a:t>Some industry business models ultimately rely on changing regulatory/licensing systems.</a:t>
            </a:r>
          </a:p>
          <a:p>
            <a:pPr marL="742950" lvl="1" indent="-285750">
              <a:buFont typeface="Arial" panose="020B0604020202020204" pitchFamily="34" charset="0"/>
              <a:buChar char="•"/>
            </a:pPr>
            <a:r>
              <a:rPr lang="en-US" sz="1600" dirty="0">
                <a:latin typeface="Cambria"/>
                <a:cs typeface="Cambria"/>
              </a:rPr>
              <a:t>About 97% of U.S. breweries produce &lt;15,000 barrels a year; sell an ~31% of their beer onsite.</a:t>
            </a:r>
            <a:r>
              <a:rPr lang="en-US" sz="1200" dirty="0">
                <a:latin typeface="Cambria"/>
                <a:cs typeface="Cambria"/>
              </a:rPr>
              <a:t> </a:t>
            </a:r>
            <a:r>
              <a:rPr lang="en-US" sz="1200" kern="0" dirty="0">
                <a:latin typeface="Cambria" panose="02040503050406030204" pitchFamily="18" charset="0"/>
                <a:cs typeface="Cambria"/>
              </a:rPr>
              <a:t>                  (</a:t>
            </a:r>
            <a:r>
              <a:rPr lang="en-US" altLang="en-US" sz="1200" kern="0" dirty="0">
                <a:latin typeface="Cambria" panose="02040503050406030204" pitchFamily="18" charset="0"/>
              </a:rPr>
              <a:t>Source: Brewers Association)</a:t>
            </a:r>
          </a:p>
        </p:txBody>
      </p:sp>
      <p:sp>
        <p:nvSpPr>
          <p:cNvPr id="3" name="Slide Number Placeholder 2">
            <a:extLst>
              <a:ext uri="{FF2B5EF4-FFF2-40B4-BE49-F238E27FC236}">
                <a16:creationId xmlns:a16="http://schemas.microsoft.com/office/drawing/2014/main" id="{FD751969-9FF8-4A4E-8A2B-C97969DC1A79}"/>
              </a:ext>
            </a:extLst>
          </p:cNvPr>
          <p:cNvSpPr>
            <a:spLocks noGrp="1"/>
          </p:cNvSpPr>
          <p:nvPr>
            <p:ph type="sldNum" sz="quarter" idx="12"/>
          </p:nvPr>
        </p:nvSpPr>
        <p:spPr/>
        <p:txBody>
          <a:bodyPr/>
          <a:lstStyle/>
          <a:p>
            <a:fld id="{E688E218-EDC1-45FE-BD02-D56DD4A0E21D}" type="slidenum">
              <a:rPr lang="en-US" smtClean="0"/>
              <a:t>18</a:t>
            </a:fld>
            <a:endParaRPr lang="en-US" dirty="0"/>
          </a:p>
        </p:txBody>
      </p:sp>
      <p:pic>
        <p:nvPicPr>
          <p:cNvPr id="7" name="Picture 6">
            <a:extLst>
              <a:ext uri="{FF2B5EF4-FFF2-40B4-BE49-F238E27FC236}">
                <a16:creationId xmlns:a16="http://schemas.microsoft.com/office/drawing/2014/main" id="{0EEF8034-3B08-4E4B-90F3-92236B7BDAAD}"/>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40877180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Disruption Doesn’t Discriminate</a:t>
            </a:r>
            <a:br>
              <a:rPr lang="en-US" sz="3600" b="1" dirty="0">
                <a:latin typeface="Cambria" panose="02040503050406030204" pitchFamily="18" charset="0"/>
              </a:rPr>
            </a:br>
            <a:r>
              <a:rPr lang="en-US" sz="2900" dirty="0">
                <a:latin typeface="Cambria" panose="02040503050406030204" pitchFamily="18" charset="0"/>
              </a:rPr>
              <a:t>Similar Forces Are Shaping ALL Retail</a:t>
            </a:r>
          </a:p>
        </p:txBody>
      </p:sp>
      <p:sp>
        <p:nvSpPr>
          <p:cNvPr id="6" name="Rectangle 5">
            <a:extLst>
              <a:ext uri="{FF2B5EF4-FFF2-40B4-BE49-F238E27FC236}">
                <a16:creationId xmlns:a16="http://schemas.microsoft.com/office/drawing/2014/main" id="{A2F9D8BD-4D04-4910-B523-FE978A49BC0B}"/>
              </a:ext>
            </a:extLst>
          </p:cNvPr>
          <p:cNvSpPr/>
          <p:nvPr/>
        </p:nvSpPr>
        <p:spPr>
          <a:xfrm>
            <a:off x="923923" y="1462332"/>
            <a:ext cx="6060888" cy="4893647"/>
          </a:xfrm>
          <a:prstGeom prst="rect">
            <a:avLst/>
          </a:prstGeom>
        </p:spPr>
        <p:txBody>
          <a:bodyPr wrap="square">
            <a:spAutoFit/>
          </a:bodyPr>
          <a:lstStyle/>
          <a:p>
            <a:pPr marL="285750" indent="-285750">
              <a:buFont typeface="Arial" panose="020B0604020202020204" pitchFamily="34" charset="0"/>
              <a:buChar char="•"/>
            </a:pPr>
            <a:r>
              <a:rPr lang="en-US" sz="2400" dirty="0">
                <a:latin typeface="Cambria" panose="02040503050406030204" pitchFamily="18" charset="0"/>
                <a:ea typeface="Aharoni"/>
                <a:cs typeface="Aharoni"/>
              </a:rPr>
              <a:t>Disruption as cliché</a:t>
            </a:r>
            <a:r>
              <a:rPr lang="mr-IN" sz="2400" dirty="0">
                <a:latin typeface="Cambria" panose="02040503050406030204" pitchFamily="18" charset="0"/>
                <a:ea typeface="Aharoni"/>
                <a:cs typeface="Aharoni"/>
              </a:rPr>
              <a:t>…</a:t>
            </a:r>
            <a:r>
              <a:rPr lang="en-US" sz="2400" dirty="0">
                <a:latin typeface="Cambria" panose="02040503050406030204" pitchFamily="18" charset="0"/>
                <a:ea typeface="Aharoni"/>
                <a:cs typeface="Aharoni"/>
              </a:rPr>
              <a:t>ask Tom Haverford</a:t>
            </a:r>
            <a:endParaRPr lang="en-US" dirty="0">
              <a:latin typeface="Cambria" panose="02040503050406030204" pitchFamily="18" charset="0"/>
              <a:ea typeface="Aharoni"/>
              <a:cs typeface="Aharoni"/>
            </a:endParaRPr>
          </a:p>
          <a:p>
            <a:pPr marL="285750" indent="-285750">
              <a:buFont typeface="Arial" panose="020B0604020202020204" pitchFamily="34" charset="0"/>
              <a:buChar char="•"/>
            </a:pPr>
            <a:endParaRPr lang="en-US" sz="24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400" dirty="0">
                <a:latin typeface="Cambria" panose="02040503050406030204" pitchFamily="18" charset="0"/>
                <a:ea typeface="Aharoni"/>
                <a:cs typeface="Aharoni"/>
              </a:rPr>
              <a:t>eCommerce &amp; Direct-to-Consumer sales</a:t>
            </a:r>
          </a:p>
          <a:p>
            <a:endParaRPr lang="en-US" sz="24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400" dirty="0">
                <a:latin typeface="Cambria" panose="02040503050406030204" pitchFamily="18" charset="0"/>
                <a:ea typeface="Aharoni"/>
                <a:cs typeface="Aharoni"/>
              </a:rPr>
              <a:t>Non-Traditional Venues (Barns?)</a:t>
            </a:r>
          </a:p>
          <a:p>
            <a:pPr marL="285750" indent="-285750">
              <a:buFont typeface="Arial" panose="020B0604020202020204" pitchFamily="34" charset="0"/>
              <a:buChar char="•"/>
            </a:pPr>
            <a:endParaRPr lang="en-US" sz="24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400" dirty="0">
                <a:latin typeface="Cambria" panose="02040503050406030204" pitchFamily="18" charset="0"/>
                <a:ea typeface="Aharoni"/>
                <a:cs typeface="Aharoni"/>
              </a:rPr>
              <a:t>Amazon v. Wal-Mart</a:t>
            </a:r>
          </a:p>
          <a:p>
            <a:pPr marL="285750" indent="-285750">
              <a:buFont typeface="Arial" panose="020B0604020202020204" pitchFamily="34" charset="0"/>
              <a:buChar char="•"/>
            </a:pPr>
            <a:endParaRPr lang="en-US" sz="24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400" dirty="0">
                <a:latin typeface="Cambria" panose="02040503050406030204" pitchFamily="18" charset="0"/>
                <a:ea typeface="Aharoni"/>
                <a:cs typeface="Aharoni"/>
              </a:rPr>
              <a:t>Anti-regulatory/govt. sentiment</a:t>
            </a:r>
          </a:p>
          <a:p>
            <a:endParaRPr lang="en-US" sz="24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400" dirty="0">
                <a:latin typeface="Cambria" panose="02040503050406030204" pitchFamily="18" charset="0"/>
                <a:ea typeface="Aharoni"/>
                <a:cs typeface="Aharoni"/>
              </a:rPr>
              <a:t>REMEMBER: All of this is happening while overall U.S. alcohol consumption remains relatively flat. (2.5 gal/65%)</a:t>
            </a:r>
          </a:p>
        </p:txBody>
      </p:sp>
      <p:sp>
        <p:nvSpPr>
          <p:cNvPr id="2" name="TextBox 1"/>
          <p:cNvSpPr txBox="1"/>
          <p:nvPr/>
        </p:nvSpPr>
        <p:spPr>
          <a:xfrm>
            <a:off x="7368447" y="4318567"/>
            <a:ext cx="4643311" cy="2446824"/>
          </a:xfrm>
          <a:prstGeom prst="rect">
            <a:avLst/>
          </a:prstGeom>
          <a:noFill/>
        </p:spPr>
        <p:txBody>
          <a:bodyPr wrap="square" rtlCol="0">
            <a:spAutoFit/>
          </a:bodyPr>
          <a:lstStyle/>
          <a:p>
            <a:r>
              <a:rPr lang="en-US" sz="1700" b="1" dirty="0">
                <a:latin typeface="Cambria"/>
                <a:cs typeface="Cambria"/>
              </a:rPr>
              <a:t>“Yogurt Platinum” </a:t>
            </a:r>
            <a:r>
              <a:rPr lang="mr-IN" sz="1700" dirty="0">
                <a:latin typeface="Cambria"/>
                <a:cs typeface="Cambria"/>
              </a:rPr>
              <a:t>–</a:t>
            </a:r>
            <a:r>
              <a:rPr lang="en-US" sz="1700" dirty="0">
                <a:latin typeface="Cambria"/>
                <a:cs typeface="Cambria"/>
              </a:rPr>
              <a:t> gourmet alcoholic yogurt</a:t>
            </a:r>
          </a:p>
          <a:p>
            <a:endParaRPr lang="en-US" sz="1700" dirty="0">
              <a:latin typeface="Cambria"/>
              <a:cs typeface="Cambria"/>
            </a:endParaRPr>
          </a:p>
          <a:p>
            <a:r>
              <a:rPr lang="en-US" sz="1700" b="1" dirty="0">
                <a:latin typeface="Cambria"/>
                <a:cs typeface="Cambria"/>
              </a:rPr>
              <a:t>“Snail Mail” </a:t>
            </a:r>
            <a:r>
              <a:rPr lang="mr-IN" sz="1700" dirty="0">
                <a:latin typeface="Cambria"/>
                <a:cs typeface="Cambria"/>
              </a:rPr>
              <a:t>–</a:t>
            </a:r>
            <a:r>
              <a:rPr lang="en-US" sz="1700" dirty="0">
                <a:latin typeface="Cambria"/>
                <a:cs typeface="Cambria"/>
              </a:rPr>
              <a:t> escargot delivery service</a:t>
            </a:r>
          </a:p>
          <a:p>
            <a:endParaRPr lang="en-US" sz="1700" dirty="0">
              <a:latin typeface="Cambria"/>
              <a:cs typeface="Cambria"/>
            </a:endParaRPr>
          </a:p>
          <a:p>
            <a:r>
              <a:rPr lang="en-US" sz="1700" b="1" dirty="0">
                <a:latin typeface="Cambria"/>
                <a:cs typeface="Cambria"/>
              </a:rPr>
              <a:t>“Rent-a-Swag” </a:t>
            </a:r>
            <a:r>
              <a:rPr lang="mr-IN" sz="1700" dirty="0">
                <a:latin typeface="Cambria"/>
                <a:cs typeface="Cambria"/>
              </a:rPr>
              <a:t>–</a:t>
            </a:r>
            <a:r>
              <a:rPr lang="en-US" sz="1700" dirty="0">
                <a:latin typeface="Cambria"/>
                <a:cs typeface="Cambria"/>
              </a:rPr>
              <a:t> high-end clothing rental</a:t>
            </a:r>
          </a:p>
          <a:p>
            <a:endParaRPr lang="en-US" sz="1700" dirty="0">
              <a:latin typeface="Cambria"/>
              <a:cs typeface="Cambria"/>
            </a:endParaRPr>
          </a:p>
          <a:p>
            <a:r>
              <a:rPr lang="en-US" sz="1700" b="1" dirty="0">
                <a:latin typeface="Cambria"/>
                <a:cs typeface="Cambria"/>
              </a:rPr>
              <a:t>“Saltweens” </a:t>
            </a:r>
            <a:r>
              <a:rPr lang="mr-IN" sz="1700" dirty="0">
                <a:latin typeface="Cambria"/>
                <a:cs typeface="Cambria"/>
              </a:rPr>
              <a:t>–</a:t>
            </a:r>
            <a:r>
              <a:rPr lang="en-US" sz="1700" dirty="0">
                <a:latin typeface="Cambria"/>
                <a:cs typeface="Cambria"/>
              </a:rPr>
              <a:t> Saltines for tweens</a:t>
            </a:r>
          </a:p>
          <a:p>
            <a:endParaRPr lang="en-US" sz="1700" dirty="0">
              <a:latin typeface="Cambria"/>
              <a:cs typeface="Cambria"/>
            </a:endParaRPr>
          </a:p>
          <a:p>
            <a:r>
              <a:rPr lang="en-US" sz="1700" b="1" dirty="0">
                <a:latin typeface="Cambria"/>
                <a:cs typeface="Cambria"/>
              </a:rPr>
              <a:t>“Sparkle Suds” </a:t>
            </a:r>
            <a:r>
              <a:rPr lang="mr-IN" sz="1700" dirty="0">
                <a:latin typeface="Cambria"/>
                <a:cs typeface="Cambria"/>
              </a:rPr>
              <a:t>–</a:t>
            </a:r>
            <a:r>
              <a:rPr lang="en-US" sz="1700" dirty="0">
                <a:latin typeface="Cambria"/>
                <a:cs typeface="Cambria"/>
              </a:rPr>
              <a:t> laundry detergent with glitter</a:t>
            </a:r>
          </a:p>
        </p:txBody>
      </p:sp>
      <p:pic>
        <p:nvPicPr>
          <p:cNvPr id="3" name="Picture 2"/>
          <p:cNvPicPr>
            <a:picLocks noChangeAspect="1"/>
          </p:cNvPicPr>
          <p:nvPr/>
        </p:nvPicPr>
        <p:blipFill>
          <a:blip r:embed="rId3"/>
          <a:stretch>
            <a:fillRect/>
          </a:stretch>
        </p:blipFill>
        <p:spPr>
          <a:xfrm>
            <a:off x="7474277" y="1322980"/>
            <a:ext cx="4305092" cy="2871463"/>
          </a:xfrm>
          <a:prstGeom prst="rect">
            <a:avLst/>
          </a:prstGeom>
        </p:spPr>
      </p:pic>
      <p:pic>
        <p:nvPicPr>
          <p:cNvPr id="8" name="Picture 7">
            <a:extLst>
              <a:ext uri="{FF2B5EF4-FFF2-40B4-BE49-F238E27FC236}">
                <a16:creationId xmlns:a16="http://schemas.microsoft.com/office/drawing/2014/main" id="{34DD8FF8-180B-4437-8B5D-04C6AE24BF62}"/>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800265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solidFill>
                <a:srgbClr val="203864"/>
              </a:solidFill>
            </a:endParaRPr>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Regulation of the Alcohol Marketplace</a:t>
            </a:r>
            <a:br>
              <a:rPr lang="en-US" sz="3600" b="1" dirty="0">
                <a:latin typeface="Cambria" panose="02040503050406030204" pitchFamily="18" charset="0"/>
              </a:rPr>
            </a:br>
            <a:r>
              <a:rPr lang="en-US" sz="2900" dirty="0">
                <a:latin typeface="Cambria" panose="02040503050406030204" pitchFamily="18" charset="0"/>
              </a:rPr>
              <a:t>What We’ll Cover</a:t>
            </a:r>
          </a:p>
        </p:txBody>
      </p:sp>
      <p:sp>
        <p:nvSpPr>
          <p:cNvPr id="6" name="Rectangle 5">
            <a:extLst>
              <a:ext uri="{FF2B5EF4-FFF2-40B4-BE49-F238E27FC236}">
                <a16:creationId xmlns:a16="http://schemas.microsoft.com/office/drawing/2014/main" id="{A2F9D8BD-4D04-4910-B523-FE978A49BC0B}"/>
              </a:ext>
            </a:extLst>
          </p:cNvPr>
          <p:cNvSpPr/>
          <p:nvPr/>
        </p:nvSpPr>
        <p:spPr>
          <a:xfrm>
            <a:off x="923922" y="1462332"/>
            <a:ext cx="10135232" cy="4832092"/>
          </a:xfrm>
          <a:prstGeom prst="rect">
            <a:avLst/>
          </a:prstGeom>
        </p:spPr>
        <p:txBody>
          <a:bodyPr wrap="square">
            <a:spAutoFit/>
          </a:bodyPr>
          <a:lstStyle/>
          <a:p>
            <a:pPr marL="285750" indent="-285750">
              <a:buFont typeface="Arial" panose="020B0604020202020204" pitchFamily="34" charset="0"/>
              <a:buChar char="•"/>
            </a:pPr>
            <a:r>
              <a:rPr lang="en-US" sz="2800" dirty="0">
                <a:latin typeface="Cambria"/>
                <a:ea typeface="Aharoni"/>
                <a:cs typeface="Cambria"/>
              </a:rPr>
              <a:t>Where I’m Coming From</a:t>
            </a:r>
          </a:p>
          <a:p>
            <a:pPr marL="285750" indent="-285750">
              <a:buFont typeface="Arial" panose="020B0604020202020204" pitchFamily="34" charset="0"/>
              <a:buChar char="•"/>
            </a:pPr>
            <a:endParaRPr lang="en-US" sz="2800" dirty="0">
              <a:latin typeface="Cambria"/>
              <a:ea typeface="Aharoni"/>
              <a:cs typeface="Cambria"/>
            </a:endParaRPr>
          </a:p>
          <a:p>
            <a:pPr marL="285750" indent="-285750">
              <a:buFont typeface="Arial" panose="020B0604020202020204" pitchFamily="34" charset="0"/>
              <a:buChar char="•"/>
            </a:pPr>
            <a:r>
              <a:rPr lang="en-US" sz="2800" dirty="0">
                <a:latin typeface="Cambria"/>
                <a:ea typeface="Aharoni"/>
                <a:cs typeface="Cambria"/>
              </a:rPr>
              <a:t>Regulation: How Did We Get Here?</a:t>
            </a:r>
          </a:p>
          <a:p>
            <a:endParaRPr lang="en-US" sz="2800" dirty="0">
              <a:latin typeface="Cambria"/>
              <a:ea typeface="Aharoni"/>
              <a:cs typeface="Cambria"/>
            </a:endParaRPr>
          </a:p>
          <a:p>
            <a:pPr marL="285750" indent="-285750">
              <a:buFont typeface="Arial" panose="020B0604020202020204" pitchFamily="34" charset="0"/>
              <a:buChar char="•"/>
            </a:pPr>
            <a:r>
              <a:rPr lang="en-US" sz="2800" dirty="0">
                <a:latin typeface="Cambria"/>
                <a:ea typeface="Aharoni"/>
                <a:cs typeface="Cambria"/>
              </a:rPr>
              <a:t>Regulation: What’s Normal?</a:t>
            </a:r>
          </a:p>
          <a:p>
            <a:pPr marL="285750" indent="-285750">
              <a:buFont typeface="Arial" panose="020B0604020202020204" pitchFamily="34" charset="0"/>
              <a:buChar char="•"/>
            </a:pPr>
            <a:endParaRPr lang="en-US" sz="2800" dirty="0">
              <a:latin typeface="Cambria"/>
              <a:ea typeface="Aharoni"/>
              <a:cs typeface="Cambria"/>
            </a:endParaRPr>
          </a:p>
          <a:p>
            <a:pPr marL="285750" indent="-285750">
              <a:buFont typeface="Arial" panose="020B0604020202020204" pitchFamily="34" charset="0"/>
              <a:buChar char="•"/>
            </a:pPr>
            <a:r>
              <a:rPr lang="en-US" sz="2800" dirty="0">
                <a:latin typeface="Cambria"/>
                <a:ea typeface="Aharoni"/>
                <a:cs typeface="Cambria"/>
              </a:rPr>
              <a:t>Regulation: Getting Easier?  Less Important?</a:t>
            </a:r>
          </a:p>
          <a:p>
            <a:endParaRPr lang="en-US" sz="2800" dirty="0">
              <a:latin typeface="Cambria"/>
              <a:ea typeface="Aharoni"/>
              <a:cs typeface="Cambria"/>
            </a:endParaRPr>
          </a:p>
          <a:p>
            <a:pPr marL="285750" indent="-285750">
              <a:buFont typeface="Arial" panose="020B0604020202020204" pitchFamily="34" charset="0"/>
              <a:buChar char="•"/>
            </a:pPr>
            <a:r>
              <a:rPr lang="en-US" sz="2800" dirty="0">
                <a:latin typeface="Cambria"/>
                <a:ea typeface="Aharoni"/>
                <a:cs typeface="Cambria"/>
              </a:rPr>
              <a:t>Constructive Commentary</a:t>
            </a:r>
          </a:p>
          <a:p>
            <a:endParaRPr lang="en-US" sz="2800" dirty="0">
              <a:latin typeface="Cambria"/>
              <a:ea typeface="Aharoni"/>
              <a:cs typeface="Cambria"/>
            </a:endParaRPr>
          </a:p>
          <a:p>
            <a:pPr marL="285750" indent="-285750">
              <a:buFont typeface="Arial" panose="020B0604020202020204" pitchFamily="34" charset="0"/>
              <a:buChar char="•"/>
            </a:pPr>
            <a:r>
              <a:rPr lang="en-US" sz="2800" dirty="0">
                <a:latin typeface="Cambria"/>
                <a:ea typeface="Aharoni"/>
                <a:cs typeface="Cambria"/>
              </a:rPr>
              <a:t>Honest Abe!</a:t>
            </a:r>
          </a:p>
        </p:txBody>
      </p:sp>
      <p:pic>
        <p:nvPicPr>
          <p:cNvPr id="7" name="Picture 6">
            <a:extLst>
              <a:ext uri="{FF2B5EF4-FFF2-40B4-BE49-F238E27FC236}">
                <a16:creationId xmlns:a16="http://schemas.microsoft.com/office/drawing/2014/main" id="{E16E356F-76CC-4B88-8104-AD585C32019E}"/>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4864102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Regulation &amp; Enforcement</a:t>
            </a:r>
            <a:br>
              <a:rPr lang="en-US" sz="3600" dirty="0">
                <a:latin typeface="Cambria" panose="02040503050406030204" pitchFamily="18" charset="0"/>
              </a:rPr>
            </a:br>
            <a:r>
              <a:rPr lang="en-US" sz="2900" dirty="0">
                <a:latin typeface="Cambria" panose="02040503050406030204" pitchFamily="18" charset="0"/>
                <a:cs typeface="Cambria"/>
              </a:rPr>
              <a:t>It’s Only Going to Get More Complicated</a:t>
            </a:r>
            <a:br>
              <a:rPr lang="en-US" sz="3200" dirty="0">
                <a:latin typeface="Cambria" panose="02040503050406030204" pitchFamily="18" charset="0"/>
                <a:cs typeface="Cambria"/>
              </a:rPr>
            </a:br>
            <a:endParaRPr lang="en-US" sz="3600" b="1" dirty="0">
              <a:latin typeface="Cambria" panose="02040503050406030204" pitchFamily="18" charset="0"/>
            </a:endParaRPr>
          </a:p>
        </p:txBody>
      </p:sp>
      <p:sp>
        <p:nvSpPr>
          <p:cNvPr id="6" name="Rectangle 5">
            <a:extLst>
              <a:ext uri="{FF2B5EF4-FFF2-40B4-BE49-F238E27FC236}">
                <a16:creationId xmlns:a16="http://schemas.microsoft.com/office/drawing/2014/main" id="{0B21CA6A-5A88-4E47-A5ED-32EBDAF15739}"/>
              </a:ext>
            </a:extLst>
          </p:cNvPr>
          <p:cNvSpPr/>
          <p:nvPr/>
        </p:nvSpPr>
        <p:spPr>
          <a:xfrm>
            <a:off x="923922" y="1462332"/>
            <a:ext cx="10025757" cy="5047536"/>
          </a:xfrm>
          <a:prstGeom prst="rect">
            <a:avLst/>
          </a:prstGeom>
        </p:spPr>
        <p:txBody>
          <a:bodyPr wrap="square">
            <a:spAutoFit/>
          </a:bodyPr>
          <a:lstStyle/>
          <a:p>
            <a:pPr marL="285750" indent="-285750">
              <a:buFont typeface="Arial" panose="020B0604020202020204" pitchFamily="34" charset="0"/>
              <a:buChar char="•"/>
            </a:pPr>
            <a:r>
              <a:rPr lang="en-US" b="1" dirty="0">
                <a:latin typeface="Cambria" panose="02040503050406030204" pitchFamily="18" charset="0"/>
              </a:rPr>
              <a:t>More licensees, No additional resources </a:t>
            </a:r>
          </a:p>
          <a:p>
            <a:pPr marL="628650" lvl="1" indent="-171450">
              <a:buFont typeface="Arial" panose="020B0604020202020204" pitchFamily="34" charset="0"/>
              <a:buChar char="•"/>
            </a:pPr>
            <a:r>
              <a:rPr lang="en-US" sz="1600" dirty="0">
                <a:latin typeface="Cambria" panose="02040503050406030204" pitchFamily="18" charset="0"/>
              </a:rPr>
              <a:t>States face decreasing budgets and decreasing workforces but greater demands to enforce trade practice issues and more complex entities and licensure.</a:t>
            </a:r>
          </a:p>
          <a:p>
            <a:pPr marL="285750" indent="-285750">
              <a:buFont typeface="Arial" panose="020B0604020202020204" pitchFamily="34" charset="0"/>
              <a:buChar char="•"/>
            </a:pPr>
            <a:endParaRPr lang="en-US" sz="1400" b="1" dirty="0">
              <a:latin typeface="Cambria" panose="02040503050406030204" pitchFamily="18" charset="0"/>
            </a:endParaRPr>
          </a:p>
          <a:p>
            <a:pPr marL="285750" indent="-285750">
              <a:buFont typeface="Arial" panose="020B0604020202020204" pitchFamily="34" charset="0"/>
              <a:buChar char="•"/>
            </a:pPr>
            <a:r>
              <a:rPr lang="en-US" b="1" dirty="0">
                <a:latin typeface="Cambria" panose="02040503050406030204" pitchFamily="18" charset="0"/>
              </a:rPr>
              <a:t>Blurred Lines</a:t>
            </a:r>
          </a:p>
          <a:p>
            <a:pPr marL="742950" lvl="1" indent="-285750">
              <a:buFont typeface="Arial" panose="020B0604020202020204" pitchFamily="34" charset="0"/>
              <a:buChar char="•"/>
            </a:pPr>
            <a:r>
              <a:rPr lang="en-US" sz="1600" dirty="0">
                <a:latin typeface="Cambria" panose="02040503050406030204" pitchFamily="18" charset="0"/>
                <a:cs typeface="Cambria"/>
              </a:rPr>
              <a:t>The blurring of three-tier lines will make for more complex alcohol commerce and regulation; </a:t>
            </a:r>
            <a:r>
              <a:rPr lang="en-US" sz="1600" dirty="0">
                <a:latin typeface="Cambria" panose="02040503050406030204" pitchFamily="18" charset="0"/>
              </a:rPr>
              <a:t>More suppliers seeking more control over wholesale and retail.</a:t>
            </a:r>
            <a:endParaRPr lang="en-US" altLang="en-US" sz="1600" dirty="0">
              <a:solidFill>
                <a:srgbClr val="000000"/>
              </a:solidFill>
              <a:latin typeface="Cambria" panose="02040503050406030204" pitchFamily="18" charset="0"/>
              <a:cs typeface="Cambria"/>
            </a:endParaRPr>
          </a:p>
          <a:p>
            <a:pPr marL="285750" indent="-285750">
              <a:buFont typeface="Arial" panose="020B0604020202020204" pitchFamily="34" charset="0"/>
              <a:buChar char="•"/>
            </a:pPr>
            <a:endParaRPr lang="en-US" sz="1400" b="1" dirty="0">
              <a:latin typeface="Cambria" panose="02040503050406030204" pitchFamily="18" charset="0"/>
            </a:endParaRPr>
          </a:p>
          <a:p>
            <a:pPr marL="285750" indent="-285750">
              <a:buFont typeface="Arial" panose="020B0604020202020204" pitchFamily="34" charset="0"/>
              <a:buChar char="•"/>
            </a:pPr>
            <a:r>
              <a:rPr lang="en-US" b="1" dirty="0">
                <a:latin typeface="Cambria" panose="02040503050406030204" pitchFamily="18" charset="0"/>
                <a:cs typeface="Cambria"/>
              </a:rPr>
              <a:t>Growth of eCommerce</a:t>
            </a:r>
          </a:p>
          <a:p>
            <a:pPr marL="742950" lvl="1" indent="-285750">
              <a:buFont typeface="Arial" panose="020B0604020202020204" pitchFamily="34" charset="0"/>
              <a:buChar char="•"/>
            </a:pPr>
            <a:r>
              <a:rPr lang="en-US" sz="1600" dirty="0">
                <a:solidFill>
                  <a:prstClr val="black"/>
                </a:solidFill>
                <a:latin typeface="Cambria" panose="02040503050406030204" pitchFamily="18" charset="0"/>
              </a:rPr>
              <a:t>How will states apply Prohibition-era laws to Cyberspace? (Apps, Digital Storefronts, 3</a:t>
            </a:r>
            <a:r>
              <a:rPr lang="en-US" sz="1600" baseline="30000" dirty="0">
                <a:solidFill>
                  <a:prstClr val="black"/>
                </a:solidFill>
                <a:latin typeface="Cambria" panose="02040503050406030204" pitchFamily="18" charset="0"/>
              </a:rPr>
              <a:t>rd</a:t>
            </a:r>
            <a:r>
              <a:rPr lang="en-US" sz="1600" dirty="0">
                <a:solidFill>
                  <a:prstClr val="black"/>
                </a:solidFill>
                <a:latin typeface="Cambria" panose="02040503050406030204" pitchFamily="18" charset="0"/>
              </a:rPr>
              <a:t> Party vendors)</a:t>
            </a:r>
            <a:endParaRPr lang="en-US" sz="1600" b="1" dirty="0">
              <a:solidFill>
                <a:prstClr val="black"/>
              </a:solidFill>
              <a:latin typeface="Cambria" panose="02040503050406030204" pitchFamily="18" charset="0"/>
            </a:endParaRPr>
          </a:p>
          <a:p>
            <a:pPr marL="742950" lvl="1" indent="-285750">
              <a:buFont typeface="Arial" panose="020B0604020202020204" pitchFamily="34" charset="0"/>
              <a:buChar char="•"/>
            </a:pPr>
            <a:endParaRPr lang="en-US" sz="1400" b="1" dirty="0">
              <a:solidFill>
                <a:prstClr val="black"/>
              </a:solidFill>
              <a:latin typeface="Cambria" panose="02040503050406030204" pitchFamily="18" charset="0"/>
            </a:endParaRPr>
          </a:p>
          <a:p>
            <a:pPr marL="285750" indent="-285750">
              <a:buFont typeface="Arial" panose="020B0604020202020204" pitchFamily="34" charset="0"/>
              <a:buChar char="•"/>
            </a:pPr>
            <a:r>
              <a:rPr lang="en-US" b="1" dirty="0">
                <a:latin typeface="Cambria" panose="02040503050406030204" pitchFamily="18" charset="0"/>
              </a:rPr>
              <a:t>Trade Practice Laws</a:t>
            </a:r>
          </a:p>
          <a:p>
            <a:pPr marL="742950" lvl="1" indent="-285750">
              <a:buFont typeface="Arial" panose="020B0604020202020204" pitchFamily="34" charset="0"/>
              <a:buChar char="•"/>
            </a:pPr>
            <a:r>
              <a:rPr lang="en-US" sz="1600" dirty="0">
                <a:latin typeface="Cambria" panose="02040503050406030204" pitchFamily="18" charset="0"/>
              </a:rPr>
              <a:t>Are trade practice laws adaptable/amendable to address today’s regulatory realities?</a:t>
            </a:r>
          </a:p>
          <a:p>
            <a:pPr marL="285750" indent="-285750">
              <a:buFont typeface="Arial" panose="020B0604020202020204" pitchFamily="34" charset="0"/>
              <a:buChar char="•"/>
            </a:pPr>
            <a:endParaRPr lang="en-US" sz="1400" b="1" dirty="0">
              <a:latin typeface="Cambria" panose="02040503050406030204" pitchFamily="18" charset="0"/>
            </a:endParaRPr>
          </a:p>
          <a:p>
            <a:pPr marL="285750" indent="-285750">
              <a:buFont typeface="Arial" panose="020B0604020202020204" pitchFamily="34" charset="0"/>
              <a:buChar char="•"/>
            </a:pPr>
            <a:r>
              <a:rPr lang="en-US" b="1" dirty="0">
                <a:latin typeface="Cambria" panose="02040503050406030204" pitchFamily="18" charset="0"/>
              </a:rPr>
              <a:t>Market Participant Education</a:t>
            </a:r>
          </a:p>
          <a:p>
            <a:pPr marL="742950" lvl="1" indent="-285750">
              <a:buFont typeface="Arial" panose="020B0604020202020204" pitchFamily="34" charset="0"/>
              <a:buChar char="•"/>
            </a:pPr>
            <a:r>
              <a:rPr lang="en-US" sz="1600" dirty="0">
                <a:latin typeface="Cambria" panose="02040503050406030204" pitchFamily="18" charset="0"/>
              </a:rPr>
              <a:t>New (and existing) industry practitioners &amp; regulators should know the laws…that’s not always the case.</a:t>
            </a:r>
          </a:p>
          <a:p>
            <a:pPr marL="285750" indent="-285750">
              <a:buFont typeface="Arial" panose="020B0604020202020204" pitchFamily="34" charset="0"/>
              <a:buChar char="•"/>
            </a:pPr>
            <a:endParaRPr lang="en-US" sz="1400" b="1" dirty="0">
              <a:latin typeface="Cambria" panose="02040503050406030204" pitchFamily="18" charset="0"/>
            </a:endParaRPr>
          </a:p>
          <a:p>
            <a:pPr marL="285750" indent="-285750">
              <a:buFont typeface="Arial" panose="020B0604020202020204" pitchFamily="34" charset="0"/>
              <a:buChar char="•"/>
            </a:pPr>
            <a:r>
              <a:rPr lang="en-US" b="1" dirty="0">
                <a:latin typeface="Cambria" panose="02040503050406030204" pitchFamily="18" charset="0"/>
              </a:rPr>
              <a:t>Tied House &amp; Category Management</a:t>
            </a:r>
          </a:p>
          <a:p>
            <a:pPr marL="628650" lvl="1" indent="-171450">
              <a:buFont typeface="Arial" panose="020B0604020202020204" pitchFamily="34" charset="0"/>
              <a:buChar char="•"/>
            </a:pPr>
            <a:r>
              <a:rPr lang="en-US" sz="1600" dirty="0">
                <a:latin typeface="Cambria" panose="02040503050406030204" pitchFamily="18" charset="0"/>
              </a:rPr>
              <a:t>Consolidation and mergers have created international suppliers and national distributors that prefer a CPG approach to alcohol and vertical integration.</a:t>
            </a:r>
          </a:p>
        </p:txBody>
      </p:sp>
      <p:sp>
        <p:nvSpPr>
          <p:cNvPr id="2" name="Slide Number Placeholder 1">
            <a:extLst>
              <a:ext uri="{FF2B5EF4-FFF2-40B4-BE49-F238E27FC236}">
                <a16:creationId xmlns:a16="http://schemas.microsoft.com/office/drawing/2014/main" id="{E51A9549-3CCE-46BF-8B6A-0E7DE32AA948}"/>
              </a:ext>
            </a:extLst>
          </p:cNvPr>
          <p:cNvSpPr>
            <a:spLocks noGrp="1"/>
          </p:cNvSpPr>
          <p:nvPr>
            <p:ph type="sldNum" sz="quarter" idx="12"/>
          </p:nvPr>
        </p:nvSpPr>
        <p:spPr/>
        <p:txBody>
          <a:bodyPr/>
          <a:lstStyle/>
          <a:p>
            <a:fld id="{E688E218-EDC1-45FE-BD02-D56DD4A0E21D}" type="slidenum">
              <a:rPr lang="en-US" smtClean="0"/>
              <a:t>20</a:t>
            </a:fld>
            <a:endParaRPr lang="en-US" dirty="0"/>
          </a:p>
        </p:txBody>
      </p:sp>
      <p:pic>
        <p:nvPicPr>
          <p:cNvPr id="7" name="Picture 6">
            <a:extLst>
              <a:ext uri="{FF2B5EF4-FFF2-40B4-BE49-F238E27FC236}">
                <a16:creationId xmlns:a16="http://schemas.microsoft.com/office/drawing/2014/main" id="{F0389A84-C212-4475-B0C6-3A4F670E0CF6}"/>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7289444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Building a Bridge to Future Regulation</a:t>
            </a:r>
            <a:br>
              <a:rPr lang="en-US" sz="3600" b="1" dirty="0">
                <a:latin typeface="Cambria" panose="02040503050406030204" pitchFamily="18" charset="0"/>
              </a:rPr>
            </a:br>
            <a:r>
              <a:rPr lang="en-US" sz="2900" dirty="0">
                <a:latin typeface="Cambria" panose="02040503050406030204" pitchFamily="18" charset="0"/>
              </a:rPr>
              <a:t>Acknowledge Realities &amp; Ask the Right Questions</a:t>
            </a:r>
          </a:p>
        </p:txBody>
      </p:sp>
      <p:sp>
        <p:nvSpPr>
          <p:cNvPr id="6" name="Rectangle 5">
            <a:extLst>
              <a:ext uri="{FF2B5EF4-FFF2-40B4-BE49-F238E27FC236}">
                <a16:creationId xmlns:a16="http://schemas.microsoft.com/office/drawing/2014/main" id="{A2F9D8BD-4D04-4910-B523-FE978A49BC0B}"/>
              </a:ext>
            </a:extLst>
          </p:cNvPr>
          <p:cNvSpPr/>
          <p:nvPr/>
        </p:nvSpPr>
        <p:spPr>
          <a:xfrm>
            <a:off x="923922" y="1462332"/>
            <a:ext cx="10175048" cy="4708981"/>
          </a:xfrm>
          <a:prstGeom prst="rect">
            <a:avLst/>
          </a:prstGeom>
        </p:spPr>
        <p:txBody>
          <a:bodyPr wrap="square">
            <a:spAutoFit/>
          </a:bodyPr>
          <a:lstStyle/>
          <a:p>
            <a:pPr marL="285750" indent="-285750">
              <a:buFont typeface="Arial" panose="020B0604020202020204" pitchFamily="34" charset="0"/>
              <a:buChar char="•"/>
            </a:pPr>
            <a:r>
              <a:rPr lang="en-US" sz="2000" b="1" dirty="0">
                <a:latin typeface="Cambria" panose="02040503050406030204" pitchFamily="18" charset="0"/>
                <a:ea typeface="Aharoni"/>
                <a:cs typeface="Aharoni"/>
              </a:rPr>
              <a:t>The threshold for acceptable change continues to be lowered.</a:t>
            </a:r>
          </a:p>
          <a:p>
            <a:pPr marL="742950" lvl="1" indent="-285750">
              <a:buFont typeface="Arial" panose="020B0604020202020204" pitchFamily="34" charset="0"/>
              <a:buChar char="•"/>
            </a:pPr>
            <a:r>
              <a:rPr lang="en-US" sz="2000" i="1" dirty="0">
                <a:latin typeface="Cambria" panose="02040503050406030204" pitchFamily="18" charset="0"/>
                <a:ea typeface="Aharoni"/>
                <a:cs typeface="Aharoni"/>
              </a:rPr>
              <a:t>Are we willing to think the unthinkable AND still defend what works and why it works?</a:t>
            </a:r>
          </a:p>
          <a:p>
            <a:endParaRPr lang="en-US" sz="20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000" b="1" dirty="0">
                <a:latin typeface="Cambria" panose="02040503050406030204" pitchFamily="18" charset="0"/>
                <a:ea typeface="Aharoni"/>
                <a:cs typeface="Aharoni"/>
              </a:rPr>
              <a:t>Effective and efficient institutions are worth defending.</a:t>
            </a:r>
          </a:p>
          <a:p>
            <a:pPr marL="742950" lvl="1" indent="-285750">
              <a:buFont typeface="Arial" panose="020B0604020202020204" pitchFamily="34" charset="0"/>
              <a:buChar char="•"/>
            </a:pPr>
            <a:r>
              <a:rPr lang="en-US" sz="2000" i="1" dirty="0">
                <a:latin typeface="Cambria" panose="02040503050406030204" pitchFamily="18" charset="0"/>
                <a:ea typeface="Aharoni"/>
                <a:cs typeface="Aharoni"/>
              </a:rPr>
              <a:t>How are we talking about effective, behind-the-scenes systems that make it all GO?</a:t>
            </a:r>
            <a:endParaRPr lang="en-US" sz="2000" i="1" spc="-10" dirty="0">
              <a:latin typeface="Cambria"/>
              <a:cs typeface="Cambria"/>
            </a:endParaRPr>
          </a:p>
          <a:p>
            <a:pPr marL="285750" lvl="0" indent="-285750">
              <a:buFont typeface="Arial" panose="020B0604020202020204" pitchFamily="34" charset="0"/>
              <a:buChar char="•"/>
            </a:pPr>
            <a:endParaRPr lang="en-US" sz="2000" spc="-10" dirty="0">
              <a:latin typeface="Cambria"/>
              <a:cs typeface="Cambria"/>
            </a:endParaRPr>
          </a:p>
          <a:p>
            <a:pPr marL="285750" lvl="0" indent="-285750">
              <a:buFont typeface="Arial" panose="020B0604020202020204" pitchFamily="34" charset="0"/>
              <a:buChar char="•"/>
            </a:pPr>
            <a:r>
              <a:rPr lang="en-US" sz="2000" b="1" spc="-10" dirty="0">
                <a:latin typeface="Cambria"/>
                <a:cs typeface="Cambria"/>
              </a:rPr>
              <a:t>More than 7,000 U.S. brick-and-mortar stores closed in 2017 (2x as many as 2016).</a:t>
            </a:r>
          </a:p>
          <a:p>
            <a:pPr marL="742950" lvl="1" indent="-285750">
              <a:buFont typeface="Arial" panose="020B0604020202020204" pitchFamily="34" charset="0"/>
              <a:buChar char="•"/>
            </a:pPr>
            <a:r>
              <a:rPr lang="en-US" sz="2000" i="1" dirty="0">
                <a:latin typeface="Cambria" panose="02040503050406030204" pitchFamily="18" charset="0"/>
                <a:ea typeface="Aharoni"/>
                <a:cs typeface="Aharoni"/>
              </a:rPr>
              <a:t>How are business adapting to a rapidly shifting marketplace?</a:t>
            </a:r>
          </a:p>
          <a:p>
            <a:pPr marL="285750" indent="-285750">
              <a:buFont typeface="Arial" panose="020B0604020202020204" pitchFamily="34" charset="0"/>
              <a:buChar char="•"/>
            </a:pPr>
            <a:endParaRPr lang="en-US" sz="20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000" b="1" dirty="0">
                <a:latin typeface="Cambria" panose="02040503050406030204" pitchFamily="18" charset="0"/>
                <a:ea typeface="Aharoni"/>
                <a:cs typeface="Aharoni"/>
              </a:rPr>
              <a:t>Despite advances in technology (or because of it?), regulation is HARDER.</a:t>
            </a:r>
          </a:p>
          <a:p>
            <a:pPr marL="742950" lvl="1" indent="-285750">
              <a:buFont typeface="Arial" panose="020B0604020202020204" pitchFamily="34" charset="0"/>
              <a:buChar char="•"/>
            </a:pPr>
            <a:r>
              <a:rPr lang="en-US" sz="2000" i="1" dirty="0">
                <a:latin typeface="Cambria" panose="02040503050406030204" pitchFamily="18" charset="0"/>
                <a:ea typeface="Aharoni"/>
                <a:cs typeface="Aharoni"/>
              </a:rPr>
              <a:t>What resources are being committed to calling balls and strikes?</a:t>
            </a:r>
          </a:p>
          <a:p>
            <a:pPr marL="742950" lvl="1" indent="-285750">
              <a:buFont typeface="Arial" panose="020B0604020202020204" pitchFamily="34" charset="0"/>
              <a:buChar char="•"/>
            </a:pPr>
            <a:endParaRPr lang="en-US" sz="20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000" b="1" dirty="0">
                <a:latin typeface="Cambria" panose="02040503050406030204" pitchFamily="18" charset="0"/>
              </a:rPr>
              <a:t>90% of adults agree that it is easy to find a wide variety of beer, wine and liquor in their community. </a:t>
            </a:r>
            <a:r>
              <a:rPr lang="en-US" sz="1600" dirty="0">
                <a:latin typeface="Cambria" panose="02040503050406030204" pitchFamily="18" charset="0"/>
              </a:rPr>
              <a:t>(Source: CAP 2017, National Survey)</a:t>
            </a:r>
          </a:p>
          <a:p>
            <a:pPr marL="742950" lvl="1" indent="-285750">
              <a:buFont typeface="Arial" panose="020B0604020202020204" pitchFamily="34" charset="0"/>
              <a:buChar char="•"/>
            </a:pPr>
            <a:r>
              <a:rPr lang="en-US" altLang="en-US" sz="2000" i="1" kern="0" dirty="0">
                <a:latin typeface="Cambria" panose="02040503050406030204" pitchFamily="18" charset="0"/>
              </a:rPr>
              <a:t>How can we tap into that sentiment to benefit ALL constituencies?</a:t>
            </a:r>
            <a:endParaRPr lang="en-US" sz="2000" i="1" dirty="0">
              <a:latin typeface="Cambria" panose="02040503050406030204" pitchFamily="18" charset="0"/>
            </a:endParaRPr>
          </a:p>
        </p:txBody>
      </p:sp>
      <p:pic>
        <p:nvPicPr>
          <p:cNvPr id="8" name="Picture 7">
            <a:extLst>
              <a:ext uri="{FF2B5EF4-FFF2-40B4-BE49-F238E27FC236}">
                <a16:creationId xmlns:a16="http://schemas.microsoft.com/office/drawing/2014/main" id="{03A6A96E-1E68-4402-A107-B1AF22CDD128}"/>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18856950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365125"/>
            <a:ext cx="8924925" cy="930275"/>
          </a:xfrm>
        </p:spPr>
        <p:txBody>
          <a:bodyPr anchor="t">
            <a:normAutofit fontScale="90000"/>
          </a:bodyPr>
          <a:lstStyle/>
          <a:p>
            <a:r>
              <a:rPr lang="en-US" sz="3600" b="1" dirty="0">
                <a:latin typeface="Cambria"/>
                <a:cs typeface="Cambria"/>
              </a:rPr>
              <a:t>Understand Constituencies </a:t>
            </a:r>
            <a:br>
              <a:rPr lang="en-US" sz="3200" b="1" dirty="0">
                <a:latin typeface="Cambria"/>
                <a:cs typeface="Cambria"/>
              </a:rPr>
            </a:br>
            <a:r>
              <a:rPr lang="en-US" sz="2900" dirty="0">
                <a:latin typeface="Cambria"/>
                <a:cs typeface="Cambria"/>
              </a:rPr>
              <a:t>Balance Is Important for Effective Regulation</a:t>
            </a:r>
            <a:endParaRPr lang="en-US" sz="2900" dirty="0">
              <a:solidFill>
                <a:schemeClr val="bg2">
                  <a:lumMod val="25000"/>
                </a:schemeClr>
              </a:solidFill>
              <a:latin typeface="Cambria" panose="02040503050406030204" pitchFamily="18" charset="0"/>
            </a:endParaRPr>
          </a:p>
        </p:txBody>
      </p:sp>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7" name="Rectangle 16"/>
          <p:cNvSpPr/>
          <p:nvPr/>
        </p:nvSpPr>
        <p:spPr>
          <a:xfrm>
            <a:off x="923923" y="1462332"/>
            <a:ext cx="8839201" cy="4678204"/>
          </a:xfrm>
          <a:prstGeom prst="rect">
            <a:avLst/>
          </a:prstGeom>
        </p:spPr>
        <p:txBody>
          <a:bodyPr wrap="square">
            <a:spAutoFit/>
          </a:bodyPr>
          <a:lstStyle/>
          <a:p>
            <a:pPr marL="285750" indent="-285750">
              <a:buFont typeface="Arial"/>
              <a:buChar char="•"/>
            </a:pPr>
            <a:r>
              <a:rPr lang="en-US" sz="2000" b="1" dirty="0">
                <a:latin typeface="Cambria"/>
                <a:cs typeface="Cambria"/>
              </a:rPr>
              <a:t>Beverage retailers have four constituencies</a:t>
            </a:r>
          </a:p>
          <a:p>
            <a:pPr marL="742950" lvl="1" indent="-285750">
              <a:buFont typeface="Arial"/>
              <a:buChar char="•"/>
            </a:pPr>
            <a:r>
              <a:rPr lang="en-US" dirty="0">
                <a:latin typeface="Cambria"/>
                <a:cs typeface="Cambria"/>
              </a:rPr>
              <a:t>Customers</a:t>
            </a:r>
          </a:p>
          <a:p>
            <a:pPr marL="742950" lvl="1" indent="-285750">
              <a:buFont typeface="Arial"/>
              <a:buChar char="•"/>
            </a:pPr>
            <a:r>
              <a:rPr lang="en-US" dirty="0">
                <a:latin typeface="Cambria"/>
                <a:cs typeface="Cambria"/>
              </a:rPr>
              <a:t>Stakeholders </a:t>
            </a:r>
          </a:p>
          <a:p>
            <a:pPr marL="742950" lvl="1" indent="-285750">
              <a:buFont typeface="Arial"/>
              <a:buChar char="•"/>
            </a:pPr>
            <a:r>
              <a:rPr lang="en-US" dirty="0">
                <a:latin typeface="Cambria"/>
                <a:cs typeface="Cambria"/>
              </a:rPr>
              <a:t>Employees</a:t>
            </a:r>
          </a:p>
          <a:p>
            <a:pPr marL="742950" lvl="1" indent="-285750">
              <a:buFont typeface="Arial"/>
              <a:buChar char="•"/>
            </a:pPr>
            <a:r>
              <a:rPr lang="en-US" dirty="0">
                <a:latin typeface="Cambria"/>
                <a:cs typeface="Cambria"/>
              </a:rPr>
              <a:t>Communities</a:t>
            </a:r>
          </a:p>
          <a:p>
            <a:pPr marL="285750" indent="-285750">
              <a:buFont typeface="Arial"/>
              <a:buChar char="•"/>
            </a:pPr>
            <a:endParaRPr lang="en-US" sz="2000" dirty="0">
              <a:latin typeface="Cambria"/>
              <a:cs typeface="Cambria"/>
            </a:endParaRPr>
          </a:p>
          <a:p>
            <a:pPr marL="285750" indent="-285750">
              <a:buFont typeface="Arial"/>
              <a:buChar char="•"/>
            </a:pPr>
            <a:r>
              <a:rPr lang="en-US" sz="2000" b="1" dirty="0">
                <a:latin typeface="Cambria"/>
                <a:cs typeface="Cambria"/>
              </a:rPr>
              <a:t>Hallmark of a successful business is a balanced profile, but</a:t>
            </a:r>
            <a:r>
              <a:rPr lang="mr-IN" sz="2000" b="1" dirty="0">
                <a:latin typeface="Cambria"/>
                <a:cs typeface="Cambria"/>
              </a:rPr>
              <a:t>…</a:t>
            </a:r>
            <a:endParaRPr lang="en-US" sz="2000" b="1" dirty="0">
              <a:latin typeface="Cambria"/>
              <a:cs typeface="Cambria"/>
            </a:endParaRPr>
          </a:p>
          <a:p>
            <a:pPr marL="742950" lvl="1" indent="-285750">
              <a:buFont typeface="Arial"/>
              <a:buChar char="•"/>
            </a:pPr>
            <a:r>
              <a:rPr lang="en-US" dirty="0">
                <a:latin typeface="Cambria"/>
                <a:cs typeface="Cambria"/>
              </a:rPr>
              <a:t>Those interests naturally clash with each other, which makes balance hard</a:t>
            </a:r>
          </a:p>
          <a:p>
            <a:pPr marL="742950" lvl="1" indent="-285750">
              <a:buFont typeface="Arial"/>
              <a:buChar char="•"/>
            </a:pPr>
            <a:r>
              <a:rPr lang="en-US" dirty="0">
                <a:latin typeface="Cambria"/>
                <a:cs typeface="Cambria"/>
              </a:rPr>
              <a:t>America tends to emphasize one category of interests as primary (customers) largely based on the rule of the majority (E.G. “The customer is always right.”)</a:t>
            </a:r>
          </a:p>
          <a:p>
            <a:pPr marL="285750" indent="-285750">
              <a:buFont typeface="Arial"/>
              <a:buChar char="•"/>
            </a:pPr>
            <a:endParaRPr lang="en-US" sz="2000" dirty="0">
              <a:latin typeface="Cambria"/>
              <a:cs typeface="Cambria"/>
            </a:endParaRPr>
          </a:p>
          <a:p>
            <a:pPr marL="285750" indent="-285750">
              <a:buFont typeface="Arial"/>
              <a:buChar char="•"/>
            </a:pPr>
            <a:r>
              <a:rPr lang="en-US" sz="2000" b="1" dirty="0">
                <a:latin typeface="Cambria"/>
                <a:cs typeface="Cambria"/>
              </a:rPr>
              <a:t>Recognizing the importance of balance for beverage alcohol regulation</a:t>
            </a:r>
          </a:p>
          <a:p>
            <a:pPr marL="742950" lvl="1" indent="-285750">
              <a:buFont typeface="Arial"/>
              <a:buChar char="•"/>
            </a:pPr>
            <a:r>
              <a:rPr lang="en-US" dirty="0">
                <a:latin typeface="Cambria"/>
                <a:cs typeface="Cambria"/>
              </a:rPr>
              <a:t>Customers: choice/value </a:t>
            </a:r>
          </a:p>
          <a:p>
            <a:pPr marL="742950" lvl="1" indent="-285750">
              <a:buFont typeface="Arial"/>
              <a:buChar char="•"/>
            </a:pPr>
            <a:r>
              <a:rPr lang="en-US" dirty="0">
                <a:latin typeface="Cambria"/>
                <a:cs typeface="Cambria"/>
              </a:rPr>
              <a:t>Stakeholders: income/existence </a:t>
            </a:r>
          </a:p>
          <a:p>
            <a:pPr marL="742950" lvl="1" indent="-285750">
              <a:buFont typeface="Arial"/>
              <a:buChar char="•"/>
            </a:pPr>
            <a:r>
              <a:rPr lang="en-US" dirty="0">
                <a:latin typeface="Cambria"/>
                <a:cs typeface="Cambria"/>
              </a:rPr>
              <a:t>Employees: jobs/benefits</a:t>
            </a:r>
          </a:p>
          <a:p>
            <a:pPr marL="742950" lvl="1" indent="-285750">
              <a:buFont typeface="Arial"/>
              <a:buChar char="•"/>
            </a:pPr>
            <a:r>
              <a:rPr lang="en-US" dirty="0">
                <a:latin typeface="Cambria"/>
                <a:cs typeface="Cambria"/>
              </a:rPr>
              <a:t>Communities: public health/safety; revenue; growth</a:t>
            </a:r>
          </a:p>
        </p:txBody>
      </p:sp>
      <p:pic>
        <p:nvPicPr>
          <p:cNvPr id="6" name="Picture 5">
            <a:extLst>
              <a:ext uri="{FF2B5EF4-FFF2-40B4-BE49-F238E27FC236}">
                <a16:creationId xmlns:a16="http://schemas.microsoft.com/office/drawing/2014/main" id="{64C4D7B9-606D-4FEA-AAEA-C239D2528D13}"/>
              </a:ext>
            </a:extLst>
          </p:cNvPr>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4070061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9129665" cy="930275"/>
          </a:xfrm>
        </p:spPr>
        <p:txBody>
          <a:bodyPr anchor="t">
            <a:normAutofit fontScale="90000"/>
          </a:bodyPr>
          <a:lstStyle/>
          <a:p>
            <a:r>
              <a:rPr lang="en-US" sz="3600" b="1" dirty="0">
                <a:latin typeface="Cambria" panose="02040503050406030204" pitchFamily="18" charset="0"/>
              </a:rPr>
              <a:t>Retailer Relationships with Control Systems</a:t>
            </a:r>
            <a:br>
              <a:rPr lang="en-US" sz="3600" b="1" dirty="0">
                <a:latin typeface="Cambria" panose="02040503050406030204" pitchFamily="18" charset="0"/>
              </a:rPr>
            </a:br>
            <a:r>
              <a:rPr lang="en-US" sz="2900" dirty="0">
                <a:latin typeface="Cambria"/>
                <a:ea typeface="Aharoni"/>
                <a:cs typeface="Cambria"/>
              </a:rPr>
              <a:t>What Are Retailers Saying About Alcohol Regulators?</a:t>
            </a:r>
            <a:endParaRPr lang="en-US" sz="2900" dirty="0">
              <a:latin typeface="Cambria" panose="02040503050406030204" pitchFamily="18" charset="0"/>
            </a:endParaRPr>
          </a:p>
        </p:txBody>
      </p:sp>
      <p:sp>
        <p:nvSpPr>
          <p:cNvPr id="6" name="Rectangle 5">
            <a:extLst>
              <a:ext uri="{FF2B5EF4-FFF2-40B4-BE49-F238E27FC236}">
                <a16:creationId xmlns:a16="http://schemas.microsoft.com/office/drawing/2014/main" id="{A2F9D8BD-4D04-4910-B523-FE978A49BC0B}"/>
              </a:ext>
            </a:extLst>
          </p:cNvPr>
          <p:cNvSpPr/>
          <p:nvPr/>
        </p:nvSpPr>
        <p:spPr>
          <a:xfrm>
            <a:off x="923922" y="1462332"/>
            <a:ext cx="8310613" cy="4708981"/>
          </a:xfrm>
          <a:prstGeom prst="rect">
            <a:avLst/>
          </a:prstGeom>
        </p:spPr>
        <p:txBody>
          <a:bodyPr wrap="square">
            <a:spAutoFit/>
          </a:bodyPr>
          <a:lstStyle/>
          <a:p>
            <a:pPr marL="342900" indent="-342900">
              <a:buFont typeface="Arial"/>
              <a:buChar char="•"/>
            </a:pPr>
            <a:r>
              <a:rPr lang="en-US" sz="2000" dirty="0">
                <a:latin typeface="Cambria"/>
                <a:cs typeface="Cambria"/>
              </a:rPr>
              <a:t>“We don’t agree on everything, but have learned to work it out to the benefit of all.”</a:t>
            </a:r>
          </a:p>
          <a:p>
            <a:pPr marL="342900" indent="-342900">
              <a:buFont typeface="Arial"/>
              <a:buChar char="•"/>
            </a:pPr>
            <a:endParaRPr lang="en-US" sz="2000" dirty="0">
              <a:latin typeface="Cambria"/>
              <a:cs typeface="Cambria"/>
            </a:endParaRPr>
          </a:p>
          <a:p>
            <a:pPr marL="342900" indent="-342900">
              <a:buFont typeface="Arial"/>
              <a:buChar char="•"/>
            </a:pPr>
            <a:r>
              <a:rPr lang="en-US" sz="2000" dirty="0">
                <a:latin typeface="Cambria"/>
                <a:cs typeface="Cambria"/>
              </a:rPr>
              <a:t>“We </a:t>
            </a:r>
            <a:r>
              <a:rPr lang="en-US" sz="2000" dirty="0">
                <a:latin typeface="Cambria" panose="02040503050406030204" pitchFamily="18" charset="0"/>
                <a:ea typeface="Aharoni"/>
                <a:cs typeface="Aharoni"/>
              </a:rPr>
              <a:t>often are up against the same forces that make the same arguments against us.”</a:t>
            </a:r>
          </a:p>
          <a:p>
            <a:pPr marL="342900" indent="-342900">
              <a:buFont typeface="Arial"/>
              <a:buChar char="•"/>
            </a:pPr>
            <a:endParaRPr lang="en-US" sz="2000" dirty="0">
              <a:latin typeface="Cambria"/>
              <a:cs typeface="Cambria"/>
            </a:endParaRPr>
          </a:p>
          <a:p>
            <a:pPr marL="342900" indent="-342900">
              <a:buFont typeface="Arial"/>
              <a:buChar char="•"/>
            </a:pPr>
            <a:r>
              <a:rPr lang="en-US" sz="2000" dirty="0">
                <a:latin typeface="Cambria"/>
                <a:cs typeface="Cambria"/>
              </a:rPr>
              <a:t>“We have partnered on education and awareness programs, as well as working together on legislative and regulatory issues that help, as much as possible, to keep the sale and consumption of beverage alcohol responsible.”</a:t>
            </a:r>
          </a:p>
          <a:p>
            <a:pPr marL="800100" lvl="1" indent="-342900">
              <a:buFont typeface="Arial"/>
              <a:buChar char="•"/>
            </a:pPr>
            <a:endParaRPr lang="en-US" sz="2000" dirty="0">
              <a:latin typeface="Cambria"/>
              <a:cs typeface="Cambria"/>
            </a:endParaRPr>
          </a:p>
          <a:p>
            <a:pPr marL="800100" lvl="1" indent="-342900">
              <a:buFont typeface="Arial"/>
              <a:buChar char="•"/>
            </a:pPr>
            <a:r>
              <a:rPr lang="en-US" sz="2000" b="1" dirty="0">
                <a:latin typeface="Cambria"/>
                <a:cs typeface="Cambria"/>
              </a:rPr>
              <a:t>EX: </a:t>
            </a:r>
            <a:r>
              <a:rPr lang="en-US" sz="2000" i="1" dirty="0">
                <a:latin typeface="Cambria"/>
                <a:cs typeface="Cambria"/>
              </a:rPr>
              <a:t>The Wyoming Department of Revenue Liquor Division is the funding stream and support for the state-wide TIPS program that our Association administers, training over 32,000 people in Wyoming free of charge for over 15 years.</a:t>
            </a:r>
          </a:p>
        </p:txBody>
      </p:sp>
      <p:pic>
        <p:nvPicPr>
          <p:cNvPr id="8" name="Picture 7">
            <a:extLst>
              <a:ext uri="{FF2B5EF4-FFF2-40B4-BE49-F238E27FC236}">
                <a16:creationId xmlns:a16="http://schemas.microsoft.com/office/drawing/2014/main" id="{CB75B02C-835E-4474-A3BD-FBECA9B76805}"/>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19212123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Effective Alcohol Regulation</a:t>
            </a:r>
            <a:br>
              <a:rPr lang="en-US" sz="3600" b="1" dirty="0">
                <a:latin typeface="Cambria" panose="02040503050406030204" pitchFamily="18" charset="0"/>
              </a:rPr>
            </a:br>
            <a:r>
              <a:rPr lang="en-US" sz="2900" dirty="0">
                <a:latin typeface="Cambria" panose="02040503050406030204" pitchFamily="18" charset="0"/>
              </a:rPr>
              <a:t>“What Does This Regulatory Agency Do for Me?”*</a:t>
            </a:r>
          </a:p>
        </p:txBody>
      </p:sp>
      <p:sp>
        <p:nvSpPr>
          <p:cNvPr id="6" name="Rectangle 5">
            <a:extLst>
              <a:ext uri="{FF2B5EF4-FFF2-40B4-BE49-F238E27FC236}">
                <a16:creationId xmlns:a16="http://schemas.microsoft.com/office/drawing/2014/main" id="{A2F9D8BD-4D04-4910-B523-FE978A49BC0B}"/>
              </a:ext>
            </a:extLst>
          </p:cNvPr>
          <p:cNvSpPr/>
          <p:nvPr/>
        </p:nvSpPr>
        <p:spPr>
          <a:xfrm>
            <a:off x="923922" y="1462332"/>
            <a:ext cx="10135232" cy="4339650"/>
          </a:xfrm>
          <a:prstGeom prst="rect">
            <a:avLst/>
          </a:prstGeom>
        </p:spPr>
        <p:txBody>
          <a:bodyPr wrap="square">
            <a:spAutoFit/>
          </a:bodyPr>
          <a:lstStyle/>
          <a:p>
            <a:pPr marL="285750" indent="-285750">
              <a:buFont typeface="Arial"/>
              <a:buChar char="•"/>
            </a:pPr>
            <a:r>
              <a:rPr lang="en-US" sz="2000" dirty="0">
                <a:latin typeface="Cambria" panose="02040503050406030204" pitchFamily="18" charset="0"/>
                <a:ea typeface="Aharoni"/>
                <a:cs typeface="Aharoni"/>
              </a:rPr>
              <a:t>Plays a vital role across all four retail constituencies: customers, stakeholders, employees and communities;</a:t>
            </a:r>
          </a:p>
          <a:p>
            <a:pPr marL="285750" indent="-285750">
              <a:buFont typeface="Arial" panose="020B0604020202020204" pitchFamily="34" charset="0"/>
              <a:buChar char="•"/>
            </a:pPr>
            <a:endParaRPr lang="en-US" dirty="0">
              <a:latin typeface="Cambria" panose="02040503050406030204" pitchFamily="18" charset="0"/>
              <a:ea typeface="Aharoni"/>
              <a:cs typeface="Aharoni"/>
            </a:endParaRPr>
          </a:p>
          <a:p>
            <a:pPr marL="285750" indent="-285750">
              <a:buFont typeface="Arial" panose="020B0604020202020204" pitchFamily="34" charset="0"/>
              <a:buChar char="•"/>
            </a:pPr>
            <a:r>
              <a:rPr lang="en-US" sz="2000" dirty="0">
                <a:latin typeface="Cambria" panose="02040503050406030204" pitchFamily="18" charset="0"/>
                <a:ea typeface="Aharoni"/>
                <a:cs typeface="Aharoni"/>
              </a:rPr>
              <a:t>Promotes/enforces shared values of social responsibility and public safety; and</a:t>
            </a:r>
          </a:p>
          <a:p>
            <a:pPr marL="285750" indent="-285750">
              <a:buFont typeface="Arial" panose="020B0604020202020204" pitchFamily="34" charset="0"/>
              <a:buChar char="•"/>
            </a:pPr>
            <a:endParaRPr lang="en-US" sz="2000" dirty="0">
              <a:latin typeface="Cambria" panose="02040503050406030204" pitchFamily="18" charset="0"/>
              <a:ea typeface="Aharoni"/>
              <a:cs typeface="Aharoni"/>
            </a:endParaRPr>
          </a:p>
          <a:p>
            <a:pPr marL="285750" indent="-285750">
              <a:buFont typeface="Arial" panose="020B0604020202020204" pitchFamily="34" charset="0"/>
              <a:buChar char="•"/>
            </a:pPr>
            <a:r>
              <a:rPr lang="en-US" sz="2000" dirty="0">
                <a:latin typeface="Cambria" panose="02040503050406030204" pitchFamily="18" charset="0"/>
                <a:ea typeface="Aharoni"/>
                <a:cs typeface="Aharoni"/>
              </a:rPr>
              <a:t>Is constantly evolving so that it can better meet the needs of customers while also delivering on its promise to constituents.</a:t>
            </a:r>
          </a:p>
          <a:p>
            <a:endParaRPr lang="en-US" sz="2000" dirty="0">
              <a:latin typeface="Cambria" panose="02040503050406030204" pitchFamily="18" charset="0"/>
              <a:ea typeface="Aharoni"/>
              <a:cs typeface="Aharoni"/>
            </a:endParaRPr>
          </a:p>
          <a:p>
            <a:r>
              <a:rPr lang="en-US" sz="2000" b="1" i="1" dirty="0">
                <a:latin typeface="Cambria" panose="02040503050406030204" pitchFamily="18" charset="0"/>
                <a:ea typeface="Aharoni"/>
                <a:cs typeface="Aharoni"/>
              </a:rPr>
              <a:t>*Independent bar, tavern and package store owners also proudly answer a similar question daily.</a:t>
            </a:r>
          </a:p>
          <a:p>
            <a:pPr lvl="2"/>
            <a:endParaRPr lang="en-US" i="1" dirty="0">
              <a:latin typeface="Cambria"/>
              <a:cs typeface="Cambria"/>
            </a:endParaRPr>
          </a:p>
          <a:p>
            <a:r>
              <a:rPr lang="en-US" sz="2000" b="1" dirty="0">
                <a:latin typeface="Cambria" panose="02040503050406030204" pitchFamily="18" charset="0"/>
              </a:rPr>
              <a:t>REMEMBER: </a:t>
            </a:r>
            <a:r>
              <a:rPr lang="en-US" sz="2000" i="1" dirty="0">
                <a:latin typeface="Cambria" panose="02040503050406030204" pitchFamily="18" charset="0"/>
              </a:rPr>
              <a:t>Product innovation and diversity, and unique state marketplaces matched with a three-tier system and state-level regulatory policy that adapts based on consensus-driven change is what has brought us the amazing American beverage alcohol marketplace.</a:t>
            </a:r>
          </a:p>
        </p:txBody>
      </p:sp>
      <p:pic>
        <p:nvPicPr>
          <p:cNvPr id="8" name="Picture 7">
            <a:extLst>
              <a:ext uri="{FF2B5EF4-FFF2-40B4-BE49-F238E27FC236}">
                <a16:creationId xmlns:a16="http://schemas.microsoft.com/office/drawing/2014/main" id="{794A1D52-11AB-41F8-BA62-D992DF44CBB3}"/>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0230685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9546809" cy="930275"/>
          </a:xfrm>
        </p:spPr>
        <p:txBody>
          <a:bodyPr anchor="t">
            <a:noAutofit/>
          </a:bodyPr>
          <a:lstStyle/>
          <a:p>
            <a:r>
              <a:rPr lang="en-US" sz="3200" b="1" dirty="0">
                <a:latin typeface="Cambria" panose="02040503050406030204" pitchFamily="18" charset="0"/>
              </a:rPr>
              <a:t>Moving forward</a:t>
            </a:r>
            <a:br>
              <a:rPr lang="en-US" sz="2900" dirty="0">
                <a:latin typeface="Cambria" panose="02040503050406030204" pitchFamily="18" charset="0"/>
              </a:rPr>
            </a:br>
            <a:r>
              <a:rPr lang="en-US" sz="2600" dirty="0">
                <a:latin typeface="Cambria" panose="02040503050406030204" pitchFamily="18" charset="0"/>
              </a:rPr>
              <a:t>Balancing Access/Normalization with Control/Public Safety</a:t>
            </a:r>
            <a:endParaRPr lang="en-US" sz="2600" b="1" dirty="0">
              <a:latin typeface="Cambria" panose="02040503050406030204" pitchFamily="18" charset="0"/>
            </a:endParaRPr>
          </a:p>
        </p:txBody>
      </p:sp>
      <p:sp>
        <p:nvSpPr>
          <p:cNvPr id="7" name="Rectangle 6">
            <a:extLst>
              <a:ext uri="{FF2B5EF4-FFF2-40B4-BE49-F238E27FC236}">
                <a16:creationId xmlns:a16="http://schemas.microsoft.com/office/drawing/2014/main" id="{894A10BE-DA85-40E6-8B4F-EFAA9B792BB5}"/>
              </a:ext>
            </a:extLst>
          </p:cNvPr>
          <p:cNvSpPr/>
          <p:nvPr/>
        </p:nvSpPr>
        <p:spPr>
          <a:xfrm>
            <a:off x="838200" y="1563717"/>
            <a:ext cx="10443693" cy="4801314"/>
          </a:xfrm>
          <a:prstGeom prst="rect">
            <a:avLst/>
          </a:prstGeom>
        </p:spPr>
        <p:txBody>
          <a:bodyPr wrap="square">
            <a:spAutoFit/>
          </a:bodyPr>
          <a:lstStyle/>
          <a:p>
            <a:pPr marL="285750" indent="-285750">
              <a:buFont typeface="Arial" panose="020B0604020202020204" pitchFamily="34" charset="0"/>
              <a:buChar char="•"/>
            </a:pPr>
            <a:r>
              <a:rPr lang="en-US" dirty="0">
                <a:latin typeface="Cambria" panose="02040503050406030204" pitchFamily="18" charset="0"/>
              </a:rPr>
              <a:t>Consumer convenience is important – as is fair competition– but should not trump responsibility, accountability and/or public safety.</a:t>
            </a: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rPr>
              <a:t>Competition can only be fair when the laws that market participants agreed to are enforced.  </a:t>
            </a:r>
          </a:p>
          <a:p>
            <a:endParaRPr lang="en-US" dirty="0">
              <a:latin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rPr>
              <a:t>Incremental, consensus-driven change is a worthy goal, and there is a mechanism for laws to change and evolve: the legislature.</a:t>
            </a:r>
          </a:p>
          <a:p>
            <a:endParaRPr lang="en-US" dirty="0">
              <a:latin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rPr>
              <a:t>Don’t forget what got us to this Golden Age of beverage alcohol. </a:t>
            </a:r>
          </a:p>
          <a:p>
            <a:pPr marL="1200150" lvl="2" indent="-285750">
              <a:buFont typeface="Arial" panose="020B0604020202020204" pitchFamily="34" charset="0"/>
              <a:buChar char="•"/>
            </a:pPr>
            <a:r>
              <a:rPr lang="en-US" b="1" dirty="0">
                <a:latin typeface="Cambria" panose="02040503050406030204" pitchFamily="18" charset="0"/>
              </a:rPr>
              <a:t>HINT: </a:t>
            </a:r>
            <a:r>
              <a:rPr lang="en-US" i="1" dirty="0">
                <a:latin typeface="Cambria" panose="02040503050406030204" pitchFamily="18" charset="0"/>
              </a:rPr>
              <a:t>It wasn’t an unregulated system where suppliers controlled on-premise sales through tied-houses…that got us Prohibition.</a:t>
            </a: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r>
              <a:rPr lang="en-US" dirty="0">
                <a:latin typeface="Cambria" panose="02040503050406030204" pitchFamily="18" charset="0"/>
              </a:rPr>
              <a:t>How can we achieve balance?  Through normalized and fair enforcement of laws governing age-restricted products and the businesses that sell them.</a:t>
            </a:r>
          </a:p>
          <a:p>
            <a:pPr marL="285750" indent="-285750">
              <a:buFont typeface="Arial" panose="020B0604020202020204" pitchFamily="34" charset="0"/>
              <a:buChar char="•"/>
            </a:pPr>
            <a:endParaRPr lang="en-US" dirty="0">
              <a:latin typeface="Cambria" panose="02040503050406030204" pitchFamily="18" charset="0"/>
            </a:endParaRPr>
          </a:p>
          <a:p>
            <a:pPr marL="285750" indent="-285750">
              <a:buFont typeface="Arial" panose="020B0604020202020204" pitchFamily="34" charset="0"/>
              <a:buChar char="•"/>
            </a:pPr>
            <a:r>
              <a:rPr lang="en-US" b="1" u="sng" dirty="0">
                <a:latin typeface="Cambria" panose="02040503050406030204" pitchFamily="18" charset="0"/>
              </a:rPr>
              <a:t>Observation, not a judgement:</a:t>
            </a:r>
            <a:r>
              <a:rPr lang="en-US" b="1" dirty="0">
                <a:latin typeface="Cambria" panose="02040503050406030204" pitchFamily="18" charset="0"/>
              </a:rPr>
              <a:t> In a sense of prevalent practices for state alcohol regulatory structures, Wisconsin is an outlier.</a:t>
            </a:r>
          </a:p>
        </p:txBody>
      </p:sp>
      <p:sp>
        <p:nvSpPr>
          <p:cNvPr id="2" name="Slide Number Placeholder 1">
            <a:extLst>
              <a:ext uri="{FF2B5EF4-FFF2-40B4-BE49-F238E27FC236}">
                <a16:creationId xmlns:a16="http://schemas.microsoft.com/office/drawing/2014/main" id="{9031D10D-1576-44A2-8224-8792E387BEFD}"/>
              </a:ext>
            </a:extLst>
          </p:cNvPr>
          <p:cNvSpPr>
            <a:spLocks noGrp="1"/>
          </p:cNvSpPr>
          <p:nvPr>
            <p:ph type="sldNum" sz="quarter" idx="12"/>
          </p:nvPr>
        </p:nvSpPr>
        <p:spPr/>
        <p:txBody>
          <a:bodyPr/>
          <a:lstStyle/>
          <a:p>
            <a:fld id="{E688E218-EDC1-45FE-BD02-D56DD4A0E21D}" type="slidenum">
              <a:rPr lang="en-US" smtClean="0"/>
              <a:t>25</a:t>
            </a:fld>
            <a:endParaRPr lang="en-US" dirty="0"/>
          </a:p>
        </p:txBody>
      </p:sp>
      <p:pic>
        <p:nvPicPr>
          <p:cNvPr id="8" name="Picture 7">
            <a:extLst>
              <a:ext uri="{FF2B5EF4-FFF2-40B4-BE49-F238E27FC236}">
                <a16:creationId xmlns:a16="http://schemas.microsoft.com/office/drawing/2014/main" id="{D2805F37-2DF3-43A9-8456-06B49A13ECFB}"/>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2508995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solidFill>
                  <a:schemeClr val="bg2">
                    <a:lumMod val="25000"/>
                  </a:schemeClr>
                </a:solidFill>
                <a:latin typeface="Cambria" panose="02040503050406030204" pitchFamily="18" charset="0"/>
              </a:rPr>
              <a:t>Questions &amp; Discussion</a:t>
            </a:r>
            <a:br>
              <a:rPr lang="en-US" sz="3600" b="1" dirty="0">
                <a:solidFill>
                  <a:schemeClr val="bg2">
                    <a:lumMod val="25000"/>
                  </a:schemeClr>
                </a:solidFill>
                <a:latin typeface="Cambria" panose="02040503050406030204" pitchFamily="18" charset="0"/>
              </a:rPr>
            </a:br>
            <a:endParaRPr lang="en-US" sz="3600" b="1" dirty="0">
              <a:latin typeface="Cambria" panose="02040503050406030204" pitchFamily="18" charset="0"/>
            </a:endParaRPr>
          </a:p>
        </p:txBody>
      </p:sp>
      <p:sp>
        <p:nvSpPr>
          <p:cNvPr id="2" name="Slide Number Placeholder 1">
            <a:extLst>
              <a:ext uri="{FF2B5EF4-FFF2-40B4-BE49-F238E27FC236}">
                <a16:creationId xmlns:a16="http://schemas.microsoft.com/office/drawing/2014/main" id="{2B4A3606-E4B3-4D8F-8C4E-822846376F04}"/>
              </a:ext>
            </a:extLst>
          </p:cNvPr>
          <p:cNvSpPr>
            <a:spLocks noGrp="1"/>
          </p:cNvSpPr>
          <p:nvPr>
            <p:ph type="sldNum" sz="quarter" idx="12"/>
          </p:nvPr>
        </p:nvSpPr>
        <p:spPr/>
        <p:txBody>
          <a:bodyPr/>
          <a:lstStyle/>
          <a:p>
            <a:fld id="{E688E218-EDC1-45FE-BD02-D56DD4A0E21D}" type="slidenum">
              <a:rPr lang="en-US" smtClean="0"/>
              <a:t>26</a:t>
            </a:fld>
            <a:endParaRPr lang="en-US" dirty="0"/>
          </a:p>
        </p:txBody>
      </p:sp>
      <p:sp>
        <p:nvSpPr>
          <p:cNvPr id="3" name="Rectangle 2">
            <a:extLst>
              <a:ext uri="{FF2B5EF4-FFF2-40B4-BE49-F238E27FC236}">
                <a16:creationId xmlns:a16="http://schemas.microsoft.com/office/drawing/2014/main" id="{975366DE-0857-47AB-924A-EA43E2D37DD8}"/>
              </a:ext>
            </a:extLst>
          </p:cNvPr>
          <p:cNvSpPr/>
          <p:nvPr/>
        </p:nvSpPr>
        <p:spPr>
          <a:xfrm>
            <a:off x="5300660" y="1925445"/>
            <a:ext cx="6378309" cy="1323439"/>
          </a:xfrm>
          <a:prstGeom prst="rect">
            <a:avLst/>
          </a:prstGeom>
        </p:spPr>
        <p:txBody>
          <a:bodyPr wrap="square">
            <a:spAutoFit/>
          </a:bodyPr>
          <a:lstStyle/>
          <a:p>
            <a:r>
              <a:rPr lang="en-US" sz="4000" dirty="0">
                <a:latin typeface="Cambria" panose="02040503050406030204" pitchFamily="18" charset="0"/>
                <a:ea typeface="Cambria" panose="02040503050406030204" pitchFamily="18" charset="0"/>
              </a:rPr>
              <a:t>“Laws Without Enforcement Are Just Good Advice.”</a:t>
            </a:r>
          </a:p>
        </p:txBody>
      </p:sp>
      <p:sp>
        <p:nvSpPr>
          <p:cNvPr id="4" name="Rectangle 3">
            <a:extLst>
              <a:ext uri="{FF2B5EF4-FFF2-40B4-BE49-F238E27FC236}">
                <a16:creationId xmlns:a16="http://schemas.microsoft.com/office/drawing/2014/main" id="{F4425F95-B322-45EC-8A3E-4176D541D316}"/>
              </a:ext>
            </a:extLst>
          </p:cNvPr>
          <p:cNvSpPr/>
          <p:nvPr/>
        </p:nvSpPr>
        <p:spPr>
          <a:xfrm>
            <a:off x="6091690" y="3295299"/>
            <a:ext cx="5476195" cy="1200329"/>
          </a:xfrm>
          <a:prstGeom prst="rect">
            <a:avLst/>
          </a:prstGeom>
        </p:spPr>
        <p:txBody>
          <a:bodyPr wrap="square">
            <a:spAutoFit/>
          </a:bodyPr>
          <a:lstStyle/>
          <a:p>
            <a:pPr marL="285750" indent="-285750">
              <a:buFontTx/>
              <a:buChar char="-"/>
            </a:pPr>
            <a:r>
              <a:rPr lang="en-US" sz="2400" dirty="0">
                <a:latin typeface="Cambria" panose="02040503050406030204" pitchFamily="18" charset="0"/>
                <a:ea typeface="Cambria" panose="02040503050406030204" pitchFamily="18" charset="0"/>
              </a:rPr>
              <a:t>Abraham Lincoln</a:t>
            </a:r>
          </a:p>
          <a:p>
            <a:r>
              <a:rPr lang="en-US" sz="2400" dirty="0">
                <a:latin typeface="Cambria" panose="02040503050406030204" pitchFamily="18" charset="0"/>
                <a:ea typeface="Cambria" panose="02040503050406030204" pitchFamily="18" charset="0"/>
              </a:rPr>
              <a:t>    </a:t>
            </a:r>
            <a:r>
              <a:rPr lang="en-US" sz="2400" u="sng" dirty="0">
                <a:latin typeface="Cambria" panose="02040503050406030204" pitchFamily="18" charset="0"/>
                <a:ea typeface="Cambria" panose="02040503050406030204" pitchFamily="18" charset="0"/>
              </a:rPr>
              <a:t>Local Tavern Owner</a:t>
            </a:r>
          </a:p>
          <a:p>
            <a:r>
              <a:rPr lang="en-US" sz="2400" dirty="0">
                <a:latin typeface="Cambria" panose="02040503050406030204" pitchFamily="18" charset="0"/>
                <a:ea typeface="Cambria" panose="02040503050406030204" pitchFamily="18" charset="0"/>
              </a:rPr>
              <a:t>    16</a:t>
            </a:r>
            <a:r>
              <a:rPr lang="en-US" sz="2400" baseline="30000" dirty="0">
                <a:latin typeface="Cambria" panose="02040503050406030204" pitchFamily="18" charset="0"/>
                <a:ea typeface="Cambria" panose="02040503050406030204" pitchFamily="18" charset="0"/>
              </a:rPr>
              <a:t>th</a:t>
            </a:r>
            <a:r>
              <a:rPr lang="en-US" sz="2400" dirty="0">
                <a:latin typeface="Cambria" panose="02040503050406030204" pitchFamily="18" charset="0"/>
                <a:ea typeface="Cambria" panose="02040503050406030204" pitchFamily="18" charset="0"/>
              </a:rPr>
              <a:t> President of the United States</a:t>
            </a:r>
            <a:endParaRPr lang="en-US" sz="2400" dirty="0"/>
          </a:p>
        </p:txBody>
      </p:sp>
      <p:sp>
        <p:nvSpPr>
          <p:cNvPr id="5" name="Rectangle 4">
            <a:extLst>
              <a:ext uri="{FF2B5EF4-FFF2-40B4-BE49-F238E27FC236}">
                <a16:creationId xmlns:a16="http://schemas.microsoft.com/office/drawing/2014/main" id="{D6CA7A48-CD3B-4161-BE14-53A71A33D348}"/>
              </a:ext>
            </a:extLst>
          </p:cNvPr>
          <p:cNvSpPr/>
          <p:nvPr/>
        </p:nvSpPr>
        <p:spPr>
          <a:xfrm>
            <a:off x="1633537" y="5710019"/>
            <a:ext cx="8924925" cy="646331"/>
          </a:xfrm>
          <a:prstGeom prst="rect">
            <a:avLst/>
          </a:prstGeom>
        </p:spPr>
        <p:txBody>
          <a:bodyPr wrap="square">
            <a:spAutoFit/>
          </a:bodyPr>
          <a:lstStyle/>
          <a:p>
            <a:pPr marL="57150" indent="0" algn="ctr">
              <a:buNone/>
              <a:defRPr/>
            </a:pPr>
            <a:r>
              <a:rPr lang="en-US" dirty="0">
                <a:latin typeface="Cambria" panose="02040503050406030204" pitchFamily="18" charset="0"/>
              </a:rPr>
              <a:t>John Bodnovich | Executive Director | American Beverage Licensees</a:t>
            </a:r>
          </a:p>
          <a:p>
            <a:pPr marL="57150" indent="0" algn="ctr">
              <a:buNone/>
              <a:defRPr/>
            </a:pPr>
            <a:r>
              <a:rPr lang="en-US" dirty="0">
                <a:solidFill>
                  <a:schemeClr val="bg1">
                    <a:lumMod val="50000"/>
                  </a:schemeClr>
                </a:solidFill>
                <a:latin typeface="Cambria" panose="02040503050406030204" pitchFamily="18" charset="0"/>
                <a:hlinkClick r:id="rId3"/>
              </a:rPr>
              <a:t>bodnovich@ablusa.org</a:t>
            </a:r>
            <a:r>
              <a:rPr lang="en-US" dirty="0">
                <a:solidFill>
                  <a:schemeClr val="bg1">
                    <a:lumMod val="50000"/>
                  </a:schemeClr>
                </a:solidFill>
                <a:latin typeface="Cambria" panose="02040503050406030204" pitchFamily="18" charset="0"/>
              </a:rPr>
              <a:t> </a:t>
            </a:r>
            <a:r>
              <a:rPr lang="en-US" dirty="0">
                <a:latin typeface="Cambria" panose="02040503050406030204" pitchFamily="18" charset="0"/>
              </a:rPr>
              <a:t>|</a:t>
            </a:r>
            <a:r>
              <a:rPr lang="en-US" dirty="0">
                <a:solidFill>
                  <a:schemeClr val="bg1">
                    <a:lumMod val="50000"/>
                  </a:schemeClr>
                </a:solidFill>
                <a:latin typeface="Cambria" panose="02040503050406030204" pitchFamily="18" charset="0"/>
              </a:rPr>
              <a:t> </a:t>
            </a:r>
            <a:r>
              <a:rPr lang="en-US" dirty="0">
                <a:solidFill>
                  <a:schemeClr val="bg1">
                    <a:lumMod val="50000"/>
                  </a:schemeClr>
                </a:solidFill>
                <a:latin typeface="Cambria" panose="02040503050406030204" pitchFamily="18" charset="0"/>
                <a:hlinkClick r:id="rId4"/>
              </a:rPr>
              <a:t>www.ablusa.org</a:t>
            </a:r>
            <a:r>
              <a:rPr lang="en-US" dirty="0">
                <a:solidFill>
                  <a:schemeClr val="bg1">
                    <a:lumMod val="50000"/>
                  </a:schemeClr>
                </a:solidFill>
                <a:latin typeface="Cambria" panose="02040503050406030204" pitchFamily="18" charset="0"/>
              </a:rPr>
              <a:t> </a:t>
            </a:r>
            <a:r>
              <a:rPr lang="en-US" dirty="0">
                <a:solidFill>
                  <a:srgbClr val="000000"/>
                </a:solidFill>
                <a:latin typeface="Cambria" panose="02040503050406030204" pitchFamily="18" charset="0"/>
              </a:rPr>
              <a:t>| @ablusa</a:t>
            </a:r>
          </a:p>
        </p:txBody>
      </p:sp>
      <p:pic>
        <p:nvPicPr>
          <p:cNvPr id="7170" name="Picture 2" descr="Related image">
            <a:extLst>
              <a:ext uri="{FF2B5EF4-FFF2-40B4-BE49-F238E27FC236}">
                <a16:creationId xmlns:a16="http://schemas.microsoft.com/office/drawing/2014/main" id="{25723AC5-F99E-4323-B5DE-74EB0591E9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9524" y="1549512"/>
            <a:ext cx="3491573" cy="349157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2279714-35EB-492B-97F3-FEDD8E01FF05}"/>
              </a:ext>
            </a:extLst>
          </p:cNvPr>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637634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Independent Beverage Retailers </a:t>
            </a:r>
            <a:br>
              <a:rPr lang="en-US" sz="3200" b="1" dirty="0">
                <a:latin typeface="Cambria" panose="02040503050406030204" pitchFamily="18" charset="0"/>
              </a:rPr>
            </a:br>
            <a:r>
              <a:rPr lang="en-US" sz="2900" dirty="0">
                <a:latin typeface="Cambria" panose="02040503050406030204" pitchFamily="18" charset="0"/>
              </a:rPr>
              <a:t>Providing Choice, Service &amp; Accountability</a:t>
            </a:r>
          </a:p>
        </p:txBody>
      </p:sp>
      <p:sp>
        <p:nvSpPr>
          <p:cNvPr id="6" name="Rectangle 5">
            <a:extLst>
              <a:ext uri="{FF2B5EF4-FFF2-40B4-BE49-F238E27FC236}">
                <a16:creationId xmlns:a16="http://schemas.microsoft.com/office/drawing/2014/main" id="{0B21CA6A-5A88-4E47-A5ED-32EBDAF15739}"/>
              </a:ext>
            </a:extLst>
          </p:cNvPr>
          <p:cNvSpPr/>
          <p:nvPr/>
        </p:nvSpPr>
        <p:spPr>
          <a:xfrm>
            <a:off x="923922" y="1462332"/>
            <a:ext cx="7015239" cy="4154984"/>
          </a:xfrm>
          <a:prstGeom prst="rect">
            <a:avLst/>
          </a:prstGeom>
        </p:spPr>
        <p:txBody>
          <a:bodyPr wrap="square">
            <a:spAutoFit/>
          </a:bodyPr>
          <a:lstStyle/>
          <a:p>
            <a:pPr marL="285750" indent="-285750">
              <a:buFont typeface="Arial" panose="020B0604020202020204" pitchFamily="34" charset="0"/>
              <a:buChar char="•"/>
            </a:pPr>
            <a:r>
              <a:rPr lang="en-US" sz="2200" dirty="0">
                <a:latin typeface="Cambria" panose="02040503050406030204" pitchFamily="18" charset="0"/>
              </a:rPr>
              <a:t>Independent business people; Often multi-generational and family-owned; active in communities</a:t>
            </a:r>
          </a:p>
          <a:p>
            <a:pPr marL="285750" indent="-285750">
              <a:buFont typeface="Arial" panose="020B0604020202020204" pitchFamily="34" charset="0"/>
              <a:buChar char="•"/>
            </a:pPr>
            <a:endParaRPr lang="en-US" altLang="en-US" sz="2200" b="1" dirty="0">
              <a:latin typeface="Cambria" panose="02040503050406030204" pitchFamily="18" charset="0"/>
            </a:endParaRPr>
          </a:p>
          <a:p>
            <a:pPr marL="285750" indent="-285750">
              <a:spcBef>
                <a:spcPct val="0"/>
              </a:spcBef>
              <a:buFont typeface="Arial" panose="020B0604020202020204" pitchFamily="34" charset="0"/>
              <a:buChar char="•"/>
            </a:pPr>
            <a:r>
              <a:rPr lang="en-US" altLang="en-US" sz="2200" dirty="0">
                <a:latin typeface="Cambria" panose="02040503050406030204" pitchFamily="18" charset="0"/>
              </a:rPr>
              <a:t>Beverage licensees check more IDs than most law enforcement officers; </a:t>
            </a:r>
            <a:r>
              <a:rPr lang="en-US" altLang="en-US" sz="2200" b="1" dirty="0">
                <a:solidFill>
                  <a:srgbClr val="FF0000"/>
                </a:solidFill>
                <a:latin typeface="Cambria" panose="02040503050406030204" pitchFamily="18" charset="0"/>
              </a:rPr>
              <a:t>are also under scrutiny by state and local enforcement agencies</a:t>
            </a:r>
          </a:p>
          <a:p>
            <a:pPr marL="285750" indent="-285750">
              <a:spcBef>
                <a:spcPct val="0"/>
              </a:spcBef>
              <a:buFont typeface="Arial" panose="020B0604020202020204" pitchFamily="34" charset="0"/>
              <a:buChar char="•"/>
            </a:pPr>
            <a:endParaRPr lang="en-US" altLang="en-US" sz="2200" dirty="0">
              <a:latin typeface="Cambria" panose="02040503050406030204" pitchFamily="18" charset="0"/>
            </a:endParaRPr>
          </a:p>
          <a:p>
            <a:pPr marL="285750" indent="-285750">
              <a:spcBef>
                <a:spcPct val="0"/>
              </a:spcBef>
              <a:buFont typeface="Arial" panose="020B0604020202020204" pitchFamily="34" charset="0"/>
              <a:buChar char="•"/>
            </a:pPr>
            <a:r>
              <a:rPr lang="en-US" altLang="en-US" sz="2200" dirty="0">
                <a:latin typeface="Cambria" panose="02040503050406030204" pitchFamily="18" charset="0"/>
              </a:rPr>
              <a:t>Some of the last stores on American “Main Streets”; provide unparalleled choice to consumers</a:t>
            </a:r>
          </a:p>
          <a:p>
            <a:pPr marL="0" lvl="1"/>
            <a:endParaRPr lang="en-US" altLang="en-US" sz="2200" b="1" kern="0" dirty="0">
              <a:latin typeface="Cambria" panose="02040503050406030204" pitchFamily="18" charset="0"/>
            </a:endParaRPr>
          </a:p>
          <a:p>
            <a:pPr marL="285750" lvl="1" indent="-285750">
              <a:buFont typeface="Arial" panose="020B0604020202020204" pitchFamily="34" charset="0"/>
              <a:buChar char="•"/>
            </a:pPr>
            <a:r>
              <a:rPr lang="en-US" altLang="en-US" sz="2200" kern="0" dirty="0">
                <a:latin typeface="Cambria" panose="02040503050406030204" pitchFamily="18" charset="0"/>
              </a:rPr>
              <a:t>As brick-and-mortar retailers, pay sales and property taxes; assume liabilities of physical presence</a:t>
            </a:r>
          </a:p>
        </p:txBody>
      </p:sp>
      <p:sp>
        <p:nvSpPr>
          <p:cNvPr id="7" name="Rectangle 6">
            <a:extLst>
              <a:ext uri="{FF2B5EF4-FFF2-40B4-BE49-F238E27FC236}">
                <a16:creationId xmlns:a16="http://schemas.microsoft.com/office/drawing/2014/main" id="{464D94E9-7817-450B-84EF-93E94409B9B9}"/>
              </a:ext>
            </a:extLst>
          </p:cNvPr>
          <p:cNvSpPr/>
          <p:nvPr/>
        </p:nvSpPr>
        <p:spPr>
          <a:xfrm>
            <a:off x="1481136" y="5656174"/>
            <a:ext cx="9153524" cy="797013"/>
          </a:xfrm>
          <a:prstGeom prst="rect">
            <a:avLst/>
          </a:prstGeom>
        </p:spPr>
        <p:txBody>
          <a:bodyPr wrap="square">
            <a:spAutoFit/>
          </a:bodyPr>
          <a:lstStyle/>
          <a:p>
            <a:pPr algn="ctr">
              <a:lnSpc>
                <a:spcPct val="120000"/>
              </a:lnSpc>
              <a:spcBef>
                <a:spcPct val="0"/>
              </a:spcBef>
            </a:pPr>
            <a:r>
              <a:rPr lang="en-US" altLang="en-US" sz="2000" b="1" i="1" kern="0" dirty="0">
                <a:solidFill>
                  <a:srgbClr val="0070C0"/>
                </a:solidFill>
                <a:latin typeface="Cambria" panose="02040503050406030204" pitchFamily="18" charset="0"/>
              </a:rPr>
              <a:t>Independent beverage licensees help form the most diverse and innovative beverage alcohol marketplace in the world</a:t>
            </a:r>
          </a:p>
        </p:txBody>
      </p:sp>
      <p:pic>
        <p:nvPicPr>
          <p:cNvPr id="11" name="Picture 2" descr="http://i.imgur.com/clAPo.jpg">
            <a:extLst>
              <a:ext uri="{FF2B5EF4-FFF2-40B4-BE49-F238E27FC236}">
                <a16:creationId xmlns:a16="http://schemas.microsoft.com/office/drawing/2014/main" id="{72F4429C-8A1B-423B-8FA3-0B1C066701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9162" y="2400300"/>
            <a:ext cx="3797215" cy="2057400"/>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CD4E6D34-BC62-420C-A57B-21B1FB5D5D4F}"/>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31243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Economic Impact of Beverage Retailers</a:t>
            </a:r>
            <a:br>
              <a:rPr lang="en-US" sz="3600" b="1" dirty="0">
                <a:latin typeface="Cambria" panose="02040503050406030204" pitchFamily="18" charset="0"/>
              </a:rPr>
            </a:br>
            <a:r>
              <a:rPr lang="en-US" sz="2900" dirty="0">
                <a:latin typeface="Cambria" panose="02040503050406030204" pitchFamily="18" charset="0"/>
              </a:rPr>
              <a:t>~2/3 of U.S. Adults Enjoy Beverage Alcohol…</a:t>
            </a:r>
            <a:endParaRPr lang="en-US" sz="2900" b="1" dirty="0">
              <a:latin typeface="Cambria" panose="02040503050406030204" pitchFamily="18" charset="0"/>
            </a:endParaRPr>
          </a:p>
        </p:txBody>
      </p:sp>
      <p:sp>
        <p:nvSpPr>
          <p:cNvPr id="6" name="Rectangle 5">
            <a:extLst>
              <a:ext uri="{FF2B5EF4-FFF2-40B4-BE49-F238E27FC236}">
                <a16:creationId xmlns:a16="http://schemas.microsoft.com/office/drawing/2014/main" id="{A2F9D8BD-4D04-4910-B523-FE978A49BC0B}"/>
              </a:ext>
            </a:extLst>
          </p:cNvPr>
          <p:cNvSpPr/>
          <p:nvPr/>
        </p:nvSpPr>
        <p:spPr>
          <a:xfrm>
            <a:off x="923922" y="1462332"/>
            <a:ext cx="10135232" cy="830997"/>
          </a:xfrm>
          <a:prstGeom prst="rect">
            <a:avLst/>
          </a:prstGeom>
        </p:spPr>
        <p:txBody>
          <a:bodyPr wrap="square">
            <a:spAutoFit/>
          </a:bodyPr>
          <a:lstStyle/>
          <a:p>
            <a:pPr marL="285750" indent="-285750">
              <a:buFont typeface="Arial" panose="020B0604020202020204" pitchFamily="34" charset="0"/>
              <a:buChar char="•"/>
            </a:pPr>
            <a:r>
              <a:rPr lang="en-US" sz="2400" dirty="0">
                <a:latin typeface="Cambria" panose="02040503050406030204" pitchFamily="18" charset="0"/>
                <a:ea typeface="Aharoni"/>
                <a:cs typeface="Aharoni"/>
              </a:rPr>
              <a:t>…which means that America’s independent and local bars, taverns and package stores play a large role in that enjoyment.  </a:t>
            </a:r>
            <a:endParaRPr lang="en-US" altLang="en-US" sz="1400" kern="0" dirty="0">
              <a:latin typeface="Cambria" panose="02040503050406030204" pitchFamily="18" charset="0"/>
            </a:endParaRPr>
          </a:p>
        </p:txBody>
      </p:sp>
      <p:sp>
        <p:nvSpPr>
          <p:cNvPr id="7" name="Rectangle 6">
            <a:extLst>
              <a:ext uri="{FF2B5EF4-FFF2-40B4-BE49-F238E27FC236}">
                <a16:creationId xmlns:a16="http://schemas.microsoft.com/office/drawing/2014/main" id="{19A480FC-F4A0-4734-8952-C1C5EAA9CEC9}"/>
              </a:ext>
            </a:extLst>
          </p:cNvPr>
          <p:cNvSpPr/>
          <p:nvPr/>
        </p:nvSpPr>
        <p:spPr>
          <a:xfrm>
            <a:off x="923922" y="2537040"/>
            <a:ext cx="10028844" cy="3416320"/>
          </a:xfrm>
          <a:prstGeom prst="rect">
            <a:avLst/>
          </a:prstGeom>
        </p:spPr>
        <p:txBody>
          <a:bodyPr wrap="square" numCol="2" spcCol="457200">
            <a:spAutoFit/>
          </a:bodyPr>
          <a:lstStyle/>
          <a:p>
            <a:r>
              <a:rPr lang="en-US" b="1" u="sng" dirty="0">
                <a:latin typeface="Cambria" panose="02040503050406030204" pitchFamily="18" charset="0"/>
              </a:rPr>
              <a:t>ECONOMIC IMPACT </a:t>
            </a:r>
          </a:p>
          <a:p>
            <a:r>
              <a:rPr lang="en-US" dirty="0">
                <a:latin typeface="Cambria" panose="02040503050406030204" pitchFamily="18" charset="0"/>
              </a:rPr>
              <a:t>In the United States, the direct retail sales of the beverage alcohol industry are responsible for </a:t>
            </a:r>
            <a:r>
              <a:rPr lang="en-US" b="1" u="sng" dirty="0">
                <a:latin typeface="Cambria" panose="02040503050406030204" pitchFamily="18" charset="0"/>
              </a:rPr>
              <a:t>$762 billion in total economic activity.</a:t>
            </a:r>
          </a:p>
          <a:p>
            <a:pPr marL="285750" indent="-285750">
              <a:buFont typeface="Arial" panose="020B0604020202020204" pitchFamily="34" charset="0"/>
              <a:buChar char="•"/>
            </a:pPr>
            <a:endParaRPr lang="en-US" altLang="en-US" kern="0" dirty="0">
              <a:latin typeface="Cambria" panose="02040503050406030204" pitchFamily="18" charset="0"/>
            </a:endParaRPr>
          </a:p>
          <a:p>
            <a:pPr marL="285750" indent="-285750">
              <a:buFont typeface="Arial" panose="020B0604020202020204" pitchFamily="34" charset="0"/>
              <a:buChar char="•"/>
            </a:pPr>
            <a:endParaRPr lang="en-US" dirty="0">
              <a:latin typeface="Cambria" panose="02040503050406030204" pitchFamily="18" charset="0"/>
            </a:endParaRPr>
          </a:p>
          <a:p>
            <a:endParaRPr lang="en-US" dirty="0">
              <a:latin typeface="Cambria" panose="02040503050406030204" pitchFamily="18" charset="0"/>
            </a:endParaRPr>
          </a:p>
          <a:p>
            <a:r>
              <a:rPr lang="en-US" b="1" u="sng" dirty="0">
                <a:latin typeface="Cambria" panose="02040503050406030204" pitchFamily="18" charset="0"/>
              </a:rPr>
              <a:t>JOBS </a:t>
            </a:r>
          </a:p>
          <a:p>
            <a:r>
              <a:rPr lang="en-US" dirty="0">
                <a:latin typeface="Cambria" panose="02040503050406030204" pitchFamily="18" charset="0"/>
              </a:rPr>
              <a:t>Establishments that sell alcohol employ as many as </a:t>
            </a:r>
            <a:r>
              <a:rPr lang="en-US" b="1" u="sng" dirty="0">
                <a:latin typeface="Cambria" panose="02040503050406030204" pitchFamily="18" charset="0"/>
              </a:rPr>
              <a:t>5.65 million people </a:t>
            </a:r>
            <a:r>
              <a:rPr lang="en-US" dirty="0">
                <a:latin typeface="Cambria" panose="02040503050406030204" pitchFamily="18" charset="0"/>
              </a:rPr>
              <a:t>in the United States, and generate an additional 2.61 million jobs in supplier and ancillary industries. </a:t>
            </a:r>
          </a:p>
          <a:p>
            <a:r>
              <a:rPr lang="en-US" b="1" u="sng" dirty="0">
                <a:latin typeface="Cambria" panose="02040503050406030204" pitchFamily="18" charset="0"/>
              </a:rPr>
              <a:t>WAGES </a:t>
            </a:r>
          </a:p>
          <a:p>
            <a:r>
              <a:rPr lang="en-US" dirty="0">
                <a:latin typeface="Cambria" panose="02040503050406030204" pitchFamily="18" charset="0"/>
              </a:rPr>
              <a:t>Businesses selling alcohol in the United States, along with their supplier and ancillary industries, pay </a:t>
            </a:r>
            <a:r>
              <a:rPr lang="en-US" b="1" u="sng" dirty="0">
                <a:latin typeface="Cambria" panose="02040503050406030204" pitchFamily="18" charset="0"/>
              </a:rPr>
              <a:t>$281 billion in wages </a:t>
            </a:r>
            <a:r>
              <a:rPr lang="en-US" dirty="0">
                <a:latin typeface="Cambria" panose="02040503050406030204" pitchFamily="18" charset="0"/>
              </a:rPr>
              <a:t>and benefits each year. This amounts to an average of $34,000 in wages and benefits. </a:t>
            </a:r>
          </a:p>
          <a:p>
            <a:pPr marL="285750" indent="-285750">
              <a:buFont typeface="Arial" panose="020B0604020202020204" pitchFamily="34" charset="0"/>
              <a:buChar char="•"/>
            </a:pPr>
            <a:endParaRPr lang="en-US" dirty="0">
              <a:latin typeface="Cambria" panose="02040503050406030204" pitchFamily="18" charset="0"/>
            </a:endParaRPr>
          </a:p>
          <a:p>
            <a:r>
              <a:rPr lang="en-US" b="1" u="sng" dirty="0">
                <a:latin typeface="Cambria" panose="02040503050406030204" pitchFamily="18" charset="0"/>
              </a:rPr>
              <a:t>TAXES </a:t>
            </a:r>
          </a:p>
          <a:p>
            <a:r>
              <a:rPr lang="en-US" dirty="0">
                <a:latin typeface="Cambria" panose="02040503050406030204" pitchFamily="18" charset="0"/>
              </a:rPr>
              <a:t>In the United States, the industry and its employees pay over </a:t>
            </a:r>
            <a:r>
              <a:rPr lang="en-US" b="1" u="sng" dirty="0">
                <a:latin typeface="Cambria" panose="02040503050406030204" pitchFamily="18" charset="0"/>
              </a:rPr>
              <a:t>$43 billion in state taxes</a:t>
            </a:r>
            <a:r>
              <a:rPr lang="en-US" dirty="0">
                <a:latin typeface="Cambria" panose="02040503050406030204" pitchFamily="18" charset="0"/>
              </a:rPr>
              <a:t>, and an additional </a:t>
            </a:r>
            <a:r>
              <a:rPr lang="en-US" b="1" u="sng" dirty="0">
                <a:latin typeface="Cambria" panose="02040503050406030204" pitchFamily="18" charset="0"/>
              </a:rPr>
              <a:t>$64 billion in federal taxes</a:t>
            </a:r>
            <a:r>
              <a:rPr lang="en-US" dirty="0">
                <a:latin typeface="Cambria" panose="02040503050406030204" pitchFamily="18" charset="0"/>
              </a:rPr>
              <a:t>.</a:t>
            </a:r>
          </a:p>
        </p:txBody>
      </p:sp>
      <p:sp>
        <p:nvSpPr>
          <p:cNvPr id="11" name="Rectangle 10">
            <a:extLst>
              <a:ext uri="{FF2B5EF4-FFF2-40B4-BE49-F238E27FC236}">
                <a16:creationId xmlns:a16="http://schemas.microsoft.com/office/drawing/2014/main" id="{13DF97C9-042D-4595-A5F8-568F2ADF4AC1}"/>
              </a:ext>
            </a:extLst>
          </p:cNvPr>
          <p:cNvSpPr/>
          <p:nvPr/>
        </p:nvSpPr>
        <p:spPr>
          <a:xfrm>
            <a:off x="7162800" y="6078980"/>
            <a:ext cx="4469760" cy="461665"/>
          </a:xfrm>
          <a:prstGeom prst="rect">
            <a:avLst/>
          </a:prstGeom>
        </p:spPr>
        <p:txBody>
          <a:bodyPr wrap="square" numCol="1" spcCol="457200">
            <a:spAutoFit/>
          </a:bodyPr>
          <a:lstStyle/>
          <a:p>
            <a:r>
              <a:rPr lang="en-US" sz="1200" b="1" u="sng" dirty="0">
                <a:latin typeface="Cambria" panose="02040503050406030204" pitchFamily="18" charset="0"/>
              </a:rPr>
              <a:t>Source:</a:t>
            </a:r>
            <a:r>
              <a:rPr lang="en-US" sz="1200" b="1" dirty="0">
                <a:latin typeface="Cambria" panose="02040503050406030204" pitchFamily="18" charset="0"/>
              </a:rPr>
              <a:t> </a:t>
            </a:r>
            <a:r>
              <a:rPr lang="en-US" sz="1200" dirty="0">
                <a:latin typeface="Cambria" panose="02040503050406030204" pitchFamily="18" charset="0"/>
              </a:rPr>
              <a:t>John Dunham &amp; Associates. </a:t>
            </a:r>
            <a:r>
              <a:rPr lang="en-US" sz="1200" i="1" dirty="0">
                <a:latin typeface="Cambria" panose="02040503050406030204" pitchFamily="18" charset="0"/>
              </a:rPr>
              <a:t>2016 Economic Impact Study of America’s Beer, Wine and Spirits Retailers. </a:t>
            </a:r>
            <a:r>
              <a:rPr lang="en-US" sz="1200" dirty="0">
                <a:latin typeface="Cambria" panose="02040503050406030204" pitchFamily="18" charset="0"/>
              </a:rPr>
              <a:t>New York, July 2016</a:t>
            </a:r>
            <a:r>
              <a:rPr lang="en-US" sz="1200" b="1" u="sng" dirty="0">
                <a:latin typeface="Cambria" panose="02040503050406030204" pitchFamily="18" charset="0"/>
              </a:rPr>
              <a:t> </a:t>
            </a:r>
            <a:endParaRPr lang="en-US" sz="1200" dirty="0">
              <a:latin typeface="Cambria" panose="02040503050406030204" pitchFamily="18" charset="0"/>
            </a:endParaRPr>
          </a:p>
        </p:txBody>
      </p:sp>
      <p:sp>
        <p:nvSpPr>
          <p:cNvPr id="2" name="Slide Number Placeholder 1">
            <a:extLst>
              <a:ext uri="{FF2B5EF4-FFF2-40B4-BE49-F238E27FC236}">
                <a16:creationId xmlns:a16="http://schemas.microsoft.com/office/drawing/2014/main" id="{4447C363-9FF2-48E2-B438-995FB968974A}"/>
              </a:ext>
            </a:extLst>
          </p:cNvPr>
          <p:cNvSpPr>
            <a:spLocks noGrp="1"/>
          </p:cNvSpPr>
          <p:nvPr>
            <p:ph type="sldNum" sz="quarter" idx="12"/>
          </p:nvPr>
        </p:nvSpPr>
        <p:spPr/>
        <p:txBody>
          <a:bodyPr/>
          <a:lstStyle/>
          <a:p>
            <a:fld id="{E688E218-EDC1-45FE-BD02-D56DD4A0E21D}" type="slidenum">
              <a:rPr lang="en-US" smtClean="0"/>
              <a:t>4</a:t>
            </a:fld>
            <a:endParaRPr lang="en-US" dirty="0"/>
          </a:p>
        </p:txBody>
      </p:sp>
      <p:pic>
        <p:nvPicPr>
          <p:cNvPr id="12" name="Picture 11">
            <a:extLst>
              <a:ext uri="{FF2B5EF4-FFF2-40B4-BE49-F238E27FC236}">
                <a16:creationId xmlns:a16="http://schemas.microsoft.com/office/drawing/2014/main" id="{2D2EEEC1-955D-445D-A845-9DDFCC9F4E27}"/>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25364402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65128"/>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Economic Impact of Beverage Retailers</a:t>
            </a:r>
            <a:br>
              <a:rPr lang="en-US" sz="3600" b="1" dirty="0">
                <a:latin typeface="Cambria" panose="02040503050406030204" pitchFamily="18" charset="0"/>
              </a:rPr>
            </a:br>
            <a:r>
              <a:rPr lang="en-US" sz="2900" dirty="0">
                <a:solidFill>
                  <a:srgbClr val="C00000"/>
                </a:solidFill>
                <a:latin typeface="Cambria" panose="02040503050406030204" pitchFamily="18" charset="0"/>
              </a:rPr>
              <a:t>…in WISCONSIN</a:t>
            </a:r>
          </a:p>
        </p:txBody>
      </p:sp>
      <p:sp>
        <p:nvSpPr>
          <p:cNvPr id="7" name="Rectangle 6">
            <a:extLst>
              <a:ext uri="{FF2B5EF4-FFF2-40B4-BE49-F238E27FC236}">
                <a16:creationId xmlns:a16="http://schemas.microsoft.com/office/drawing/2014/main" id="{19A480FC-F4A0-4734-8952-C1C5EAA9CEC9}"/>
              </a:ext>
            </a:extLst>
          </p:cNvPr>
          <p:cNvSpPr/>
          <p:nvPr/>
        </p:nvSpPr>
        <p:spPr>
          <a:xfrm>
            <a:off x="923922" y="1462332"/>
            <a:ext cx="5972178" cy="5078313"/>
          </a:xfrm>
          <a:prstGeom prst="rect">
            <a:avLst/>
          </a:prstGeom>
        </p:spPr>
        <p:txBody>
          <a:bodyPr wrap="square" numCol="1" spcCol="457200">
            <a:spAutoFit/>
          </a:bodyPr>
          <a:lstStyle/>
          <a:p>
            <a:r>
              <a:rPr lang="en-US" b="1" u="sng" dirty="0">
                <a:latin typeface="Cambria" panose="02040503050406030204" pitchFamily="18" charset="0"/>
              </a:rPr>
              <a:t>ECONOMIC IMPACT </a:t>
            </a:r>
          </a:p>
          <a:p>
            <a:r>
              <a:rPr lang="en-US" dirty="0">
                <a:latin typeface="Cambria" panose="02040503050406030204" pitchFamily="18" charset="0"/>
              </a:rPr>
              <a:t>The direct retail sales of the beverage alcohol industry are responsible for </a:t>
            </a:r>
            <a:r>
              <a:rPr lang="en-US" b="1" u="sng" dirty="0">
                <a:latin typeface="Cambria" panose="02040503050406030204" pitchFamily="18" charset="0"/>
              </a:rPr>
              <a:t>$7.92 billion in total economic activity.</a:t>
            </a:r>
          </a:p>
          <a:p>
            <a:endParaRPr lang="en-US" dirty="0">
              <a:latin typeface="Cambria" panose="02040503050406030204" pitchFamily="18" charset="0"/>
            </a:endParaRPr>
          </a:p>
          <a:p>
            <a:r>
              <a:rPr lang="en-US" b="1" u="sng" dirty="0">
                <a:latin typeface="Cambria" panose="02040503050406030204" pitchFamily="18" charset="0"/>
              </a:rPr>
              <a:t>JOBS </a:t>
            </a:r>
          </a:p>
          <a:p>
            <a:r>
              <a:rPr lang="en-US" dirty="0">
                <a:latin typeface="Cambria" panose="02040503050406030204" pitchFamily="18" charset="0"/>
              </a:rPr>
              <a:t>Establishments that sell alcohol employ as many as </a:t>
            </a:r>
          </a:p>
          <a:p>
            <a:r>
              <a:rPr lang="en-US" b="1" u="sng" dirty="0">
                <a:latin typeface="Cambria" panose="02040503050406030204" pitchFamily="18" charset="0"/>
              </a:rPr>
              <a:t>59,575 people</a:t>
            </a:r>
            <a:r>
              <a:rPr lang="en-US" dirty="0">
                <a:latin typeface="Cambria" panose="02040503050406030204" pitchFamily="18" charset="0"/>
              </a:rPr>
              <a:t>, and generate an additional 14,815 jobs in supplier and ancillary industries. </a:t>
            </a:r>
          </a:p>
          <a:p>
            <a:endParaRPr lang="en-US" b="1" u="sng" dirty="0">
              <a:latin typeface="Cambria" panose="02040503050406030204" pitchFamily="18" charset="0"/>
            </a:endParaRPr>
          </a:p>
          <a:p>
            <a:r>
              <a:rPr lang="en-US" b="1" u="sng" dirty="0">
                <a:latin typeface="Cambria" panose="02040503050406030204" pitchFamily="18" charset="0"/>
              </a:rPr>
              <a:t>WAGES </a:t>
            </a:r>
          </a:p>
          <a:p>
            <a:r>
              <a:rPr lang="en-US" dirty="0">
                <a:latin typeface="Cambria" panose="02040503050406030204" pitchFamily="18" charset="0"/>
              </a:rPr>
              <a:t>Businesses selling alcohol, along with their supplier and ancillary industries, pay </a:t>
            </a:r>
            <a:r>
              <a:rPr lang="en-US" b="1" u="sng" dirty="0">
                <a:latin typeface="Cambria" panose="02040503050406030204" pitchFamily="18" charset="0"/>
              </a:rPr>
              <a:t>$2.69 billion in wages</a:t>
            </a:r>
            <a:r>
              <a:rPr lang="en-US" b="1" dirty="0">
                <a:latin typeface="Cambria" panose="02040503050406030204" pitchFamily="18" charset="0"/>
              </a:rPr>
              <a:t> </a:t>
            </a:r>
            <a:r>
              <a:rPr lang="en-US" dirty="0">
                <a:latin typeface="Cambria" panose="02040503050406030204" pitchFamily="18" charset="0"/>
              </a:rPr>
              <a:t>and benefits each year. </a:t>
            </a:r>
          </a:p>
          <a:p>
            <a:endParaRPr lang="en-US" b="1" u="sng" dirty="0">
              <a:latin typeface="Cambria" panose="02040503050406030204" pitchFamily="18" charset="0"/>
            </a:endParaRPr>
          </a:p>
          <a:p>
            <a:r>
              <a:rPr lang="en-US" b="1" u="sng" dirty="0">
                <a:latin typeface="Cambria" panose="02040503050406030204" pitchFamily="18" charset="0"/>
              </a:rPr>
              <a:t>TAXES </a:t>
            </a:r>
          </a:p>
          <a:p>
            <a:r>
              <a:rPr lang="en-US" dirty="0">
                <a:latin typeface="Cambria" panose="02040503050406030204" pitchFamily="18" charset="0"/>
              </a:rPr>
              <a:t>The industry and its employees pay over </a:t>
            </a:r>
            <a:r>
              <a:rPr lang="en-US" b="1" u="sng" dirty="0">
                <a:latin typeface="Cambria" panose="02040503050406030204" pitchFamily="18" charset="0"/>
              </a:rPr>
              <a:t>$446 million in state and local taxes</a:t>
            </a:r>
            <a:r>
              <a:rPr lang="en-US" dirty="0">
                <a:latin typeface="Cambria" panose="02040503050406030204" pitchFamily="18" charset="0"/>
              </a:rPr>
              <a:t>, and an additional </a:t>
            </a:r>
            <a:r>
              <a:rPr lang="en-US" b="1" u="sng" dirty="0">
                <a:latin typeface="Cambria" panose="02040503050406030204" pitchFamily="18" charset="0"/>
              </a:rPr>
              <a:t>$593 million in federal taxes</a:t>
            </a:r>
            <a:r>
              <a:rPr lang="en-US" dirty="0">
                <a:latin typeface="Cambria" panose="02040503050406030204" pitchFamily="18" charset="0"/>
              </a:rPr>
              <a:t>.</a:t>
            </a:r>
          </a:p>
        </p:txBody>
      </p:sp>
      <p:sp>
        <p:nvSpPr>
          <p:cNvPr id="8" name="Rectangle 7">
            <a:extLst>
              <a:ext uri="{FF2B5EF4-FFF2-40B4-BE49-F238E27FC236}">
                <a16:creationId xmlns:a16="http://schemas.microsoft.com/office/drawing/2014/main" id="{BC0008C7-1DC4-4737-8506-673097B1FCC8}"/>
              </a:ext>
            </a:extLst>
          </p:cNvPr>
          <p:cNvSpPr/>
          <p:nvPr/>
        </p:nvSpPr>
        <p:spPr>
          <a:xfrm>
            <a:off x="7162800" y="6078980"/>
            <a:ext cx="4469760" cy="461665"/>
          </a:xfrm>
          <a:prstGeom prst="rect">
            <a:avLst/>
          </a:prstGeom>
        </p:spPr>
        <p:txBody>
          <a:bodyPr wrap="square" numCol="1" spcCol="457200">
            <a:spAutoFit/>
          </a:bodyPr>
          <a:lstStyle/>
          <a:p>
            <a:r>
              <a:rPr lang="en-US" sz="1200" b="1" u="sng" dirty="0">
                <a:latin typeface="Cambria" panose="02040503050406030204" pitchFamily="18" charset="0"/>
              </a:rPr>
              <a:t>Source:</a:t>
            </a:r>
            <a:r>
              <a:rPr lang="en-US" sz="1200" b="1" dirty="0">
                <a:latin typeface="Cambria" panose="02040503050406030204" pitchFamily="18" charset="0"/>
              </a:rPr>
              <a:t> </a:t>
            </a:r>
            <a:r>
              <a:rPr lang="en-US" sz="1200" dirty="0">
                <a:latin typeface="Cambria" panose="02040503050406030204" pitchFamily="18" charset="0"/>
              </a:rPr>
              <a:t>John Dunham &amp; Associates. </a:t>
            </a:r>
            <a:r>
              <a:rPr lang="en-US" sz="1200" i="1" dirty="0">
                <a:latin typeface="Cambria" panose="02040503050406030204" pitchFamily="18" charset="0"/>
              </a:rPr>
              <a:t>2016 Economic Impact Study of America’s Beer, Wine and Spirits Retailers. </a:t>
            </a:r>
            <a:r>
              <a:rPr lang="en-US" sz="1200" dirty="0">
                <a:latin typeface="Cambria" panose="02040503050406030204" pitchFamily="18" charset="0"/>
              </a:rPr>
              <a:t>New York, July 2016</a:t>
            </a:r>
            <a:r>
              <a:rPr lang="en-US" sz="1200" b="1" u="sng" dirty="0">
                <a:latin typeface="Cambria" panose="02040503050406030204" pitchFamily="18" charset="0"/>
              </a:rPr>
              <a:t> </a:t>
            </a:r>
            <a:endParaRPr lang="en-US" sz="1200" dirty="0">
              <a:latin typeface="Cambria" panose="02040503050406030204" pitchFamily="18" charset="0"/>
            </a:endParaRPr>
          </a:p>
        </p:txBody>
      </p:sp>
      <p:sp>
        <p:nvSpPr>
          <p:cNvPr id="2" name="Slide Number Placeholder 1">
            <a:extLst>
              <a:ext uri="{FF2B5EF4-FFF2-40B4-BE49-F238E27FC236}">
                <a16:creationId xmlns:a16="http://schemas.microsoft.com/office/drawing/2014/main" id="{A2650A21-9E5C-4B8B-8994-C71FD96CD671}"/>
              </a:ext>
            </a:extLst>
          </p:cNvPr>
          <p:cNvSpPr>
            <a:spLocks noGrp="1"/>
          </p:cNvSpPr>
          <p:nvPr>
            <p:ph type="sldNum" sz="quarter" idx="12"/>
          </p:nvPr>
        </p:nvSpPr>
        <p:spPr/>
        <p:txBody>
          <a:bodyPr/>
          <a:lstStyle/>
          <a:p>
            <a:fld id="{E688E218-EDC1-45FE-BD02-D56DD4A0E21D}" type="slidenum">
              <a:rPr lang="en-US" smtClean="0"/>
              <a:t>5</a:t>
            </a:fld>
            <a:endParaRPr lang="en-US" dirty="0"/>
          </a:p>
        </p:txBody>
      </p:sp>
      <p:pic>
        <p:nvPicPr>
          <p:cNvPr id="1026" name="Picture 2" descr="Related image">
            <a:extLst>
              <a:ext uri="{FF2B5EF4-FFF2-40B4-BE49-F238E27FC236}">
                <a16:creationId xmlns:a16="http://schemas.microsoft.com/office/drawing/2014/main" id="{259A4821-9A95-46BF-B0B6-97A42B5531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3766" y="2161607"/>
            <a:ext cx="4867827" cy="324684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45587A9D-4C3E-4572-A253-0CC0D1597DF7}"/>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3024573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altLang="en-US" sz="3600" b="1" dirty="0">
                <a:latin typeface="Cambria"/>
                <a:cs typeface="Cambria"/>
              </a:rPr>
              <a:t>Public Opinion</a:t>
            </a:r>
            <a:br>
              <a:rPr lang="en-US" altLang="en-US" sz="3200" b="1" dirty="0">
                <a:latin typeface="Cambria"/>
                <a:cs typeface="Cambria"/>
              </a:rPr>
            </a:br>
            <a:r>
              <a:rPr lang="en-US" altLang="en-US" sz="2900" dirty="0">
                <a:latin typeface="Cambria"/>
                <a:cs typeface="Cambria"/>
              </a:rPr>
              <a:t>Are Americans Happy with the System &amp; Variety of Options?</a:t>
            </a:r>
            <a:endParaRPr lang="en-US" sz="2900" dirty="0">
              <a:latin typeface="Cambria" panose="02040503050406030204" pitchFamily="18" charset="0"/>
            </a:endParaRPr>
          </a:p>
        </p:txBody>
      </p:sp>
      <p:sp>
        <p:nvSpPr>
          <p:cNvPr id="6" name="Rectangle 5">
            <a:extLst>
              <a:ext uri="{FF2B5EF4-FFF2-40B4-BE49-F238E27FC236}">
                <a16:creationId xmlns:a16="http://schemas.microsoft.com/office/drawing/2014/main" id="{0B21CA6A-5A88-4E47-A5ED-32EBDAF15739}"/>
              </a:ext>
            </a:extLst>
          </p:cNvPr>
          <p:cNvSpPr/>
          <p:nvPr/>
        </p:nvSpPr>
        <p:spPr>
          <a:xfrm>
            <a:off x="923922" y="1462332"/>
            <a:ext cx="10708637" cy="5293757"/>
          </a:xfrm>
          <a:prstGeom prst="rect">
            <a:avLst/>
          </a:prstGeom>
        </p:spPr>
        <p:txBody>
          <a:bodyPr wrap="square">
            <a:spAutoFit/>
          </a:bodyPr>
          <a:lstStyle/>
          <a:p>
            <a:pPr marL="342900" indent="-342900">
              <a:buFont typeface="Arial" panose="020B0604020202020204" pitchFamily="34" charset="0"/>
              <a:buChar char="•"/>
            </a:pPr>
            <a:r>
              <a:rPr lang="en-US" sz="2000" b="1" dirty="0">
                <a:latin typeface="Cambria" panose="02040503050406030204" pitchFamily="18" charset="0"/>
              </a:rPr>
              <a:t>Availability</a:t>
            </a:r>
          </a:p>
          <a:p>
            <a:pPr marL="800100" lvl="1" indent="-342900">
              <a:buFont typeface="Arial" panose="020B0604020202020204" pitchFamily="34" charset="0"/>
              <a:buChar char="•"/>
            </a:pPr>
            <a:r>
              <a:rPr lang="en-US" sz="1600" dirty="0">
                <a:latin typeface="Cambria" panose="02040503050406030204" pitchFamily="18" charset="0"/>
              </a:rPr>
              <a:t>90% of adults agree that it is easy to find a wide variety of beer, wine and liquor in their community.</a:t>
            </a:r>
          </a:p>
          <a:p>
            <a:pPr marL="800100" lvl="1" indent="-342900">
              <a:buFont typeface="Arial" panose="020B0604020202020204" pitchFamily="34" charset="0"/>
              <a:buChar char="•"/>
            </a:pPr>
            <a:endParaRPr lang="en-US" dirty="0">
              <a:latin typeface="Cambria" panose="02040503050406030204" pitchFamily="18" charset="0"/>
            </a:endParaRPr>
          </a:p>
          <a:p>
            <a:pPr marL="800100" lvl="1" indent="-342900">
              <a:buFont typeface="Arial" panose="020B0604020202020204" pitchFamily="34" charset="0"/>
              <a:buChar char="•"/>
            </a:pPr>
            <a:r>
              <a:rPr lang="en-US" sz="1600" dirty="0">
                <a:latin typeface="Cambria" panose="02040503050406030204" pitchFamily="18" charset="0"/>
              </a:rPr>
              <a:t>79% agree that there are more local and craft beers and liquor available in their community today than ever before.</a:t>
            </a:r>
          </a:p>
          <a:p>
            <a:pPr marL="342900" indent="-342900">
              <a:buFont typeface="Arial" panose="020B0604020202020204" pitchFamily="34" charset="0"/>
              <a:buChar char="•"/>
            </a:pPr>
            <a:endParaRPr lang="en-US" sz="1200" dirty="0">
              <a:latin typeface="Cambria" panose="02040503050406030204" pitchFamily="18" charset="0"/>
            </a:endParaRPr>
          </a:p>
          <a:p>
            <a:pPr marL="342900" indent="-342900">
              <a:buFont typeface="Arial" panose="020B0604020202020204" pitchFamily="34" charset="0"/>
              <a:buChar char="•"/>
            </a:pPr>
            <a:r>
              <a:rPr lang="en-US" sz="2000" b="1" dirty="0">
                <a:latin typeface="Cambria" panose="02040503050406030204" pitchFamily="18" charset="0"/>
              </a:rPr>
              <a:t>Three-Tier System</a:t>
            </a:r>
          </a:p>
          <a:p>
            <a:pPr marL="800100" lvl="1" indent="-342900">
              <a:buFont typeface="Arial" panose="020B0604020202020204" pitchFamily="34" charset="0"/>
              <a:buChar char="•"/>
            </a:pPr>
            <a:r>
              <a:rPr lang="en-US" sz="1600" dirty="0">
                <a:latin typeface="Cambria" panose="02040503050406030204" pitchFamily="18" charset="0"/>
              </a:rPr>
              <a:t>89% of adults agree that it is very important to keep the American alcohol industry regulated.</a:t>
            </a:r>
          </a:p>
          <a:p>
            <a:pPr marL="800100" lvl="1" indent="-342900">
              <a:buFont typeface="Arial" panose="020B0604020202020204" pitchFamily="34" charset="0"/>
              <a:buChar char="•"/>
            </a:pPr>
            <a:endParaRPr lang="en-US" sz="1600" dirty="0">
              <a:latin typeface="Cambria" panose="02040503050406030204" pitchFamily="18" charset="0"/>
            </a:endParaRPr>
          </a:p>
          <a:p>
            <a:pPr marL="800100" lvl="1" indent="-342900">
              <a:buFont typeface="Arial" panose="020B0604020202020204" pitchFamily="34" charset="0"/>
              <a:buChar char="•"/>
            </a:pPr>
            <a:r>
              <a:rPr lang="en-US" sz="1600" dirty="0">
                <a:latin typeface="Cambria" panose="02040503050406030204" pitchFamily="18" charset="0"/>
              </a:rPr>
              <a:t>81% of Americans are in support of the existing system for purchasing alcohol in their state and support the state’s ability to regulate alcohol.</a:t>
            </a:r>
          </a:p>
          <a:p>
            <a:endParaRPr lang="en-US" sz="1200" dirty="0">
              <a:latin typeface="Cambria" panose="02040503050406030204" pitchFamily="18" charset="0"/>
            </a:endParaRPr>
          </a:p>
          <a:p>
            <a:pPr marL="342900" indent="-342900">
              <a:buFont typeface="Arial" panose="020B0604020202020204" pitchFamily="34" charset="0"/>
              <a:buChar char="•"/>
            </a:pPr>
            <a:r>
              <a:rPr lang="en-US" sz="2000" b="1" dirty="0">
                <a:latin typeface="Cambria" panose="02040503050406030204" pitchFamily="18" charset="0"/>
              </a:rPr>
              <a:t>Public Safety</a:t>
            </a:r>
            <a:endParaRPr lang="en-US" sz="1200" dirty="0">
              <a:latin typeface="Cambria" panose="02040503050406030204" pitchFamily="18" charset="0"/>
            </a:endParaRPr>
          </a:p>
          <a:p>
            <a:pPr marL="800100" lvl="1" indent="-342900">
              <a:buFont typeface="Arial" panose="020B0604020202020204" pitchFamily="34" charset="0"/>
              <a:buChar char="•"/>
            </a:pPr>
            <a:r>
              <a:rPr lang="en-US" sz="1600" dirty="0">
                <a:latin typeface="Cambria" panose="02040503050406030204" pitchFamily="18" charset="0"/>
              </a:rPr>
              <a:t>Americans agree the following health and safety issues are the top priority: reducing drunk driving (77%), protecting health and safety (70%) and reducing underage drinking (62%), over economic issues such as allowing more businesses to sell alcohol (19%).</a:t>
            </a:r>
          </a:p>
          <a:p>
            <a:pPr marL="800100" lvl="1" indent="-342900">
              <a:buFont typeface="Arial" panose="020B0604020202020204" pitchFamily="34" charset="0"/>
              <a:buChar char="•"/>
            </a:pPr>
            <a:endParaRPr lang="en-US" sz="1600" dirty="0">
              <a:latin typeface="Cambria" panose="02040503050406030204" pitchFamily="18" charset="0"/>
            </a:endParaRPr>
          </a:p>
          <a:p>
            <a:pPr marL="800100" lvl="1" indent="-342900">
              <a:buFont typeface="Arial" panose="020B0604020202020204" pitchFamily="34" charset="0"/>
              <a:buChar char="•"/>
            </a:pPr>
            <a:r>
              <a:rPr lang="en-US" sz="1600" dirty="0">
                <a:latin typeface="Cambria" panose="02040503050406030204" pitchFamily="18" charset="0"/>
              </a:rPr>
              <a:t>80% agree that getting rid of alcohol rules, regulations and safeguards could make the problem worse as parents, police officers and retailers already have a difficult challenge keeping alcohol out of the hands of minors.</a:t>
            </a:r>
          </a:p>
        </p:txBody>
      </p:sp>
      <p:sp>
        <p:nvSpPr>
          <p:cNvPr id="8" name="Rectangle 7">
            <a:extLst>
              <a:ext uri="{FF2B5EF4-FFF2-40B4-BE49-F238E27FC236}">
                <a16:creationId xmlns:a16="http://schemas.microsoft.com/office/drawing/2014/main" id="{6968DC6A-6520-4392-93EE-DEF2EE9D9847}"/>
              </a:ext>
            </a:extLst>
          </p:cNvPr>
          <p:cNvSpPr/>
          <p:nvPr/>
        </p:nvSpPr>
        <p:spPr>
          <a:xfrm>
            <a:off x="3745790" y="6415801"/>
            <a:ext cx="7522288" cy="246221"/>
          </a:xfrm>
          <a:prstGeom prst="rect">
            <a:avLst/>
          </a:prstGeom>
        </p:spPr>
        <p:txBody>
          <a:bodyPr wrap="square" numCol="1" spcCol="457200">
            <a:spAutoFit/>
          </a:bodyPr>
          <a:lstStyle/>
          <a:p>
            <a:r>
              <a:rPr lang="en-US" sz="1000" b="1" u="sng" dirty="0">
                <a:latin typeface="Cambria" panose="02040503050406030204" pitchFamily="18" charset="0"/>
              </a:rPr>
              <a:t>Source:</a:t>
            </a:r>
            <a:r>
              <a:rPr lang="en-US" sz="1000" b="1" dirty="0">
                <a:latin typeface="Cambria" panose="02040503050406030204" pitchFamily="18" charset="0"/>
              </a:rPr>
              <a:t> </a:t>
            </a:r>
            <a:r>
              <a:rPr lang="en-US" sz="1000" dirty="0">
                <a:latin typeface="Cambria" panose="02040503050406030204" pitchFamily="18" charset="0"/>
              </a:rPr>
              <a:t>Public Opinion Strategies. </a:t>
            </a:r>
            <a:r>
              <a:rPr lang="en-US" sz="1000" i="1" dirty="0">
                <a:latin typeface="Cambria" panose="02040503050406030204" pitchFamily="18" charset="0"/>
              </a:rPr>
              <a:t>Americans’ Views of Alcohol Regulations: Center for Alcohol Policy 2017 National Survey. </a:t>
            </a:r>
            <a:r>
              <a:rPr lang="en-US" sz="1000" dirty="0">
                <a:latin typeface="Cambria" panose="02040503050406030204" pitchFamily="18" charset="0"/>
              </a:rPr>
              <a:t>July, 2017</a:t>
            </a:r>
            <a:r>
              <a:rPr lang="en-US" sz="1000" b="1" u="sng" dirty="0">
                <a:latin typeface="Cambria" panose="02040503050406030204" pitchFamily="18" charset="0"/>
              </a:rPr>
              <a:t> </a:t>
            </a:r>
            <a:endParaRPr lang="en-US" sz="1000" dirty="0">
              <a:latin typeface="Cambria" panose="02040503050406030204" pitchFamily="18" charset="0"/>
            </a:endParaRPr>
          </a:p>
        </p:txBody>
      </p:sp>
      <p:sp>
        <p:nvSpPr>
          <p:cNvPr id="3" name="Slide Number Placeholder 2">
            <a:extLst>
              <a:ext uri="{FF2B5EF4-FFF2-40B4-BE49-F238E27FC236}">
                <a16:creationId xmlns:a16="http://schemas.microsoft.com/office/drawing/2014/main" id="{FD751969-9FF8-4A4E-8A2B-C97969DC1A79}"/>
              </a:ext>
            </a:extLst>
          </p:cNvPr>
          <p:cNvSpPr>
            <a:spLocks noGrp="1"/>
          </p:cNvSpPr>
          <p:nvPr>
            <p:ph type="sldNum" sz="quarter" idx="12"/>
          </p:nvPr>
        </p:nvSpPr>
        <p:spPr/>
        <p:txBody>
          <a:bodyPr/>
          <a:lstStyle/>
          <a:p>
            <a:fld id="{E688E218-EDC1-45FE-BD02-D56DD4A0E21D}" type="slidenum">
              <a:rPr lang="en-US" smtClean="0"/>
              <a:t>6</a:t>
            </a:fld>
            <a:endParaRPr lang="en-US" dirty="0"/>
          </a:p>
        </p:txBody>
      </p:sp>
      <p:pic>
        <p:nvPicPr>
          <p:cNvPr id="12" name="Picture 11">
            <a:extLst>
              <a:ext uri="{FF2B5EF4-FFF2-40B4-BE49-F238E27FC236}">
                <a16:creationId xmlns:a16="http://schemas.microsoft.com/office/drawing/2014/main" id="{1C6D40A5-6997-4128-AAE5-F752C193B0AD}"/>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16485142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Alcohol Regulation in America</a:t>
            </a:r>
            <a:br>
              <a:rPr lang="en-US" sz="3600" b="1" dirty="0">
                <a:latin typeface="Cambria" panose="02040503050406030204" pitchFamily="18" charset="0"/>
              </a:rPr>
            </a:br>
            <a:r>
              <a:rPr lang="en-US" sz="2900" dirty="0">
                <a:latin typeface="Cambria" panose="02040503050406030204" pitchFamily="18" charset="0"/>
              </a:rPr>
              <a:t>How Is Alcohol Regulated in the United States?</a:t>
            </a:r>
          </a:p>
        </p:txBody>
      </p:sp>
      <p:sp>
        <p:nvSpPr>
          <p:cNvPr id="6" name="Rectangle 5">
            <a:extLst>
              <a:ext uri="{FF2B5EF4-FFF2-40B4-BE49-F238E27FC236}">
                <a16:creationId xmlns:a16="http://schemas.microsoft.com/office/drawing/2014/main" id="{0B21CA6A-5A88-4E47-A5ED-32EBDAF15739}"/>
              </a:ext>
            </a:extLst>
          </p:cNvPr>
          <p:cNvSpPr/>
          <p:nvPr/>
        </p:nvSpPr>
        <p:spPr>
          <a:xfrm>
            <a:off x="923923" y="1462332"/>
            <a:ext cx="9953986" cy="5201424"/>
          </a:xfrm>
          <a:prstGeom prst="rect">
            <a:avLst/>
          </a:prstGeom>
        </p:spPr>
        <p:txBody>
          <a:bodyPr wrap="square">
            <a:spAutoFit/>
          </a:bodyPr>
          <a:lstStyle/>
          <a:p>
            <a:pPr marL="285750" indent="-285750">
              <a:buFont typeface="Arial" panose="020B0604020202020204" pitchFamily="34" charset="0"/>
              <a:buChar char="•"/>
            </a:pPr>
            <a:r>
              <a:rPr lang="en-US" sz="2000" dirty="0">
                <a:latin typeface="Cambria" panose="02040503050406030204" pitchFamily="18" charset="0"/>
              </a:rPr>
              <a:t>1933 – Prohibition Ends with 21</a:t>
            </a:r>
            <a:r>
              <a:rPr lang="en-US" sz="2000" baseline="30000" dirty="0">
                <a:latin typeface="Cambria" panose="02040503050406030204" pitchFamily="18" charset="0"/>
              </a:rPr>
              <a:t>st</a:t>
            </a:r>
            <a:r>
              <a:rPr lang="en-US" sz="2000" dirty="0">
                <a:latin typeface="Cambria" panose="02040503050406030204" pitchFamily="18" charset="0"/>
              </a:rPr>
              <a:t> Amendment</a:t>
            </a:r>
          </a:p>
          <a:p>
            <a:pPr marL="285750" indent="-285750">
              <a:buFont typeface="Arial" panose="020B0604020202020204" pitchFamily="34" charset="0"/>
              <a:buChar char="•"/>
            </a:pPr>
            <a:endParaRPr lang="en-US" sz="2000" dirty="0">
              <a:latin typeface="Cambria" panose="02040503050406030204" pitchFamily="18" charset="0"/>
            </a:endParaRPr>
          </a:p>
          <a:p>
            <a:pPr marL="285750" indent="-285750">
              <a:buFont typeface="Arial" panose="020B0604020202020204" pitchFamily="34" charset="0"/>
              <a:buChar char="•"/>
            </a:pPr>
            <a:r>
              <a:rPr lang="en-US" sz="2000" dirty="0">
                <a:latin typeface="Cambria" panose="02040503050406030204" pitchFamily="18" charset="0"/>
              </a:rPr>
              <a:t>21</a:t>
            </a:r>
            <a:r>
              <a:rPr lang="en-US" sz="2000" baseline="30000" dirty="0">
                <a:latin typeface="Cambria" panose="02040503050406030204" pitchFamily="18" charset="0"/>
              </a:rPr>
              <a:t>st</a:t>
            </a:r>
            <a:r>
              <a:rPr lang="en-US" sz="2000" dirty="0">
                <a:latin typeface="Cambria" panose="02040503050406030204" pitchFamily="18" charset="0"/>
              </a:rPr>
              <a:t> Amendment does two things:</a:t>
            </a:r>
          </a:p>
          <a:p>
            <a:pPr marL="742950" lvl="1" indent="-285750">
              <a:buFont typeface="Arial" panose="020B0604020202020204" pitchFamily="34" charset="0"/>
              <a:buChar char="•"/>
            </a:pPr>
            <a:endParaRPr lang="en-US" sz="800" b="1" dirty="0">
              <a:latin typeface="Cambria" panose="02040503050406030204" pitchFamily="18" charset="0"/>
            </a:endParaRPr>
          </a:p>
          <a:p>
            <a:pPr marL="742950" lvl="1" indent="-285750">
              <a:buFont typeface="Arial" panose="020B0604020202020204" pitchFamily="34" charset="0"/>
              <a:buChar char="•"/>
            </a:pPr>
            <a:r>
              <a:rPr lang="en-US" sz="1600" b="1" dirty="0">
                <a:latin typeface="Cambria" panose="02040503050406030204" pitchFamily="18" charset="0"/>
              </a:rPr>
              <a:t>Section 1.</a:t>
            </a:r>
            <a:r>
              <a:rPr lang="en-US" sz="1600" dirty="0">
                <a:latin typeface="Cambria" panose="02040503050406030204" pitchFamily="18" charset="0"/>
              </a:rPr>
              <a:t> The eighteenth article of amendment to the Constitution of the United States is hereby repealed.</a:t>
            </a:r>
          </a:p>
          <a:p>
            <a:pPr lvl="1"/>
            <a:endParaRPr lang="en-US" sz="800" dirty="0">
              <a:latin typeface="Cambria" panose="02040503050406030204" pitchFamily="18" charset="0"/>
            </a:endParaRPr>
          </a:p>
          <a:p>
            <a:pPr marL="742950" lvl="1" indent="-285750">
              <a:buFont typeface="Arial" panose="020B0604020202020204" pitchFamily="34" charset="0"/>
              <a:buChar char="•"/>
            </a:pPr>
            <a:r>
              <a:rPr lang="en-US" sz="1600" b="1" dirty="0">
                <a:latin typeface="Cambria" panose="02040503050406030204" pitchFamily="18" charset="0"/>
              </a:rPr>
              <a:t>Section 2.</a:t>
            </a:r>
            <a:r>
              <a:rPr lang="en-US" sz="1600" dirty="0">
                <a:latin typeface="Cambria" panose="02040503050406030204" pitchFamily="18" charset="0"/>
              </a:rPr>
              <a:t> The transportation or importation into any State, Territory, or possession of the United States for delivery or use therein of intoxicating liquors, in violation of the laws thereof, is hereby prohibited.</a:t>
            </a:r>
          </a:p>
          <a:p>
            <a:pPr marL="285750" indent="-285750">
              <a:buFont typeface="Arial" panose="020B0604020202020204" pitchFamily="34" charset="0"/>
              <a:buChar char="•"/>
            </a:pPr>
            <a:endParaRPr lang="en-US" sz="2000" dirty="0">
              <a:latin typeface="Cambria" panose="02040503050406030204" pitchFamily="18" charset="0"/>
            </a:endParaRPr>
          </a:p>
          <a:p>
            <a:pPr marL="285750" indent="-285750">
              <a:buFont typeface="Arial" panose="020B0604020202020204" pitchFamily="34" charset="0"/>
              <a:buChar char="•"/>
            </a:pPr>
            <a:r>
              <a:rPr lang="en-US" sz="2000" dirty="0">
                <a:latin typeface="Cambria" panose="02040503050406030204" pitchFamily="18" charset="0"/>
              </a:rPr>
              <a:t>States adopt three tier systems (supplier, wholesaler, retailer) to avoid problems (tied-house, etc.) that led to Prohibition</a:t>
            </a:r>
          </a:p>
          <a:p>
            <a:pPr marL="285750" indent="-285750">
              <a:buFont typeface="Arial" panose="020B0604020202020204" pitchFamily="34" charset="0"/>
              <a:buChar char="•"/>
            </a:pPr>
            <a:endParaRPr lang="en-US" sz="2000" dirty="0">
              <a:latin typeface="Cambria" panose="02040503050406030204" pitchFamily="18" charset="0"/>
            </a:endParaRPr>
          </a:p>
          <a:p>
            <a:pPr marL="285750" indent="-285750">
              <a:buFont typeface="Arial" panose="020B0604020202020204" pitchFamily="34" charset="0"/>
              <a:buChar char="•"/>
            </a:pPr>
            <a:r>
              <a:rPr lang="en-US" sz="2000" dirty="0">
                <a:latin typeface="Cambria" panose="02040503050406030204" pitchFamily="18" charset="0"/>
              </a:rPr>
              <a:t>50 different state alcohol regulatory bodies in the United States, tailored to their populaces; can address issues with local understanding</a:t>
            </a:r>
          </a:p>
          <a:p>
            <a:pPr marL="285750" indent="-285750">
              <a:buFont typeface="Arial" panose="020B0604020202020204" pitchFamily="34" charset="0"/>
              <a:buChar char="•"/>
            </a:pPr>
            <a:endParaRPr lang="en-US" sz="2000" dirty="0">
              <a:latin typeface="Cambria" panose="02040503050406030204" pitchFamily="18" charset="0"/>
            </a:endParaRPr>
          </a:p>
          <a:p>
            <a:pPr marL="285750" indent="-285750">
              <a:buFont typeface="Arial" panose="020B0604020202020204" pitchFamily="34" charset="0"/>
              <a:buChar char="•"/>
            </a:pPr>
            <a:r>
              <a:rPr lang="en-US" sz="2000" b="1" dirty="0">
                <a:latin typeface="Cambria" panose="02040503050406030204" pitchFamily="18" charset="0"/>
              </a:rPr>
              <a:t>Q. What has the Three Tier System created? </a:t>
            </a:r>
          </a:p>
          <a:p>
            <a:pPr marL="742950" lvl="1" indent="-285750">
              <a:buFont typeface="Arial" panose="020B0604020202020204" pitchFamily="34" charset="0"/>
              <a:buChar char="•"/>
            </a:pPr>
            <a:endParaRPr lang="en-US" sz="800" b="1" dirty="0">
              <a:latin typeface="Cambria" panose="02040503050406030204" pitchFamily="18" charset="0"/>
            </a:endParaRPr>
          </a:p>
          <a:p>
            <a:pPr marL="742950" lvl="1" indent="-285750">
              <a:buFont typeface="Arial" panose="020B0604020202020204" pitchFamily="34" charset="0"/>
              <a:buChar char="•"/>
            </a:pPr>
            <a:r>
              <a:rPr lang="en-US" sz="2000" i="1" dirty="0">
                <a:latin typeface="Cambria" panose="02040503050406030204" pitchFamily="18" charset="0"/>
              </a:rPr>
              <a:t>A. The most vibrant and diverse alcohol marketplace in world history.</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7</a:t>
            </a:fld>
            <a:endParaRPr lang="en-US" dirty="0"/>
          </a:p>
        </p:txBody>
      </p:sp>
      <p:pic>
        <p:nvPicPr>
          <p:cNvPr id="8" name="Picture 7">
            <a:extLst>
              <a:ext uri="{FF2B5EF4-FFF2-40B4-BE49-F238E27FC236}">
                <a16:creationId xmlns:a16="http://schemas.microsoft.com/office/drawing/2014/main" id="{51A23C87-3749-457B-A3DC-60ADE6CD72CE}"/>
              </a:ext>
            </a:extLst>
          </p:cNvPr>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95012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Alcohol Regulation in America</a:t>
            </a:r>
            <a:br>
              <a:rPr lang="en-US" sz="3200" b="1" dirty="0">
                <a:latin typeface="Cambria" panose="02040503050406030204" pitchFamily="18" charset="0"/>
              </a:rPr>
            </a:br>
            <a:r>
              <a:rPr lang="en-US" sz="2900" dirty="0">
                <a:latin typeface="Cambria" panose="02040503050406030204" pitchFamily="18" charset="0"/>
              </a:rPr>
              <a:t>Open States &amp; Control States</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8</a:t>
            </a:fld>
            <a:endParaRPr lang="en-US" dirty="0"/>
          </a:p>
        </p:txBody>
      </p:sp>
      <p:sp>
        <p:nvSpPr>
          <p:cNvPr id="177" name="AutoShape 2">
            <a:extLst>
              <a:ext uri="{FF2B5EF4-FFF2-40B4-BE49-F238E27FC236}">
                <a16:creationId xmlns:a16="http://schemas.microsoft.com/office/drawing/2014/main" id="{652D55D5-4AB6-48FC-8F1E-44CD69D08F45}"/>
              </a:ext>
            </a:extLst>
          </p:cNvPr>
          <p:cNvSpPr>
            <a:spLocks noChangeAspect="1" noChangeArrowheads="1" noTextEdit="1"/>
          </p:cNvSpPr>
          <p:nvPr>
            <p:custDataLst>
              <p:tags r:id="rId1"/>
            </p:custDataLst>
          </p:nvPr>
        </p:nvSpPr>
        <p:spPr bwMode="auto">
          <a:xfrm>
            <a:off x="3094627" y="1753552"/>
            <a:ext cx="6091604" cy="5397500"/>
          </a:xfrm>
          <a:prstGeom prst="rect">
            <a:avLst/>
          </a:prstGeom>
          <a:noFill/>
          <a:ln w="9525">
            <a:noFill/>
            <a:miter lim="800000"/>
            <a:headEnd/>
            <a:tailEnd/>
          </a:ln>
        </p:spPr>
        <p:txBody>
          <a:bodyPr/>
          <a:lstStyle/>
          <a:p>
            <a:endParaRPr lang="en-US" dirty="0">
              <a:solidFill>
                <a:prstClr val="black"/>
              </a:solidFill>
            </a:endParaRPr>
          </a:p>
        </p:txBody>
      </p:sp>
      <p:sp>
        <p:nvSpPr>
          <p:cNvPr id="178" name="Freeform 10">
            <a:extLst>
              <a:ext uri="{FF2B5EF4-FFF2-40B4-BE49-F238E27FC236}">
                <a16:creationId xmlns:a16="http://schemas.microsoft.com/office/drawing/2014/main" id="{4A37E55B-8735-436D-A5EA-84E31B94A1A5}"/>
              </a:ext>
            </a:extLst>
          </p:cNvPr>
          <p:cNvSpPr>
            <a:spLocks/>
          </p:cNvSpPr>
          <p:nvPr>
            <p:custDataLst>
              <p:tags r:id="rId2"/>
            </p:custDataLst>
          </p:nvPr>
        </p:nvSpPr>
        <p:spPr bwMode="auto">
          <a:xfrm>
            <a:off x="2464208" y="1336098"/>
            <a:ext cx="1010512" cy="789023"/>
          </a:xfrm>
          <a:custGeom>
            <a:avLst/>
            <a:gdLst>
              <a:gd name="T0" fmla="*/ 2147483647 w 499"/>
              <a:gd name="T1" fmla="*/ 2147483647 h 365"/>
              <a:gd name="T2" fmla="*/ 2147483647 w 499"/>
              <a:gd name="T3" fmla="*/ 2147483647 h 365"/>
              <a:gd name="T4" fmla="*/ 2147483647 w 499"/>
              <a:gd name="T5" fmla="*/ 2147483647 h 365"/>
              <a:gd name="T6" fmla="*/ 2147483647 w 499"/>
              <a:gd name="T7" fmla="*/ 2147483647 h 365"/>
              <a:gd name="T8" fmla="*/ 2147483647 w 499"/>
              <a:gd name="T9" fmla="*/ 2147483647 h 365"/>
              <a:gd name="T10" fmla="*/ 2147483647 w 499"/>
              <a:gd name="T11" fmla="*/ 2147483647 h 365"/>
              <a:gd name="T12" fmla="*/ 2147483647 w 499"/>
              <a:gd name="T13" fmla="*/ 2147483647 h 365"/>
              <a:gd name="T14" fmla="*/ 2147483647 w 499"/>
              <a:gd name="T15" fmla="*/ 2147483647 h 365"/>
              <a:gd name="T16" fmla="*/ 2147483647 w 499"/>
              <a:gd name="T17" fmla="*/ 2147483647 h 365"/>
              <a:gd name="T18" fmla="*/ 2147483647 w 499"/>
              <a:gd name="T19" fmla="*/ 2147483647 h 365"/>
              <a:gd name="T20" fmla="*/ 2147483647 w 499"/>
              <a:gd name="T21" fmla="*/ 2147483647 h 365"/>
              <a:gd name="T22" fmla="*/ 2147483647 w 499"/>
              <a:gd name="T23" fmla="*/ 2147483647 h 365"/>
              <a:gd name="T24" fmla="*/ 2147483647 w 499"/>
              <a:gd name="T25" fmla="*/ 2147483647 h 365"/>
              <a:gd name="T26" fmla="*/ 2147483647 w 499"/>
              <a:gd name="T27" fmla="*/ 2147483647 h 365"/>
              <a:gd name="T28" fmla="*/ 2147483647 w 499"/>
              <a:gd name="T29" fmla="*/ 2147483647 h 365"/>
              <a:gd name="T30" fmla="*/ 2147483647 w 499"/>
              <a:gd name="T31" fmla="*/ 2147483647 h 365"/>
              <a:gd name="T32" fmla="*/ 2147483647 w 499"/>
              <a:gd name="T33" fmla="*/ 2147483647 h 365"/>
              <a:gd name="T34" fmla="*/ 2147483647 w 499"/>
              <a:gd name="T35" fmla="*/ 2147483647 h 365"/>
              <a:gd name="T36" fmla="*/ 2147483647 w 499"/>
              <a:gd name="T37" fmla="*/ 2147483647 h 365"/>
              <a:gd name="T38" fmla="*/ 2147483647 w 499"/>
              <a:gd name="T39" fmla="*/ 2147483647 h 365"/>
              <a:gd name="T40" fmla="*/ 2147483647 w 499"/>
              <a:gd name="T41" fmla="*/ 2147483647 h 365"/>
              <a:gd name="T42" fmla="*/ 2147483647 w 499"/>
              <a:gd name="T43" fmla="*/ 2147483647 h 365"/>
              <a:gd name="T44" fmla="*/ 2147483647 w 499"/>
              <a:gd name="T45" fmla="*/ 2147483647 h 365"/>
              <a:gd name="T46" fmla="*/ 2147483647 w 499"/>
              <a:gd name="T47" fmla="*/ 2147483647 h 365"/>
              <a:gd name="T48" fmla="*/ 2147483647 w 499"/>
              <a:gd name="T49" fmla="*/ 2147483647 h 365"/>
              <a:gd name="T50" fmla="*/ 2147483647 w 499"/>
              <a:gd name="T51" fmla="*/ 2147483647 h 365"/>
              <a:gd name="T52" fmla="*/ 2147483647 w 499"/>
              <a:gd name="T53" fmla="*/ 2147483647 h 365"/>
              <a:gd name="T54" fmla="*/ 2147483647 w 499"/>
              <a:gd name="T55" fmla="*/ 2147483647 h 365"/>
              <a:gd name="T56" fmla="*/ 2147483647 w 499"/>
              <a:gd name="T57" fmla="*/ 2147483647 h 365"/>
              <a:gd name="T58" fmla="*/ 2147483647 w 499"/>
              <a:gd name="T59" fmla="*/ 2147483647 h 365"/>
              <a:gd name="T60" fmla="*/ 2147483647 w 499"/>
              <a:gd name="T61" fmla="*/ 2147483647 h 365"/>
              <a:gd name="T62" fmla="*/ 2147483647 w 499"/>
              <a:gd name="T63" fmla="*/ 2147483647 h 365"/>
              <a:gd name="T64" fmla="*/ 2147483647 w 499"/>
              <a:gd name="T65" fmla="*/ 2147483647 h 365"/>
              <a:gd name="T66" fmla="*/ 2147483647 w 499"/>
              <a:gd name="T67" fmla="*/ 2147483647 h 365"/>
              <a:gd name="T68" fmla="*/ 2147483647 w 499"/>
              <a:gd name="T69" fmla="*/ 2147483647 h 365"/>
              <a:gd name="T70" fmla="*/ 2147483647 w 499"/>
              <a:gd name="T71" fmla="*/ 2147483647 h 365"/>
              <a:gd name="T72" fmla="*/ 2147483647 w 499"/>
              <a:gd name="T73" fmla="*/ 2147483647 h 365"/>
              <a:gd name="T74" fmla="*/ 2147483647 w 499"/>
              <a:gd name="T75" fmla="*/ 2147483647 h 365"/>
              <a:gd name="T76" fmla="*/ 2147483647 w 499"/>
              <a:gd name="T77" fmla="*/ 2147483647 h 365"/>
              <a:gd name="T78" fmla="*/ 2147483647 w 499"/>
              <a:gd name="T79" fmla="*/ 2147483647 h 365"/>
              <a:gd name="T80" fmla="*/ 2147483647 w 499"/>
              <a:gd name="T81" fmla="*/ 2147483647 h 365"/>
              <a:gd name="T82" fmla="*/ 2147483647 w 499"/>
              <a:gd name="T83" fmla="*/ 2147483647 h 365"/>
              <a:gd name="T84" fmla="*/ 2147483647 w 499"/>
              <a:gd name="T85" fmla="*/ 2147483647 h 365"/>
              <a:gd name="T86" fmla="*/ 2147483647 w 499"/>
              <a:gd name="T87" fmla="*/ 2147483647 h 365"/>
              <a:gd name="T88" fmla="*/ 2147483647 w 499"/>
              <a:gd name="T89" fmla="*/ 2147483647 h 365"/>
              <a:gd name="T90" fmla="*/ 2147483647 w 499"/>
              <a:gd name="T91" fmla="*/ 2147483647 h 365"/>
              <a:gd name="T92" fmla="*/ 2147483647 w 499"/>
              <a:gd name="T93" fmla="*/ 2147483647 h 365"/>
              <a:gd name="T94" fmla="*/ 2147483647 w 499"/>
              <a:gd name="T95" fmla="*/ 2147483647 h 365"/>
              <a:gd name="T96" fmla="*/ 2147483647 w 499"/>
              <a:gd name="T97" fmla="*/ 2147483647 h 365"/>
              <a:gd name="T98" fmla="*/ 2147483647 w 499"/>
              <a:gd name="T99" fmla="*/ 2147483647 h 365"/>
              <a:gd name="T100" fmla="*/ 2147483647 w 499"/>
              <a:gd name="T101" fmla="*/ 2147483647 h 365"/>
              <a:gd name="T102" fmla="*/ 2147483647 w 499"/>
              <a:gd name="T103" fmla="*/ 2147483647 h 365"/>
              <a:gd name="T104" fmla="*/ 2147483647 w 499"/>
              <a:gd name="T105" fmla="*/ 2147483647 h 365"/>
              <a:gd name="T106" fmla="*/ 2147483647 w 499"/>
              <a:gd name="T107" fmla="*/ 2147483647 h 365"/>
              <a:gd name="T108" fmla="*/ 2147483647 w 499"/>
              <a:gd name="T109" fmla="*/ 2147483647 h 365"/>
              <a:gd name="T110" fmla="*/ 2147483647 w 499"/>
              <a:gd name="T111" fmla="*/ 2147483647 h 365"/>
              <a:gd name="T112" fmla="*/ 2147483647 w 499"/>
              <a:gd name="T113" fmla="*/ 2147483647 h 365"/>
              <a:gd name="T114" fmla="*/ 2147483647 w 499"/>
              <a:gd name="T115" fmla="*/ 2147483647 h 365"/>
              <a:gd name="T116" fmla="*/ 2147483647 w 499"/>
              <a:gd name="T117" fmla="*/ 2147483647 h 365"/>
              <a:gd name="T118" fmla="*/ 2147483647 w 499"/>
              <a:gd name="T119" fmla="*/ 2147483647 h 3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9"/>
              <a:gd name="T181" fmla="*/ 0 h 365"/>
              <a:gd name="T182" fmla="*/ 499 w 499"/>
              <a:gd name="T183" fmla="*/ 365 h 3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9" h="365">
                <a:moveTo>
                  <a:pt x="153" y="76"/>
                </a:moveTo>
                <a:lnTo>
                  <a:pt x="151" y="74"/>
                </a:lnTo>
                <a:lnTo>
                  <a:pt x="149" y="85"/>
                </a:lnTo>
                <a:lnTo>
                  <a:pt x="153" y="91"/>
                </a:lnTo>
                <a:lnTo>
                  <a:pt x="147" y="82"/>
                </a:lnTo>
                <a:lnTo>
                  <a:pt x="147" y="74"/>
                </a:lnTo>
                <a:lnTo>
                  <a:pt x="149" y="72"/>
                </a:lnTo>
                <a:lnTo>
                  <a:pt x="153" y="74"/>
                </a:lnTo>
                <a:lnTo>
                  <a:pt x="158" y="69"/>
                </a:lnTo>
                <a:lnTo>
                  <a:pt x="149" y="56"/>
                </a:lnTo>
                <a:lnTo>
                  <a:pt x="143" y="54"/>
                </a:lnTo>
                <a:lnTo>
                  <a:pt x="143" y="48"/>
                </a:lnTo>
                <a:lnTo>
                  <a:pt x="149" y="48"/>
                </a:lnTo>
                <a:lnTo>
                  <a:pt x="153" y="52"/>
                </a:lnTo>
                <a:lnTo>
                  <a:pt x="156" y="54"/>
                </a:lnTo>
                <a:lnTo>
                  <a:pt x="156" y="44"/>
                </a:lnTo>
                <a:lnTo>
                  <a:pt x="164" y="41"/>
                </a:lnTo>
                <a:lnTo>
                  <a:pt x="160" y="37"/>
                </a:lnTo>
                <a:lnTo>
                  <a:pt x="158" y="31"/>
                </a:lnTo>
                <a:lnTo>
                  <a:pt x="160" y="26"/>
                </a:lnTo>
                <a:lnTo>
                  <a:pt x="151" y="20"/>
                </a:lnTo>
                <a:lnTo>
                  <a:pt x="151" y="7"/>
                </a:lnTo>
                <a:lnTo>
                  <a:pt x="149" y="2"/>
                </a:lnTo>
                <a:lnTo>
                  <a:pt x="153" y="5"/>
                </a:lnTo>
                <a:lnTo>
                  <a:pt x="153" y="0"/>
                </a:lnTo>
                <a:lnTo>
                  <a:pt x="268" y="33"/>
                </a:lnTo>
                <a:lnTo>
                  <a:pt x="328" y="48"/>
                </a:lnTo>
                <a:lnTo>
                  <a:pt x="389" y="65"/>
                </a:lnTo>
                <a:lnTo>
                  <a:pt x="428" y="72"/>
                </a:lnTo>
                <a:lnTo>
                  <a:pt x="475" y="85"/>
                </a:lnTo>
                <a:lnTo>
                  <a:pt x="499" y="89"/>
                </a:lnTo>
                <a:lnTo>
                  <a:pt x="495" y="104"/>
                </a:lnTo>
                <a:lnTo>
                  <a:pt x="480" y="177"/>
                </a:lnTo>
                <a:lnTo>
                  <a:pt x="477" y="184"/>
                </a:lnTo>
                <a:lnTo>
                  <a:pt x="464" y="238"/>
                </a:lnTo>
                <a:lnTo>
                  <a:pt x="462" y="249"/>
                </a:lnTo>
                <a:lnTo>
                  <a:pt x="460" y="262"/>
                </a:lnTo>
                <a:lnTo>
                  <a:pt x="447" y="313"/>
                </a:lnTo>
                <a:lnTo>
                  <a:pt x="445" y="322"/>
                </a:lnTo>
                <a:lnTo>
                  <a:pt x="445" y="328"/>
                </a:lnTo>
                <a:lnTo>
                  <a:pt x="443" y="331"/>
                </a:lnTo>
                <a:lnTo>
                  <a:pt x="445" y="333"/>
                </a:lnTo>
                <a:lnTo>
                  <a:pt x="445" y="335"/>
                </a:lnTo>
                <a:lnTo>
                  <a:pt x="445" y="341"/>
                </a:lnTo>
                <a:lnTo>
                  <a:pt x="445" y="346"/>
                </a:lnTo>
                <a:lnTo>
                  <a:pt x="447" y="350"/>
                </a:lnTo>
                <a:lnTo>
                  <a:pt x="443" y="354"/>
                </a:lnTo>
                <a:lnTo>
                  <a:pt x="443" y="359"/>
                </a:lnTo>
                <a:lnTo>
                  <a:pt x="445" y="365"/>
                </a:lnTo>
                <a:lnTo>
                  <a:pt x="408" y="359"/>
                </a:lnTo>
                <a:lnTo>
                  <a:pt x="400" y="354"/>
                </a:lnTo>
                <a:lnTo>
                  <a:pt x="376" y="350"/>
                </a:lnTo>
                <a:lnTo>
                  <a:pt x="376" y="348"/>
                </a:lnTo>
                <a:lnTo>
                  <a:pt x="313" y="333"/>
                </a:lnTo>
                <a:lnTo>
                  <a:pt x="307" y="335"/>
                </a:lnTo>
                <a:lnTo>
                  <a:pt x="300" y="337"/>
                </a:lnTo>
                <a:lnTo>
                  <a:pt x="298" y="337"/>
                </a:lnTo>
                <a:lnTo>
                  <a:pt x="290" y="335"/>
                </a:lnTo>
                <a:lnTo>
                  <a:pt x="285" y="335"/>
                </a:lnTo>
                <a:lnTo>
                  <a:pt x="283" y="335"/>
                </a:lnTo>
                <a:lnTo>
                  <a:pt x="279" y="335"/>
                </a:lnTo>
                <a:lnTo>
                  <a:pt x="272" y="333"/>
                </a:lnTo>
                <a:lnTo>
                  <a:pt x="270" y="333"/>
                </a:lnTo>
                <a:lnTo>
                  <a:pt x="266" y="335"/>
                </a:lnTo>
                <a:lnTo>
                  <a:pt x="255" y="335"/>
                </a:lnTo>
                <a:lnTo>
                  <a:pt x="253" y="335"/>
                </a:lnTo>
                <a:lnTo>
                  <a:pt x="242" y="335"/>
                </a:lnTo>
                <a:lnTo>
                  <a:pt x="238" y="335"/>
                </a:lnTo>
                <a:lnTo>
                  <a:pt x="233" y="335"/>
                </a:lnTo>
                <a:lnTo>
                  <a:pt x="229" y="341"/>
                </a:lnTo>
                <a:lnTo>
                  <a:pt x="223" y="337"/>
                </a:lnTo>
                <a:lnTo>
                  <a:pt x="214" y="337"/>
                </a:lnTo>
                <a:lnTo>
                  <a:pt x="207" y="335"/>
                </a:lnTo>
                <a:lnTo>
                  <a:pt x="205" y="331"/>
                </a:lnTo>
                <a:lnTo>
                  <a:pt x="203" y="331"/>
                </a:lnTo>
                <a:lnTo>
                  <a:pt x="201" y="331"/>
                </a:lnTo>
                <a:lnTo>
                  <a:pt x="199" y="333"/>
                </a:lnTo>
                <a:lnTo>
                  <a:pt x="186" y="333"/>
                </a:lnTo>
                <a:lnTo>
                  <a:pt x="182" y="335"/>
                </a:lnTo>
                <a:lnTo>
                  <a:pt x="182" y="333"/>
                </a:lnTo>
                <a:lnTo>
                  <a:pt x="179" y="333"/>
                </a:lnTo>
                <a:lnTo>
                  <a:pt x="173" y="331"/>
                </a:lnTo>
                <a:lnTo>
                  <a:pt x="171" y="331"/>
                </a:lnTo>
                <a:lnTo>
                  <a:pt x="169" y="333"/>
                </a:lnTo>
                <a:lnTo>
                  <a:pt x="164" y="333"/>
                </a:lnTo>
                <a:lnTo>
                  <a:pt x="164" y="328"/>
                </a:lnTo>
                <a:lnTo>
                  <a:pt x="158" y="326"/>
                </a:lnTo>
                <a:lnTo>
                  <a:pt x="158" y="322"/>
                </a:lnTo>
                <a:lnTo>
                  <a:pt x="153" y="320"/>
                </a:lnTo>
                <a:lnTo>
                  <a:pt x="151" y="320"/>
                </a:lnTo>
                <a:lnTo>
                  <a:pt x="149" y="320"/>
                </a:lnTo>
                <a:lnTo>
                  <a:pt x="143" y="318"/>
                </a:lnTo>
                <a:lnTo>
                  <a:pt x="134" y="316"/>
                </a:lnTo>
                <a:lnTo>
                  <a:pt x="130" y="316"/>
                </a:lnTo>
                <a:lnTo>
                  <a:pt x="125" y="313"/>
                </a:lnTo>
                <a:lnTo>
                  <a:pt x="121" y="316"/>
                </a:lnTo>
                <a:lnTo>
                  <a:pt x="119" y="316"/>
                </a:lnTo>
                <a:lnTo>
                  <a:pt x="115" y="316"/>
                </a:lnTo>
                <a:lnTo>
                  <a:pt x="110" y="318"/>
                </a:lnTo>
                <a:lnTo>
                  <a:pt x="106" y="318"/>
                </a:lnTo>
                <a:lnTo>
                  <a:pt x="93" y="320"/>
                </a:lnTo>
                <a:lnTo>
                  <a:pt x="91" y="318"/>
                </a:lnTo>
                <a:lnTo>
                  <a:pt x="89" y="316"/>
                </a:lnTo>
                <a:lnTo>
                  <a:pt x="84" y="316"/>
                </a:lnTo>
                <a:lnTo>
                  <a:pt x="76" y="311"/>
                </a:lnTo>
                <a:lnTo>
                  <a:pt x="71" y="309"/>
                </a:lnTo>
                <a:lnTo>
                  <a:pt x="69" y="303"/>
                </a:lnTo>
                <a:lnTo>
                  <a:pt x="65" y="300"/>
                </a:lnTo>
                <a:lnTo>
                  <a:pt x="67" y="294"/>
                </a:lnTo>
                <a:lnTo>
                  <a:pt x="69" y="292"/>
                </a:lnTo>
                <a:lnTo>
                  <a:pt x="67" y="287"/>
                </a:lnTo>
                <a:lnTo>
                  <a:pt x="69" y="283"/>
                </a:lnTo>
                <a:lnTo>
                  <a:pt x="69" y="281"/>
                </a:lnTo>
                <a:lnTo>
                  <a:pt x="69" y="279"/>
                </a:lnTo>
                <a:lnTo>
                  <a:pt x="69" y="272"/>
                </a:lnTo>
                <a:lnTo>
                  <a:pt x="69" y="266"/>
                </a:lnTo>
                <a:lnTo>
                  <a:pt x="67" y="262"/>
                </a:lnTo>
                <a:lnTo>
                  <a:pt x="65" y="255"/>
                </a:lnTo>
                <a:lnTo>
                  <a:pt x="58" y="251"/>
                </a:lnTo>
                <a:lnTo>
                  <a:pt x="56" y="246"/>
                </a:lnTo>
                <a:lnTo>
                  <a:pt x="54" y="246"/>
                </a:lnTo>
                <a:lnTo>
                  <a:pt x="52" y="246"/>
                </a:lnTo>
                <a:lnTo>
                  <a:pt x="46" y="249"/>
                </a:lnTo>
                <a:lnTo>
                  <a:pt x="43" y="246"/>
                </a:lnTo>
                <a:lnTo>
                  <a:pt x="37" y="231"/>
                </a:lnTo>
                <a:lnTo>
                  <a:pt x="26" y="231"/>
                </a:lnTo>
                <a:lnTo>
                  <a:pt x="22" y="227"/>
                </a:lnTo>
                <a:lnTo>
                  <a:pt x="9" y="227"/>
                </a:lnTo>
                <a:lnTo>
                  <a:pt x="7" y="218"/>
                </a:lnTo>
                <a:lnTo>
                  <a:pt x="0" y="221"/>
                </a:lnTo>
                <a:lnTo>
                  <a:pt x="9" y="188"/>
                </a:lnTo>
                <a:lnTo>
                  <a:pt x="11" y="195"/>
                </a:lnTo>
                <a:lnTo>
                  <a:pt x="7" y="212"/>
                </a:lnTo>
                <a:lnTo>
                  <a:pt x="17" y="214"/>
                </a:lnTo>
                <a:lnTo>
                  <a:pt x="15" y="203"/>
                </a:lnTo>
                <a:lnTo>
                  <a:pt x="17" y="203"/>
                </a:lnTo>
                <a:lnTo>
                  <a:pt x="17" y="190"/>
                </a:lnTo>
                <a:lnTo>
                  <a:pt x="20" y="188"/>
                </a:lnTo>
                <a:lnTo>
                  <a:pt x="26" y="186"/>
                </a:lnTo>
                <a:lnTo>
                  <a:pt x="24" y="182"/>
                </a:lnTo>
                <a:lnTo>
                  <a:pt x="15" y="182"/>
                </a:lnTo>
                <a:lnTo>
                  <a:pt x="11" y="180"/>
                </a:lnTo>
                <a:lnTo>
                  <a:pt x="11" y="173"/>
                </a:lnTo>
                <a:lnTo>
                  <a:pt x="11" y="164"/>
                </a:lnTo>
                <a:lnTo>
                  <a:pt x="15" y="164"/>
                </a:lnTo>
                <a:lnTo>
                  <a:pt x="15" y="167"/>
                </a:lnTo>
                <a:lnTo>
                  <a:pt x="17" y="171"/>
                </a:lnTo>
                <a:lnTo>
                  <a:pt x="20" y="167"/>
                </a:lnTo>
                <a:lnTo>
                  <a:pt x="35" y="164"/>
                </a:lnTo>
                <a:lnTo>
                  <a:pt x="24" y="158"/>
                </a:lnTo>
                <a:lnTo>
                  <a:pt x="22" y="154"/>
                </a:lnTo>
                <a:lnTo>
                  <a:pt x="20" y="151"/>
                </a:lnTo>
                <a:lnTo>
                  <a:pt x="11" y="158"/>
                </a:lnTo>
                <a:lnTo>
                  <a:pt x="17" y="138"/>
                </a:lnTo>
                <a:lnTo>
                  <a:pt x="17" y="130"/>
                </a:lnTo>
                <a:lnTo>
                  <a:pt x="15" y="119"/>
                </a:lnTo>
                <a:lnTo>
                  <a:pt x="17" y="104"/>
                </a:lnTo>
                <a:lnTo>
                  <a:pt x="20" y="91"/>
                </a:lnTo>
                <a:lnTo>
                  <a:pt x="17" y="74"/>
                </a:lnTo>
                <a:lnTo>
                  <a:pt x="11" y="67"/>
                </a:lnTo>
                <a:lnTo>
                  <a:pt x="11" y="39"/>
                </a:lnTo>
                <a:lnTo>
                  <a:pt x="15" y="35"/>
                </a:lnTo>
                <a:lnTo>
                  <a:pt x="20" y="20"/>
                </a:lnTo>
                <a:lnTo>
                  <a:pt x="26" y="24"/>
                </a:lnTo>
                <a:lnTo>
                  <a:pt x="56" y="54"/>
                </a:lnTo>
                <a:lnTo>
                  <a:pt x="91" y="69"/>
                </a:lnTo>
                <a:lnTo>
                  <a:pt x="108" y="69"/>
                </a:lnTo>
                <a:lnTo>
                  <a:pt x="119" y="80"/>
                </a:lnTo>
                <a:lnTo>
                  <a:pt x="119" y="82"/>
                </a:lnTo>
                <a:lnTo>
                  <a:pt x="125" y="76"/>
                </a:lnTo>
                <a:lnTo>
                  <a:pt x="130" y="76"/>
                </a:lnTo>
                <a:lnTo>
                  <a:pt x="125" y="82"/>
                </a:lnTo>
                <a:lnTo>
                  <a:pt x="132" y="100"/>
                </a:lnTo>
                <a:lnTo>
                  <a:pt x="130" y="104"/>
                </a:lnTo>
                <a:lnTo>
                  <a:pt x="123" y="106"/>
                </a:lnTo>
                <a:lnTo>
                  <a:pt x="119" y="106"/>
                </a:lnTo>
                <a:lnTo>
                  <a:pt x="119" y="102"/>
                </a:lnTo>
                <a:lnTo>
                  <a:pt x="117" y="104"/>
                </a:lnTo>
                <a:lnTo>
                  <a:pt x="108" y="117"/>
                </a:lnTo>
                <a:lnTo>
                  <a:pt x="104" y="121"/>
                </a:lnTo>
                <a:lnTo>
                  <a:pt x="91" y="132"/>
                </a:lnTo>
                <a:lnTo>
                  <a:pt x="87" y="141"/>
                </a:lnTo>
                <a:lnTo>
                  <a:pt x="93" y="145"/>
                </a:lnTo>
                <a:lnTo>
                  <a:pt x="106" y="138"/>
                </a:lnTo>
                <a:lnTo>
                  <a:pt x="93" y="141"/>
                </a:lnTo>
                <a:lnTo>
                  <a:pt x="89" y="138"/>
                </a:lnTo>
                <a:lnTo>
                  <a:pt x="100" y="130"/>
                </a:lnTo>
                <a:lnTo>
                  <a:pt x="106" y="121"/>
                </a:lnTo>
                <a:lnTo>
                  <a:pt x="119" y="121"/>
                </a:lnTo>
                <a:lnTo>
                  <a:pt x="123" y="113"/>
                </a:lnTo>
                <a:lnTo>
                  <a:pt x="132" y="106"/>
                </a:lnTo>
                <a:lnTo>
                  <a:pt x="134" y="100"/>
                </a:lnTo>
                <a:lnTo>
                  <a:pt x="138" y="102"/>
                </a:lnTo>
                <a:lnTo>
                  <a:pt x="138" y="117"/>
                </a:lnTo>
                <a:lnTo>
                  <a:pt x="125" y="119"/>
                </a:lnTo>
                <a:lnTo>
                  <a:pt x="125" y="132"/>
                </a:lnTo>
                <a:lnTo>
                  <a:pt x="130" y="132"/>
                </a:lnTo>
                <a:lnTo>
                  <a:pt x="130" y="136"/>
                </a:lnTo>
                <a:lnTo>
                  <a:pt x="130" y="138"/>
                </a:lnTo>
                <a:lnTo>
                  <a:pt x="123" y="147"/>
                </a:lnTo>
                <a:lnTo>
                  <a:pt x="123" y="149"/>
                </a:lnTo>
                <a:lnTo>
                  <a:pt x="119" y="154"/>
                </a:lnTo>
                <a:lnTo>
                  <a:pt x="121" y="158"/>
                </a:lnTo>
                <a:lnTo>
                  <a:pt x="119" y="162"/>
                </a:lnTo>
                <a:lnTo>
                  <a:pt x="117" y="156"/>
                </a:lnTo>
                <a:lnTo>
                  <a:pt x="117" y="158"/>
                </a:lnTo>
                <a:lnTo>
                  <a:pt x="110" y="154"/>
                </a:lnTo>
                <a:lnTo>
                  <a:pt x="119" y="147"/>
                </a:lnTo>
                <a:lnTo>
                  <a:pt x="110" y="149"/>
                </a:lnTo>
                <a:lnTo>
                  <a:pt x="106" y="156"/>
                </a:lnTo>
                <a:lnTo>
                  <a:pt x="108" y="162"/>
                </a:lnTo>
                <a:lnTo>
                  <a:pt x="104" y="164"/>
                </a:lnTo>
                <a:lnTo>
                  <a:pt x="104" y="156"/>
                </a:lnTo>
                <a:lnTo>
                  <a:pt x="108" y="149"/>
                </a:lnTo>
                <a:lnTo>
                  <a:pt x="106" y="147"/>
                </a:lnTo>
                <a:lnTo>
                  <a:pt x="102" y="151"/>
                </a:lnTo>
                <a:lnTo>
                  <a:pt x="84" y="154"/>
                </a:lnTo>
                <a:lnTo>
                  <a:pt x="84" y="167"/>
                </a:lnTo>
                <a:lnTo>
                  <a:pt x="87" y="167"/>
                </a:lnTo>
                <a:lnTo>
                  <a:pt x="91" y="171"/>
                </a:lnTo>
                <a:lnTo>
                  <a:pt x="102" y="169"/>
                </a:lnTo>
                <a:lnTo>
                  <a:pt x="104" y="173"/>
                </a:lnTo>
                <a:lnTo>
                  <a:pt x="106" y="171"/>
                </a:lnTo>
                <a:lnTo>
                  <a:pt x="117" y="167"/>
                </a:lnTo>
                <a:lnTo>
                  <a:pt x="121" y="158"/>
                </a:lnTo>
                <a:lnTo>
                  <a:pt x="121" y="154"/>
                </a:lnTo>
                <a:lnTo>
                  <a:pt x="130" y="162"/>
                </a:lnTo>
                <a:lnTo>
                  <a:pt x="132" y="162"/>
                </a:lnTo>
                <a:lnTo>
                  <a:pt x="130" y="158"/>
                </a:lnTo>
                <a:lnTo>
                  <a:pt x="130" y="156"/>
                </a:lnTo>
                <a:lnTo>
                  <a:pt x="136" y="156"/>
                </a:lnTo>
                <a:lnTo>
                  <a:pt x="138" y="151"/>
                </a:lnTo>
                <a:lnTo>
                  <a:pt x="136" y="141"/>
                </a:lnTo>
                <a:lnTo>
                  <a:pt x="138" y="134"/>
                </a:lnTo>
                <a:lnTo>
                  <a:pt x="138" y="126"/>
                </a:lnTo>
                <a:lnTo>
                  <a:pt x="143" y="117"/>
                </a:lnTo>
                <a:lnTo>
                  <a:pt x="153" y="102"/>
                </a:lnTo>
                <a:lnTo>
                  <a:pt x="158" y="102"/>
                </a:lnTo>
                <a:lnTo>
                  <a:pt x="160" y="100"/>
                </a:lnTo>
                <a:lnTo>
                  <a:pt x="153" y="85"/>
                </a:lnTo>
                <a:lnTo>
                  <a:pt x="153" y="76"/>
                </a:lnTo>
                <a:close/>
              </a:path>
            </a:pathLst>
          </a:custGeom>
          <a:solidFill>
            <a:schemeClr val="bg1"/>
          </a:solidFill>
          <a:ln w="9525">
            <a:noFill/>
            <a:round/>
            <a:headEnd/>
            <a:tailEnd/>
          </a:ln>
        </p:spPr>
        <p:txBody>
          <a:bodyPr/>
          <a:lstStyle/>
          <a:p>
            <a:endParaRPr lang="en-US" dirty="0">
              <a:solidFill>
                <a:prstClr val="black"/>
              </a:solidFill>
            </a:endParaRPr>
          </a:p>
        </p:txBody>
      </p:sp>
      <p:sp>
        <p:nvSpPr>
          <p:cNvPr id="179" name="Freeform 12">
            <a:extLst>
              <a:ext uri="{FF2B5EF4-FFF2-40B4-BE49-F238E27FC236}">
                <a16:creationId xmlns:a16="http://schemas.microsoft.com/office/drawing/2014/main" id="{2FD413F3-17A9-48E7-B2BE-EB04B3C0F6E1}"/>
              </a:ext>
            </a:extLst>
          </p:cNvPr>
          <p:cNvSpPr>
            <a:spLocks/>
          </p:cNvSpPr>
          <p:nvPr>
            <p:custDataLst>
              <p:tags r:id="rId3"/>
            </p:custDataLst>
          </p:nvPr>
        </p:nvSpPr>
        <p:spPr bwMode="auto">
          <a:xfrm>
            <a:off x="3555845" y="1556599"/>
            <a:ext cx="1534401" cy="1050587"/>
          </a:xfrm>
          <a:custGeom>
            <a:avLst/>
            <a:gdLst>
              <a:gd name="T0" fmla="*/ 2147483647 w 758"/>
              <a:gd name="T1" fmla="*/ 2147483647 h 486"/>
              <a:gd name="T2" fmla="*/ 2147483647 w 758"/>
              <a:gd name="T3" fmla="*/ 2147483647 h 486"/>
              <a:gd name="T4" fmla="*/ 2147483647 w 758"/>
              <a:gd name="T5" fmla="*/ 2147483647 h 486"/>
              <a:gd name="T6" fmla="*/ 2147483647 w 758"/>
              <a:gd name="T7" fmla="*/ 2147483647 h 486"/>
              <a:gd name="T8" fmla="*/ 2147483647 w 758"/>
              <a:gd name="T9" fmla="*/ 2147483647 h 486"/>
              <a:gd name="T10" fmla="*/ 2147483647 w 758"/>
              <a:gd name="T11" fmla="*/ 2147483647 h 486"/>
              <a:gd name="T12" fmla="*/ 2147483647 w 758"/>
              <a:gd name="T13" fmla="*/ 2147483647 h 486"/>
              <a:gd name="T14" fmla="*/ 2147483647 w 758"/>
              <a:gd name="T15" fmla="*/ 2147483647 h 486"/>
              <a:gd name="T16" fmla="*/ 2147483647 w 758"/>
              <a:gd name="T17" fmla="*/ 2147483647 h 486"/>
              <a:gd name="T18" fmla="*/ 2147483647 w 758"/>
              <a:gd name="T19" fmla="*/ 2147483647 h 486"/>
              <a:gd name="T20" fmla="*/ 2147483647 w 758"/>
              <a:gd name="T21" fmla="*/ 2147483647 h 486"/>
              <a:gd name="T22" fmla="*/ 2147483647 w 758"/>
              <a:gd name="T23" fmla="*/ 2147483647 h 486"/>
              <a:gd name="T24" fmla="*/ 2147483647 w 758"/>
              <a:gd name="T25" fmla="*/ 2147483647 h 486"/>
              <a:gd name="T26" fmla="*/ 2147483647 w 758"/>
              <a:gd name="T27" fmla="*/ 2147483647 h 486"/>
              <a:gd name="T28" fmla="*/ 2147483647 w 758"/>
              <a:gd name="T29" fmla="*/ 2147483647 h 486"/>
              <a:gd name="T30" fmla="*/ 2147483647 w 758"/>
              <a:gd name="T31" fmla="*/ 2147483647 h 486"/>
              <a:gd name="T32" fmla="*/ 2147483647 w 758"/>
              <a:gd name="T33" fmla="*/ 2147483647 h 486"/>
              <a:gd name="T34" fmla="*/ 2147483647 w 758"/>
              <a:gd name="T35" fmla="*/ 2147483647 h 486"/>
              <a:gd name="T36" fmla="*/ 2147483647 w 758"/>
              <a:gd name="T37" fmla="*/ 2147483647 h 486"/>
              <a:gd name="T38" fmla="*/ 2147483647 w 758"/>
              <a:gd name="T39" fmla="*/ 2147483647 h 486"/>
              <a:gd name="T40" fmla="*/ 2147483647 w 758"/>
              <a:gd name="T41" fmla="*/ 2147483647 h 486"/>
              <a:gd name="T42" fmla="*/ 2147483647 w 758"/>
              <a:gd name="T43" fmla="*/ 2147483647 h 486"/>
              <a:gd name="T44" fmla="*/ 2147483647 w 758"/>
              <a:gd name="T45" fmla="*/ 2147483647 h 486"/>
              <a:gd name="T46" fmla="*/ 2147483647 w 758"/>
              <a:gd name="T47" fmla="*/ 2147483647 h 486"/>
              <a:gd name="T48" fmla="*/ 2147483647 w 758"/>
              <a:gd name="T49" fmla="*/ 2147483647 h 486"/>
              <a:gd name="T50" fmla="*/ 2147483647 w 758"/>
              <a:gd name="T51" fmla="*/ 2147483647 h 486"/>
              <a:gd name="T52" fmla="*/ 2147483647 w 758"/>
              <a:gd name="T53" fmla="*/ 2147483647 h 486"/>
              <a:gd name="T54" fmla="*/ 2147483647 w 758"/>
              <a:gd name="T55" fmla="*/ 2147483647 h 486"/>
              <a:gd name="T56" fmla="*/ 2147483647 w 758"/>
              <a:gd name="T57" fmla="*/ 2147483647 h 486"/>
              <a:gd name="T58" fmla="*/ 2147483647 w 758"/>
              <a:gd name="T59" fmla="*/ 2147483647 h 486"/>
              <a:gd name="T60" fmla="*/ 2147483647 w 758"/>
              <a:gd name="T61" fmla="*/ 2147483647 h 486"/>
              <a:gd name="T62" fmla="*/ 2147483647 w 758"/>
              <a:gd name="T63" fmla="*/ 2147483647 h 486"/>
              <a:gd name="T64" fmla="*/ 2147483647 w 758"/>
              <a:gd name="T65" fmla="*/ 2147483647 h 486"/>
              <a:gd name="T66" fmla="*/ 2147483647 w 758"/>
              <a:gd name="T67" fmla="*/ 2147483647 h 486"/>
              <a:gd name="T68" fmla="*/ 2147483647 w 758"/>
              <a:gd name="T69" fmla="*/ 2147483647 h 486"/>
              <a:gd name="T70" fmla="*/ 2147483647 w 758"/>
              <a:gd name="T71" fmla="*/ 2147483647 h 486"/>
              <a:gd name="T72" fmla="*/ 2147483647 w 758"/>
              <a:gd name="T73" fmla="*/ 2147483647 h 486"/>
              <a:gd name="T74" fmla="*/ 2147483647 w 758"/>
              <a:gd name="T75" fmla="*/ 2147483647 h 486"/>
              <a:gd name="T76" fmla="*/ 2147483647 w 758"/>
              <a:gd name="T77" fmla="*/ 2147483647 h 486"/>
              <a:gd name="T78" fmla="*/ 2147483647 w 758"/>
              <a:gd name="T79" fmla="*/ 2147483647 h 486"/>
              <a:gd name="T80" fmla="*/ 0 w 758"/>
              <a:gd name="T81" fmla="*/ 2147483647 h 486"/>
              <a:gd name="T82" fmla="*/ 2147483647 w 758"/>
              <a:gd name="T83" fmla="*/ 2147483647 h 486"/>
              <a:gd name="T84" fmla="*/ 2147483647 w 758"/>
              <a:gd name="T85" fmla="*/ 2147483647 h 486"/>
              <a:gd name="T86" fmla="*/ 2147483647 w 758"/>
              <a:gd name="T87" fmla="*/ 2147483647 h 486"/>
              <a:gd name="T88" fmla="*/ 2147483647 w 758"/>
              <a:gd name="T89" fmla="*/ 2147483647 h 486"/>
              <a:gd name="T90" fmla="*/ 2147483647 w 758"/>
              <a:gd name="T91" fmla="*/ 2147483647 h 486"/>
              <a:gd name="T92" fmla="*/ 2147483647 w 758"/>
              <a:gd name="T93" fmla="*/ 2147483647 h 486"/>
              <a:gd name="T94" fmla="*/ 2147483647 w 758"/>
              <a:gd name="T95" fmla="*/ 2147483647 h 486"/>
              <a:gd name="T96" fmla="*/ 2147483647 w 758"/>
              <a:gd name="T97" fmla="*/ 2147483647 h 486"/>
              <a:gd name="T98" fmla="*/ 2147483647 w 758"/>
              <a:gd name="T99" fmla="*/ 2147483647 h 486"/>
              <a:gd name="T100" fmla="*/ 2147483647 w 758"/>
              <a:gd name="T101" fmla="*/ 2147483647 h 486"/>
              <a:gd name="T102" fmla="*/ 2147483647 w 758"/>
              <a:gd name="T103" fmla="*/ 2147483647 h 4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8"/>
              <a:gd name="T157" fmla="*/ 0 h 486"/>
              <a:gd name="T158" fmla="*/ 758 w 758"/>
              <a:gd name="T159" fmla="*/ 486 h 48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8" h="486">
                <a:moveTo>
                  <a:pt x="233" y="449"/>
                </a:moveTo>
                <a:lnTo>
                  <a:pt x="233" y="453"/>
                </a:lnTo>
                <a:lnTo>
                  <a:pt x="233" y="455"/>
                </a:lnTo>
                <a:lnTo>
                  <a:pt x="233" y="457"/>
                </a:lnTo>
                <a:lnTo>
                  <a:pt x="231" y="457"/>
                </a:lnTo>
                <a:lnTo>
                  <a:pt x="229" y="460"/>
                </a:lnTo>
                <a:lnTo>
                  <a:pt x="231" y="464"/>
                </a:lnTo>
                <a:lnTo>
                  <a:pt x="231" y="468"/>
                </a:lnTo>
                <a:lnTo>
                  <a:pt x="225" y="464"/>
                </a:lnTo>
                <a:lnTo>
                  <a:pt x="222" y="464"/>
                </a:lnTo>
                <a:lnTo>
                  <a:pt x="218" y="462"/>
                </a:lnTo>
                <a:lnTo>
                  <a:pt x="216" y="464"/>
                </a:lnTo>
                <a:lnTo>
                  <a:pt x="212" y="464"/>
                </a:lnTo>
                <a:lnTo>
                  <a:pt x="207" y="464"/>
                </a:lnTo>
                <a:lnTo>
                  <a:pt x="205" y="460"/>
                </a:lnTo>
                <a:lnTo>
                  <a:pt x="201" y="460"/>
                </a:lnTo>
                <a:lnTo>
                  <a:pt x="199" y="462"/>
                </a:lnTo>
                <a:lnTo>
                  <a:pt x="196" y="460"/>
                </a:lnTo>
                <a:lnTo>
                  <a:pt x="192" y="462"/>
                </a:lnTo>
                <a:lnTo>
                  <a:pt x="192" y="460"/>
                </a:lnTo>
                <a:lnTo>
                  <a:pt x="188" y="460"/>
                </a:lnTo>
                <a:lnTo>
                  <a:pt x="184" y="457"/>
                </a:lnTo>
                <a:lnTo>
                  <a:pt x="181" y="457"/>
                </a:lnTo>
                <a:lnTo>
                  <a:pt x="181" y="455"/>
                </a:lnTo>
                <a:lnTo>
                  <a:pt x="179" y="457"/>
                </a:lnTo>
                <a:lnTo>
                  <a:pt x="173" y="457"/>
                </a:lnTo>
                <a:lnTo>
                  <a:pt x="173" y="460"/>
                </a:lnTo>
                <a:lnTo>
                  <a:pt x="171" y="464"/>
                </a:lnTo>
                <a:lnTo>
                  <a:pt x="166" y="464"/>
                </a:lnTo>
                <a:lnTo>
                  <a:pt x="166" y="462"/>
                </a:lnTo>
                <a:lnTo>
                  <a:pt x="160" y="462"/>
                </a:lnTo>
                <a:lnTo>
                  <a:pt x="158" y="460"/>
                </a:lnTo>
                <a:lnTo>
                  <a:pt x="153" y="457"/>
                </a:lnTo>
                <a:lnTo>
                  <a:pt x="149" y="455"/>
                </a:lnTo>
                <a:lnTo>
                  <a:pt x="147" y="457"/>
                </a:lnTo>
                <a:lnTo>
                  <a:pt x="142" y="457"/>
                </a:lnTo>
                <a:lnTo>
                  <a:pt x="140" y="462"/>
                </a:lnTo>
                <a:lnTo>
                  <a:pt x="140" y="464"/>
                </a:lnTo>
                <a:lnTo>
                  <a:pt x="138" y="468"/>
                </a:lnTo>
                <a:lnTo>
                  <a:pt x="136" y="464"/>
                </a:lnTo>
                <a:lnTo>
                  <a:pt x="136" y="462"/>
                </a:lnTo>
                <a:lnTo>
                  <a:pt x="132" y="462"/>
                </a:lnTo>
                <a:lnTo>
                  <a:pt x="127" y="457"/>
                </a:lnTo>
                <a:lnTo>
                  <a:pt x="127" y="453"/>
                </a:lnTo>
                <a:lnTo>
                  <a:pt x="127" y="449"/>
                </a:lnTo>
                <a:lnTo>
                  <a:pt x="127" y="447"/>
                </a:lnTo>
                <a:lnTo>
                  <a:pt x="125" y="442"/>
                </a:lnTo>
                <a:lnTo>
                  <a:pt x="127" y="440"/>
                </a:lnTo>
                <a:lnTo>
                  <a:pt x="127" y="436"/>
                </a:lnTo>
                <a:lnTo>
                  <a:pt x="125" y="432"/>
                </a:lnTo>
                <a:lnTo>
                  <a:pt x="125" y="429"/>
                </a:lnTo>
                <a:lnTo>
                  <a:pt x="125" y="427"/>
                </a:lnTo>
                <a:lnTo>
                  <a:pt x="119" y="421"/>
                </a:lnTo>
                <a:lnTo>
                  <a:pt x="114" y="423"/>
                </a:lnTo>
                <a:lnTo>
                  <a:pt x="110" y="423"/>
                </a:lnTo>
                <a:lnTo>
                  <a:pt x="110" y="421"/>
                </a:lnTo>
                <a:lnTo>
                  <a:pt x="108" y="419"/>
                </a:lnTo>
                <a:lnTo>
                  <a:pt x="106" y="414"/>
                </a:lnTo>
                <a:lnTo>
                  <a:pt x="104" y="408"/>
                </a:lnTo>
                <a:lnTo>
                  <a:pt x="106" y="406"/>
                </a:lnTo>
                <a:lnTo>
                  <a:pt x="108" y="406"/>
                </a:lnTo>
                <a:lnTo>
                  <a:pt x="108" y="399"/>
                </a:lnTo>
                <a:lnTo>
                  <a:pt x="108" y="397"/>
                </a:lnTo>
                <a:lnTo>
                  <a:pt x="106" y="395"/>
                </a:lnTo>
                <a:lnTo>
                  <a:pt x="106" y="393"/>
                </a:lnTo>
                <a:lnTo>
                  <a:pt x="106" y="391"/>
                </a:lnTo>
                <a:lnTo>
                  <a:pt x="104" y="391"/>
                </a:lnTo>
                <a:lnTo>
                  <a:pt x="104" y="388"/>
                </a:lnTo>
                <a:lnTo>
                  <a:pt x="101" y="386"/>
                </a:lnTo>
                <a:lnTo>
                  <a:pt x="101" y="382"/>
                </a:lnTo>
                <a:lnTo>
                  <a:pt x="99" y="380"/>
                </a:lnTo>
                <a:lnTo>
                  <a:pt x="99" y="373"/>
                </a:lnTo>
                <a:lnTo>
                  <a:pt x="97" y="367"/>
                </a:lnTo>
                <a:lnTo>
                  <a:pt x="97" y="362"/>
                </a:lnTo>
                <a:lnTo>
                  <a:pt x="93" y="358"/>
                </a:lnTo>
                <a:lnTo>
                  <a:pt x="93" y="356"/>
                </a:lnTo>
                <a:lnTo>
                  <a:pt x="97" y="354"/>
                </a:lnTo>
                <a:lnTo>
                  <a:pt x="97" y="350"/>
                </a:lnTo>
                <a:lnTo>
                  <a:pt x="97" y="347"/>
                </a:lnTo>
                <a:lnTo>
                  <a:pt x="93" y="347"/>
                </a:lnTo>
                <a:lnTo>
                  <a:pt x="97" y="343"/>
                </a:lnTo>
                <a:lnTo>
                  <a:pt x="97" y="341"/>
                </a:lnTo>
                <a:lnTo>
                  <a:pt x="93" y="341"/>
                </a:lnTo>
                <a:lnTo>
                  <a:pt x="91" y="339"/>
                </a:lnTo>
                <a:lnTo>
                  <a:pt x="91" y="334"/>
                </a:lnTo>
                <a:lnTo>
                  <a:pt x="89" y="334"/>
                </a:lnTo>
                <a:lnTo>
                  <a:pt x="89" y="332"/>
                </a:lnTo>
                <a:lnTo>
                  <a:pt x="86" y="332"/>
                </a:lnTo>
                <a:lnTo>
                  <a:pt x="86" y="330"/>
                </a:lnTo>
                <a:lnTo>
                  <a:pt x="84" y="330"/>
                </a:lnTo>
                <a:lnTo>
                  <a:pt x="84" y="332"/>
                </a:lnTo>
                <a:lnTo>
                  <a:pt x="84" y="334"/>
                </a:lnTo>
                <a:lnTo>
                  <a:pt x="82" y="334"/>
                </a:lnTo>
                <a:lnTo>
                  <a:pt x="78" y="339"/>
                </a:lnTo>
                <a:lnTo>
                  <a:pt x="76" y="341"/>
                </a:lnTo>
                <a:lnTo>
                  <a:pt x="73" y="341"/>
                </a:lnTo>
                <a:lnTo>
                  <a:pt x="71" y="343"/>
                </a:lnTo>
                <a:lnTo>
                  <a:pt x="69" y="343"/>
                </a:lnTo>
                <a:lnTo>
                  <a:pt x="67" y="341"/>
                </a:lnTo>
                <a:lnTo>
                  <a:pt x="67" y="345"/>
                </a:lnTo>
                <a:lnTo>
                  <a:pt x="65" y="345"/>
                </a:lnTo>
                <a:lnTo>
                  <a:pt x="58" y="347"/>
                </a:lnTo>
                <a:lnTo>
                  <a:pt x="56" y="345"/>
                </a:lnTo>
                <a:lnTo>
                  <a:pt x="54" y="343"/>
                </a:lnTo>
                <a:lnTo>
                  <a:pt x="54" y="341"/>
                </a:lnTo>
                <a:lnTo>
                  <a:pt x="54" y="339"/>
                </a:lnTo>
                <a:lnTo>
                  <a:pt x="52" y="339"/>
                </a:lnTo>
                <a:lnTo>
                  <a:pt x="50" y="334"/>
                </a:lnTo>
                <a:lnTo>
                  <a:pt x="45" y="334"/>
                </a:lnTo>
                <a:lnTo>
                  <a:pt x="50" y="332"/>
                </a:lnTo>
                <a:lnTo>
                  <a:pt x="45" y="330"/>
                </a:lnTo>
                <a:lnTo>
                  <a:pt x="52" y="328"/>
                </a:lnTo>
                <a:lnTo>
                  <a:pt x="52" y="326"/>
                </a:lnTo>
                <a:lnTo>
                  <a:pt x="54" y="324"/>
                </a:lnTo>
                <a:lnTo>
                  <a:pt x="52" y="321"/>
                </a:lnTo>
                <a:lnTo>
                  <a:pt x="52" y="317"/>
                </a:lnTo>
                <a:lnTo>
                  <a:pt x="50" y="315"/>
                </a:lnTo>
                <a:lnTo>
                  <a:pt x="54" y="313"/>
                </a:lnTo>
                <a:lnTo>
                  <a:pt x="56" y="311"/>
                </a:lnTo>
                <a:lnTo>
                  <a:pt x="58" y="311"/>
                </a:lnTo>
                <a:lnTo>
                  <a:pt x="60" y="311"/>
                </a:lnTo>
                <a:lnTo>
                  <a:pt x="65" y="308"/>
                </a:lnTo>
                <a:lnTo>
                  <a:pt x="60" y="306"/>
                </a:lnTo>
                <a:lnTo>
                  <a:pt x="60" y="304"/>
                </a:lnTo>
                <a:lnTo>
                  <a:pt x="65" y="300"/>
                </a:lnTo>
                <a:lnTo>
                  <a:pt x="65" y="298"/>
                </a:lnTo>
                <a:lnTo>
                  <a:pt x="58" y="296"/>
                </a:lnTo>
                <a:lnTo>
                  <a:pt x="60" y="296"/>
                </a:lnTo>
                <a:lnTo>
                  <a:pt x="58" y="293"/>
                </a:lnTo>
                <a:lnTo>
                  <a:pt x="60" y="291"/>
                </a:lnTo>
                <a:lnTo>
                  <a:pt x="65" y="289"/>
                </a:lnTo>
                <a:lnTo>
                  <a:pt x="60" y="285"/>
                </a:lnTo>
                <a:lnTo>
                  <a:pt x="58" y="283"/>
                </a:lnTo>
                <a:lnTo>
                  <a:pt x="60" y="280"/>
                </a:lnTo>
                <a:lnTo>
                  <a:pt x="65" y="280"/>
                </a:lnTo>
                <a:lnTo>
                  <a:pt x="67" y="280"/>
                </a:lnTo>
                <a:lnTo>
                  <a:pt x="67" y="276"/>
                </a:lnTo>
                <a:lnTo>
                  <a:pt x="65" y="274"/>
                </a:lnTo>
                <a:lnTo>
                  <a:pt x="69" y="272"/>
                </a:lnTo>
                <a:lnTo>
                  <a:pt x="71" y="261"/>
                </a:lnTo>
                <a:lnTo>
                  <a:pt x="73" y="259"/>
                </a:lnTo>
                <a:lnTo>
                  <a:pt x="73" y="250"/>
                </a:lnTo>
                <a:lnTo>
                  <a:pt x="76" y="250"/>
                </a:lnTo>
                <a:lnTo>
                  <a:pt x="78" y="244"/>
                </a:lnTo>
                <a:lnTo>
                  <a:pt x="82" y="242"/>
                </a:lnTo>
                <a:lnTo>
                  <a:pt x="82" y="239"/>
                </a:lnTo>
                <a:lnTo>
                  <a:pt x="78" y="235"/>
                </a:lnTo>
                <a:lnTo>
                  <a:pt x="73" y="235"/>
                </a:lnTo>
                <a:lnTo>
                  <a:pt x="71" y="239"/>
                </a:lnTo>
                <a:lnTo>
                  <a:pt x="69" y="235"/>
                </a:lnTo>
                <a:lnTo>
                  <a:pt x="65" y="235"/>
                </a:lnTo>
                <a:lnTo>
                  <a:pt x="60" y="233"/>
                </a:lnTo>
                <a:lnTo>
                  <a:pt x="60" y="231"/>
                </a:lnTo>
                <a:lnTo>
                  <a:pt x="65" y="231"/>
                </a:lnTo>
                <a:lnTo>
                  <a:pt x="60" y="226"/>
                </a:lnTo>
                <a:lnTo>
                  <a:pt x="58" y="226"/>
                </a:lnTo>
                <a:lnTo>
                  <a:pt x="56" y="229"/>
                </a:lnTo>
                <a:lnTo>
                  <a:pt x="54" y="229"/>
                </a:lnTo>
                <a:lnTo>
                  <a:pt x="54" y="224"/>
                </a:lnTo>
                <a:lnTo>
                  <a:pt x="54" y="220"/>
                </a:lnTo>
                <a:lnTo>
                  <a:pt x="52" y="220"/>
                </a:lnTo>
                <a:lnTo>
                  <a:pt x="50" y="218"/>
                </a:lnTo>
                <a:lnTo>
                  <a:pt x="45" y="216"/>
                </a:lnTo>
                <a:lnTo>
                  <a:pt x="45" y="211"/>
                </a:lnTo>
                <a:lnTo>
                  <a:pt x="45" y="209"/>
                </a:lnTo>
                <a:lnTo>
                  <a:pt x="50" y="207"/>
                </a:lnTo>
                <a:lnTo>
                  <a:pt x="45" y="203"/>
                </a:lnTo>
                <a:lnTo>
                  <a:pt x="43" y="201"/>
                </a:lnTo>
                <a:lnTo>
                  <a:pt x="41" y="201"/>
                </a:lnTo>
                <a:lnTo>
                  <a:pt x="41" y="198"/>
                </a:lnTo>
                <a:lnTo>
                  <a:pt x="41" y="194"/>
                </a:lnTo>
                <a:lnTo>
                  <a:pt x="39" y="190"/>
                </a:lnTo>
                <a:lnTo>
                  <a:pt x="37" y="185"/>
                </a:lnTo>
                <a:lnTo>
                  <a:pt x="37" y="183"/>
                </a:lnTo>
                <a:lnTo>
                  <a:pt x="28" y="177"/>
                </a:lnTo>
                <a:lnTo>
                  <a:pt x="28" y="170"/>
                </a:lnTo>
                <a:lnTo>
                  <a:pt x="28" y="168"/>
                </a:lnTo>
                <a:lnTo>
                  <a:pt x="24" y="168"/>
                </a:lnTo>
                <a:lnTo>
                  <a:pt x="24" y="166"/>
                </a:lnTo>
                <a:lnTo>
                  <a:pt x="19" y="166"/>
                </a:lnTo>
                <a:lnTo>
                  <a:pt x="19" y="164"/>
                </a:lnTo>
                <a:lnTo>
                  <a:pt x="17" y="160"/>
                </a:lnTo>
                <a:lnTo>
                  <a:pt x="13" y="157"/>
                </a:lnTo>
                <a:lnTo>
                  <a:pt x="11" y="153"/>
                </a:lnTo>
                <a:lnTo>
                  <a:pt x="11" y="151"/>
                </a:lnTo>
                <a:lnTo>
                  <a:pt x="6" y="149"/>
                </a:lnTo>
                <a:lnTo>
                  <a:pt x="6" y="147"/>
                </a:lnTo>
                <a:lnTo>
                  <a:pt x="11" y="149"/>
                </a:lnTo>
                <a:lnTo>
                  <a:pt x="13" y="147"/>
                </a:lnTo>
                <a:lnTo>
                  <a:pt x="11" y="144"/>
                </a:lnTo>
                <a:lnTo>
                  <a:pt x="11" y="142"/>
                </a:lnTo>
                <a:lnTo>
                  <a:pt x="9" y="138"/>
                </a:lnTo>
                <a:lnTo>
                  <a:pt x="13" y="134"/>
                </a:lnTo>
                <a:lnTo>
                  <a:pt x="13" y="131"/>
                </a:lnTo>
                <a:lnTo>
                  <a:pt x="11" y="129"/>
                </a:lnTo>
                <a:lnTo>
                  <a:pt x="11" y="125"/>
                </a:lnTo>
                <a:lnTo>
                  <a:pt x="9" y="121"/>
                </a:lnTo>
                <a:lnTo>
                  <a:pt x="9" y="119"/>
                </a:lnTo>
                <a:lnTo>
                  <a:pt x="6" y="116"/>
                </a:lnTo>
                <a:lnTo>
                  <a:pt x="6" y="112"/>
                </a:lnTo>
                <a:lnTo>
                  <a:pt x="6" y="110"/>
                </a:lnTo>
                <a:lnTo>
                  <a:pt x="4" y="110"/>
                </a:lnTo>
                <a:lnTo>
                  <a:pt x="4" y="108"/>
                </a:lnTo>
                <a:lnTo>
                  <a:pt x="2" y="99"/>
                </a:lnTo>
                <a:lnTo>
                  <a:pt x="0" y="97"/>
                </a:lnTo>
                <a:lnTo>
                  <a:pt x="0" y="95"/>
                </a:lnTo>
                <a:lnTo>
                  <a:pt x="2" y="71"/>
                </a:lnTo>
                <a:lnTo>
                  <a:pt x="9" y="47"/>
                </a:lnTo>
                <a:lnTo>
                  <a:pt x="17" y="0"/>
                </a:lnTo>
                <a:lnTo>
                  <a:pt x="99" y="17"/>
                </a:lnTo>
                <a:lnTo>
                  <a:pt x="140" y="24"/>
                </a:lnTo>
                <a:lnTo>
                  <a:pt x="255" y="47"/>
                </a:lnTo>
                <a:lnTo>
                  <a:pt x="311" y="56"/>
                </a:lnTo>
                <a:lnTo>
                  <a:pt x="343" y="62"/>
                </a:lnTo>
                <a:lnTo>
                  <a:pt x="419" y="71"/>
                </a:lnTo>
                <a:lnTo>
                  <a:pt x="497" y="84"/>
                </a:lnTo>
                <a:lnTo>
                  <a:pt x="564" y="93"/>
                </a:lnTo>
                <a:lnTo>
                  <a:pt x="628" y="99"/>
                </a:lnTo>
                <a:lnTo>
                  <a:pt x="695" y="108"/>
                </a:lnTo>
                <a:lnTo>
                  <a:pt x="758" y="112"/>
                </a:lnTo>
                <a:lnTo>
                  <a:pt x="756" y="144"/>
                </a:lnTo>
                <a:lnTo>
                  <a:pt x="754" y="168"/>
                </a:lnTo>
                <a:lnTo>
                  <a:pt x="749" y="203"/>
                </a:lnTo>
                <a:lnTo>
                  <a:pt x="745" y="261"/>
                </a:lnTo>
                <a:lnTo>
                  <a:pt x="745" y="265"/>
                </a:lnTo>
                <a:lnTo>
                  <a:pt x="741" y="330"/>
                </a:lnTo>
                <a:lnTo>
                  <a:pt x="738" y="341"/>
                </a:lnTo>
                <a:lnTo>
                  <a:pt x="736" y="365"/>
                </a:lnTo>
                <a:lnTo>
                  <a:pt x="732" y="397"/>
                </a:lnTo>
                <a:lnTo>
                  <a:pt x="732" y="403"/>
                </a:lnTo>
                <a:lnTo>
                  <a:pt x="728" y="464"/>
                </a:lnTo>
                <a:lnTo>
                  <a:pt x="728" y="486"/>
                </a:lnTo>
                <a:lnTo>
                  <a:pt x="725" y="486"/>
                </a:lnTo>
                <a:lnTo>
                  <a:pt x="661" y="479"/>
                </a:lnTo>
                <a:lnTo>
                  <a:pt x="659" y="477"/>
                </a:lnTo>
                <a:lnTo>
                  <a:pt x="596" y="473"/>
                </a:lnTo>
                <a:lnTo>
                  <a:pt x="581" y="470"/>
                </a:lnTo>
                <a:lnTo>
                  <a:pt x="471" y="457"/>
                </a:lnTo>
                <a:lnTo>
                  <a:pt x="449" y="455"/>
                </a:lnTo>
                <a:lnTo>
                  <a:pt x="425" y="453"/>
                </a:lnTo>
                <a:lnTo>
                  <a:pt x="348" y="440"/>
                </a:lnTo>
                <a:lnTo>
                  <a:pt x="335" y="438"/>
                </a:lnTo>
                <a:lnTo>
                  <a:pt x="307" y="436"/>
                </a:lnTo>
                <a:lnTo>
                  <a:pt x="304" y="436"/>
                </a:lnTo>
                <a:lnTo>
                  <a:pt x="266" y="427"/>
                </a:lnTo>
                <a:lnTo>
                  <a:pt x="261" y="460"/>
                </a:lnTo>
                <a:lnTo>
                  <a:pt x="257" y="477"/>
                </a:lnTo>
                <a:lnTo>
                  <a:pt x="255" y="475"/>
                </a:lnTo>
                <a:lnTo>
                  <a:pt x="253" y="473"/>
                </a:lnTo>
                <a:lnTo>
                  <a:pt x="253" y="470"/>
                </a:lnTo>
                <a:lnTo>
                  <a:pt x="250" y="470"/>
                </a:lnTo>
                <a:lnTo>
                  <a:pt x="250" y="468"/>
                </a:lnTo>
                <a:lnTo>
                  <a:pt x="248" y="464"/>
                </a:lnTo>
                <a:lnTo>
                  <a:pt x="248" y="462"/>
                </a:lnTo>
                <a:lnTo>
                  <a:pt x="248" y="460"/>
                </a:lnTo>
                <a:lnTo>
                  <a:pt x="246" y="460"/>
                </a:lnTo>
                <a:lnTo>
                  <a:pt x="246" y="455"/>
                </a:lnTo>
                <a:lnTo>
                  <a:pt x="242" y="453"/>
                </a:lnTo>
                <a:lnTo>
                  <a:pt x="242" y="449"/>
                </a:lnTo>
                <a:lnTo>
                  <a:pt x="240" y="447"/>
                </a:lnTo>
                <a:lnTo>
                  <a:pt x="237" y="453"/>
                </a:lnTo>
                <a:lnTo>
                  <a:pt x="235" y="449"/>
                </a:lnTo>
                <a:lnTo>
                  <a:pt x="233" y="449"/>
                </a:lnTo>
                <a:close/>
              </a:path>
            </a:pathLst>
          </a:custGeom>
          <a:solidFill>
            <a:schemeClr val="bg1"/>
          </a:solidFill>
          <a:ln w="9525">
            <a:noFill/>
            <a:round/>
            <a:headEnd/>
            <a:tailEnd/>
          </a:ln>
        </p:spPr>
        <p:txBody>
          <a:bodyPr/>
          <a:lstStyle/>
          <a:p>
            <a:endParaRPr lang="en-US" dirty="0">
              <a:solidFill>
                <a:prstClr val="black"/>
              </a:solidFill>
            </a:endParaRPr>
          </a:p>
        </p:txBody>
      </p:sp>
      <p:sp>
        <p:nvSpPr>
          <p:cNvPr id="180" name="Freeform 13">
            <a:extLst>
              <a:ext uri="{FF2B5EF4-FFF2-40B4-BE49-F238E27FC236}">
                <a16:creationId xmlns:a16="http://schemas.microsoft.com/office/drawing/2014/main" id="{3301D792-43FA-4885-878F-0C641ACC9535}"/>
              </a:ext>
            </a:extLst>
          </p:cNvPr>
          <p:cNvSpPr>
            <a:spLocks/>
          </p:cNvSpPr>
          <p:nvPr>
            <p:custDataLst>
              <p:tags r:id="rId4"/>
            </p:custDataLst>
          </p:nvPr>
        </p:nvSpPr>
        <p:spPr bwMode="auto">
          <a:xfrm>
            <a:off x="3555845" y="1556599"/>
            <a:ext cx="1534401" cy="1050587"/>
          </a:xfrm>
          <a:custGeom>
            <a:avLst/>
            <a:gdLst>
              <a:gd name="T0" fmla="*/ 2147483647 w 758"/>
              <a:gd name="T1" fmla="*/ 2147483647 h 486"/>
              <a:gd name="T2" fmla="*/ 2147483647 w 758"/>
              <a:gd name="T3" fmla="*/ 2147483647 h 486"/>
              <a:gd name="T4" fmla="*/ 2147483647 w 758"/>
              <a:gd name="T5" fmla="*/ 2147483647 h 486"/>
              <a:gd name="T6" fmla="*/ 2147483647 w 758"/>
              <a:gd name="T7" fmla="*/ 2147483647 h 486"/>
              <a:gd name="T8" fmla="*/ 2147483647 w 758"/>
              <a:gd name="T9" fmla="*/ 2147483647 h 486"/>
              <a:gd name="T10" fmla="*/ 2147483647 w 758"/>
              <a:gd name="T11" fmla="*/ 2147483647 h 486"/>
              <a:gd name="T12" fmla="*/ 2147483647 w 758"/>
              <a:gd name="T13" fmla="*/ 2147483647 h 486"/>
              <a:gd name="T14" fmla="*/ 2147483647 w 758"/>
              <a:gd name="T15" fmla="*/ 2147483647 h 486"/>
              <a:gd name="T16" fmla="*/ 2147483647 w 758"/>
              <a:gd name="T17" fmla="*/ 2147483647 h 486"/>
              <a:gd name="T18" fmla="*/ 2147483647 w 758"/>
              <a:gd name="T19" fmla="*/ 2147483647 h 486"/>
              <a:gd name="T20" fmla="*/ 2147483647 w 758"/>
              <a:gd name="T21" fmla="*/ 2147483647 h 486"/>
              <a:gd name="T22" fmla="*/ 2147483647 w 758"/>
              <a:gd name="T23" fmla="*/ 2147483647 h 486"/>
              <a:gd name="T24" fmla="*/ 2147483647 w 758"/>
              <a:gd name="T25" fmla="*/ 2147483647 h 486"/>
              <a:gd name="T26" fmla="*/ 2147483647 w 758"/>
              <a:gd name="T27" fmla="*/ 2147483647 h 486"/>
              <a:gd name="T28" fmla="*/ 2147483647 w 758"/>
              <a:gd name="T29" fmla="*/ 2147483647 h 486"/>
              <a:gd name="T30" fmla="*/ 2147483647 w 758"/>
              <a:gd name="T31" fmla="*/ 2147483647 h 486"/>
              <a:gd name="T32" fmla="*/ 2147483647 w 758"/>
              <a:gd name="T33" fmla="*/ 2147483647 h 486"/>
              <a:gd name="T34" fmla="*/ 2147483647 w 758"/>
              <a:gd name="T35" fmla="*/ 2147483647 h 486"/>
              <a:gd name="T36" fmla="*/ 2147483647 w 758"/>
              <a:gd name="T37" fmla="*/ 2147483647 h 486"/>
              <a:gd name="T38" fmla="*/ 2147483647 w 758"/>
              <a:gd name="T39" fmla="*/ 2147483647 h 486"/>
              <a:gd name="T40" fmla="*/ 2147483647 w 758"/>
              <a:gd name="T41" fmla="*/ 2147483647 h 486"/>
              <a:gd name="T42" fmla="*/ 2147483647 w 758"/>
              <a:gd name="T43" fmla="*/ 2147483647 h 486"/>
              <a:gd name="T44" fmla="*/ 2147483647 w 758"/>
              <a:gd name="T45" fmla="*/ 2147483647 h 486"/>
              <a:gd name="T46" fmla="*/ 2147483647 w 758"/>
              <a:gd name="T47" fmla="*/ 2147483647 h 486"/>
              <a:gd name="T48" fmla="*/ 2147483647 w 758"/>
              <a:gd name="T49" fmla="*/ 2147483647 h 486"/>
              <a:gd name="T50" fmla="*/ 2147483647 w 758"/>
              <a:gd name="T51" fmla="*/ 2147483647 h 486"/>
              <a:gd name="T52" fmla="*/ 2147483647 w 758"/>
              <a:gd name="T53" fmla="*/ 2147483647 h 486"/>
              <a:gd name="T54" fmla="*/ 2147483647 w 758"/>
              <a:gd name="T55" fmla="*/ 2147483647 h 486"/>
              <a:gd name="T56" fmla="*/ 2147483647 w 758"/>
              <a:gd name="T57" fmla="*/ 2147483647 h 486"/>
              <a:gd name="T58" fmla="*/ 2147483647 w 758"/>
              <a:gd name="T59" fmla="*/ 2147483647 h 486"/>
              <a:gd name="T60" fmla="*/ 2147483647 w 758"/>
              <a:gd name="T61" fmla="*/ 2147483647 h 486"/>
              <a:gd name="T62" fmla="*/ 2147483647 w 758"/>
              <a:gd name="T63" fmla="*/ 2147483647 h 486"/>
              <a:gd name="T64" fmla="*/ 2147483647 w 758"/>
              <a:gd name="T65" fmla="*/ 2147483647 h 486"/>
              <a:gd name="T66" fmla="*/ 2147483647 w 758"/>
              <a:gd name="T67" fmla="*/ 2147483647 h 486"/>
              <a:gd name="T68" fmla="*/ 2147483647 w 758"/>
              <a:gd name="T69" fmla="*/ 2147483647 h 486"/>
              <a:gd name="T70" fmla="*/ 2147483647 w 758"/>
              <a:gd name="T71" fmla="*/ 2147483647 h 486"/>
              <a:gd name="T72" fmla="*/ 2147483647 w 758"/>
              <a:gd name="T73" fmla="*/ 2147483647 h 486"/>
              <a:gd name="T74" fmla="*/ 2147483647 w 758"/>
              <a:gd name="T75" fmla="*/ 2147483647 h 486"/>
              <a:gd name="T76" fmla="*/ 2147483647 w 758"/>
              <a:gd name="T77" fmla="*/ 2147483647 h 486"/>
              <a:gd name="T78" fmla="*/ 2147483647 w 758"/>
              <a:gd name="T79" fmla="*/ 2147483647 h 486"/>
              <a:gd name="T80" fmla="*/ 0 w 758"/>
              <a:gd name="T81" fmla="*/ 2147483647 h 486"/>
              <a:gd name="T82" fmla="*/ 2147483647 w 758"/>
              <a:gd name="T83" fmla="*/ 2147483647 h 486"/>
              <a:gd name="T84" fmla="*/ 2147483647 w 758"/>
              <a:gd name="T85" fmla="*/ 2147483647 h 486"/>
              <a:gd name="T86" fmla="*/ 2147483647 w 758"/>
              <a:gd name="T87" fmla="*/ 2147483647 h 486"/>
              <a:gd name="T88" fmla="*/ 2147483647 w 758"/>
              <a:gd name="T89" fmla="*/ 2147483647 h 486"/>
              <a:gd name="T90" fmla="*/ 2147483647 w 758"/>
              <a:gd name="T91" fmla="*/ 2147483647 h 486"/>
              <a:gd name="T92" fmla="*/ 2147483647 w 758"/>
              <a:gd name="T93" fmla="*/ 2147483647 h 486"/>
              <a:gd name="T94" fmla="*/ 2147483647 w 758"/>
              <a:gd name="T95" fmla="*/ 2147483647 h 486"/>
              <a:gd name="T96" fmla="*/ 2147483647 w 758"/>
              <a:gd name="T97" fmla="*/ 2147483647 h 486"/>
              <a:gd name="T98" fmla="*/ 2147483647 w 758"/>
              <a:gd name="T99" fmla="*/ 2147483647 h 486"/>
              <a:gd name="T100" fmla="*/ 2147483647 w 758"/>
              <a:gd name="T101" fmla="*/ 2147483647 h 486"/>
              <a:gd name="T102" fmla="*/ 2147483647 w 758"/>
              <a:gd name="T103" fmla="*/ 2147483647 h 4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8"/>
              <a:gd name="T157" fmla="*/ 0 h 486"/>
              <a:gd name="T158" fmla="*/ 758 w 758"/>
              <a:gd name="T159" fmla="*/ 486 h 48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8" h="486">
                <a:moveTo>
                  <a:pt x="233" y="449"/>
                </a:moveTo>
                <a:lnTo>
                  <a:pt x="233" y="453"/>
                </a:lnTo>
                <a:lnTo>
                  <a:pt x="233" y="455"/>
                </a:lnTo>
                <a:lnTo>
                  <a:pt x="233" y="457"/>
                </a:lnTo>
                <a:lnTo>
                  <a:pt x="231" y="457"/>
                </a:lnTo>
                <a:lnTo>
                  <a:pt x="229" y="460"/>
                </a:lnTo>
                <a:lnTo>
                  <a:pt x="231" y="464"/>
                </a:lnTo>
                <a:lnTo>
                  <a:pt x="231" y="468"/>
                </a:lnTo>
                <a:lnTo>
                  <a:pt x="225" y="464"/>
                </a:lnTo>
                <a:lnTo>
                  <a:pt x="222" y="464"/>
                </a:lnTo>
                <a:lnTo>
                  <a:pt x="218" y="462"/>
                </a:lnTo>
                <a:lnTo>
                  <a:pt x="216" y="464"/>
                </a:lnTo>
                <a:lnTo>
                  <a:pt x="212" y="464"/>
                </a:lnTo>
                <a:lnTo>
                  <a:pt x="207" y="464"/>
                </a:lnTo>
                <a:lnTo>
                  <a:pt x="205" y="460"/>
                </a:lnTo>
                <a:lnTo>
                  <a:pt x="201" y="460"/>
                </a:lnTo>
                <a:lnTo>
                  <a:pt x="199" y="462"/>
                </a:lnTo>
                <a:lnTo>
                  <a:pt x="196" y="460"/>
                </a:lnTo>
                <a:lnTo>
                  <a:pt x="192" y="462"/>
                </a:lnTo>
                <a:lnTo>
                  <a:pt x="192" y="460"/>
                </a:lnTo>
                <a:lnTo>
                  <a:pt x="188" y="460"/>
                </a:lnTo>
                <a:lnTo>
                  <a:pt x="184" y="457"/>
                </a:lnTo>
                <a:lnTo>
                  <a:pt x="181" y="457"/>
                </a:lnTo>
                <a:lnTo>
                  <a:pt x="181" y="455"/>
                </a:lnTo>
                <a:lnTo>
                  <a:pt x="179" y="457"/>
                </a:lnTo>
                <a:lnTo>
                  <a:pt x="173" y="457"/>
                </a:lnTo>
                <a:lnTo>
                  <a:pt x="173" y="460"/>
                </a:lnTo>
                <a:lnTo>
                  <a:pt x="171" y="464"/>
                </a:lnTo>
                <a:lnTo>
                  <a:pt x="166" y="464"/>
                </a:lnTo>
                <a:lnTo>
                  <a:pt x="166" y="462"/>
                </a:lnTo>
                <a:lnTo>
                  <a:pt x="160" y="462"/>
                </a:lnTo>
                <a:lnTo>
                  <a:pt x="158" y="460"/>
                </a:lnTo>
                <a:lnTo>
                  <a:pt x="153" y="457"/>
                </a:lnTo>
                <a:lnTo>
                  <a:pt x="149" y="455"/>
                </a:lnTo>
                <a:lnTo>
                  <a:pt x="147" y="457"/>
                </a:lnTo>
                <a:lnTo>
                  <a:pt x="142" y="457"/>
                </a:lnTo>
                <a:lnTo>
                  <a:pt x="140" y="462"/>
                </a:lnTo>
                <a:lnTo>
                  <a:pt x="140" y="464"/>
                </a:lnTo>
                <a:lnTo>
                  <a:pt x="138" y="468"/>
                </a:lnTo>
                <a:lnTo>
                  <a:pt x="136" y="464"/>
                </a:lnTo>
                <a:lnTo>
                  <a:pt x="136" y="462"/>
                </a:lnTo>
                <a:lnTo>
                  <a:pt x="132" y="462"/>
                </a:lnTo>
                <a:lnTo>
                  <a:pt x="127" y="457"/>
                </a:lnTo>
                <a:lnTo>
                  <a:pt x="127" y="453"/>
                </a:lnTo>
                <a:lnTo>
                  <a:pt x="127" y="449"/>
                </a:lnTo>
                <a:lnTo>
                  <a:pt x="127" y="447"/>
                </a:lnTo>
                <a:lnTo>
                  <a:pt x="125" y="442"/>
                </a:lnTo>
                <a:lnTo>
                  <a:pt x="127" y="440"/>
                </a:lnTo>
                <a:lnTo>
                  <a:pt x="127" y="436"/>
                </a:lnTo>
                <a:lnTo>
                  <a:pt x="125" y="432"/>
                </a:lnTo>
                <a:lnTo>
                  <a:pt x="125" y="429"/>
                </a:lnTo>
                <a:lnTo>
                  <a:pt x="125" y="427"/>
                </a:lnTo>
                <a:lnTo>
                  <a:pt x="119" y="421"/>
                </a:lnTo>
                <a:lnTo>
                  <a:pt x="114" y="423"/>
                </a:lnTo>
                <a:lnTo>
                  <a:pt x="110" y="423"/>
                </a:lnTo>
                <a:lnTo>
                  <a:pt x="110" y="421"/>
                </a:lnTo>
                <a:lnTo>
                  <a:pt x="108" y="419"/>
                </a:lnTo>
                <a:lnTo>
                  <a:pt x="106" y="414"/>
                </a:lnTo>
                <a:lnTo>
                  <a:pt x="104" y="408"/>
                </a:lnTo>
                <a:lnTo>
                  <a:pt x="106" y="406"/>
                </a:lnTo>
                <a:lnTo>
                  <a:pt x="108" y="406"/>
                </a:lnTo>
                <a:lnTo>
                  <a:pt x="108" y="399"/>
                </a:lnTo>
                <a:lnTo>
                  <a:pt x="108" y="397"/>
                </a:lnTo>
                <a:lnTo>
                  <a:pt x="106" y="395"/>
                </a:lnTo>
                <a:lnTo>
                  <a:pt x="106" y="393"/>
                </a:lnTo>
                <a:lnTo>
                  <a:pt x="106" y="391"/>
                </a:lnTo>
                <a:lnTo>
                  <a:pt x="104" y="391"/>
                </a:lnTo>
                <a:lnTo>
                  <a:pt x="104" y="388"/>
                </a:lnTo>
                <a:lnTo>
                  <a:pt x="101" y="386"/>
                </a:lnTo>
                <a:lnTo>
                  <a:pt x="101" y="382"/>
                </a:lnTo>
                <a:lnTo>
                  <a:pt x="99" y="380"/>
                </a:lnTo>
                <a:lnTo>
                  <a:pt x="99" y="373"/>
                </a:lnTo>
                <a:lnTo>
                  <a:pt x="97" y="367"/>
                </a:lnTo>
                <a:lnTo>
                  <a:pt x="97" y="362"/>
                </a:lnTo>
                <a:lnTo>
                  <a:pt x="93" y="358"/>
                </a:lnTo>
                <a:lnTo>
                  <a:pt x="93" y="356"/>
                </a:lnTo>
                <a:lnTo>
                  <a:pt x="97" y="354"/>
                </a:lnTo>
                <a:lnTo>
                  <a:pt x="97" y="350"/>
                </a:lnTo>
                <a:lnTo>
                  <a:pt x="97" y="347"/>
                </a:lnTo>
                <a:lnTo>
                  <a:pt x="93" y="347"/>
                </a:lnTo>
                <a:lnTo>
                  <a:pt x="97" y="343"/>
                </a:lnTo>
                <a:lnTo>
                  <a:pt x="97" y="341"/>
                </a:lnTo>
                <a:lnTo>
                  <a:pt x="93" y="341"/>
                </a:lnTo>
                <a:lnTo>
                  <a:pt x="91" y="339"/>
                </a:lnTo>
                <a:lnTo>
                  <a:pt x="91" y="334"/>
                </a:lnTo>
                <a:lnTo>
                  <a:pt x="89" y="334"/>
                </a:lnTo>
                <a:lnTo>
                  <a:pt x="89" y="332"/>
                </a:lnTo>
                <a:lnTo>
                  <a:pt x="86" y="332"/>
                </a:lnTo>
                <a:lnTo>
                  <a:pt x="86" y="330"/>
                </a:lnTo>
                <a:lnTo>
                  <a:pt x="84" y="330"/>
                </a:lnTo>
                <a:lnTo>
                  <a:pt x="84" y="332"/>
                </a:lnTo>
                <a:lnTo>
                  <a:pt x="84" y="334"/>
                </a:lnTo>
                <a:lnTo>
                  <a:pt x="82" y="334"/>
                </a:lnTo>
                <a:lnTo>
                  <a:pt x="78" y="339"/>
                </a:lnTo>
                <a:lnTo>
                  <a:pt x="76" y="341"/>
                </a:lnTo>
                <a:lnTo>
                  <a:pt x="73" y="341"/>
                </a:lnTo>
                <a:lnTo>
                  <a:pt x="71" y="343"/>
                </a:lnTo>
                <a:lnTo>
                  <a:pt x="69" y="343"/>
                </a:lnTo>
                <a:lnTo>
                  <a:pt x="67" y="341"/>
                </a:lnTo>
                <a:lnTo>
                  <a:pt x="67" y="345"/>
                </a:lnTo>
                <a:lnTo>
                  <a:pt x="65" y="345"/>
                </a:lnTo>
                <a:lnTo>
                  <a:pt x="58" y="347"/>
                </a:lnTo>
                <a:lnTo>
                  <a:pt x="56" y="345"/>
                </a:lnTo>
                <a:lnTo>
                  <a:pt x="54" y="343"/>
                </a:lnTo>
                <a:lnTo>
                  <a:pt x="54" y="341"/>
                </a:lnTo>
                <a:lnTo>
                  <a:pt x="54" y="339"/>
                </a:lnTo>
                <a:lnTo>
                  <a:pt x="52" y="339"/>
                </a:lnTo>
                <a:lnTo>
                  <a:pt x="50" y="334"/>
                </a:lnTo>
                <a:lnTo>
                  <a:pt x="45" y="334"/>
                </a:lnTo>
                <a:lnTo>
                  <a:pt x="50" y="332"/>
                </a:lnTo>
                <a:lnTo>
                  <a:pt x="45" y="330"/>
                </a:lnTo>
                <a:lnTo>
                  <a:pt x="52" y="328"/>
                </a:lnTo>
                <a:lnTo>
                  <a:pt x="52" y="326"/>
                </a:lnTo>
                <a:lnTo>
                  <a:pt x="54" y="324"/>
                </a:lnTo>
                <a:lnTo>
                  <a:pt x="52" y="321"/>
                </a:lnTo>
                <a:lnTo>
                  <a:pt x="52" y="317"/>
                </a:lnTo>
                <a:lnTo>
                  <a:pt x="50" y="315"/>
                </a:lnTo>
                <a:lnTo>
                  <a:pt x="54" y="313"/>
                </a:lnTo>
                <a:lnTo>
                  <a:pt x="56" y="311"/>
                </a:lnTo>
                <a:lnTo>
                  <a:pt x="58" y="311"/>
                </a:lnTo>
                <a:lnTo>
                  <a:pt x="60" y="311"/>
                </a:lnTo>
                <a:lnTo>
                  <a:pt x="65" y="308"/>
                </a:lnTo>
                <a:lnTo>
                  <a:pt x="60" y="306"/>
                </a:lnTo>
                <a:lnTo>
                  <a:pt x="60" y="304"/>
                </a:lnTo>
                <a:lnTo>
                  <a:pt x="65" y="300"/>
                </a:lnTo>
                <a:lnTo>
                  <a:pt x="65" y="298"/>
                </a:lnTo>
                <a:lnTo>
                  <a:pt x="58" y="296"/>
                </a:lnTo>
                <a:lnTo>
                  <a:pt x="60" y="296"/>
                </a:lnTo>
                <a:lnTo>
                  <a:pt x="58" y="293"/>
                </a:lnTo>
                <a:lnTo>
                  <a:pt x="60" y="291"/>
                </a:lnTo>
                <a:lnTo>
                  <a:pt x="65" y="289"/>
                </a:lnTo>
                <a:lnTo>
                  <a:pt x="60" y="285"/>
                </a:lnTo>
                <a:lnTo>
                  <a:pt x="58" y="283"/>
                </a:lnTo>
                <a:lnTo>
                  <a:pt x="60" y="280"/>
                </a:lnTo>
                <a:lnTo>
                  <a:pt x="65" y="280"/>
                </a:lnTo>
                <a:lnTo>
                  <a:pt x="67" y="280"/>
                </a:lnTo>
                <a:lnTo>
                  <a:pt x="67" y="276"/>
                </a:lnTo>
                <a:lnTo>
                  <a:pt x="65" y="274"/>
                </a:lnTo>
                <a:lnTo>
                  <a:pt x="69" y="272"/>
                </a:lnTo>
                <a:lnTo>
                  <a:pt x="71" y="261"/>
                </a:lnTo>
                <a:lnTo>
                  <a:pt x="73" y="259"/>
                </a:lnTo>
                <a:lnTo>
                  <a:pt x="73" y="250"/>
                </a:lnTo>
                <a:lnTo>
                  <a:pt x="76" y="250"/>
                </a:lnTo>
                <a:lnTo>
                  <a:pt x="78" y="244"/>
                </a:lnTo>
                <a:lnTo>
                  <a:pt x="82" y="242"/>
                </a:lnTo>
                <a:lnTo>
                  <a:pt x="82" y="239"/>
                </a:lnTo>
                <a:lnTo>
                  <a:pt x="78" y="235"/>
                </a:lnTo>
                <a:lnTo>
                  <a:pt x="73" y="235"/>
                </a:lnTo>
                <a:lnTo>
                  <a:pt x="71" y="239"/>
                </a:lnTo>
                <a:lnTo>
                  <a:pt x="69" y="235"/>
                </a:lnTo>
                <a:lnTo>
                  <a:pt x="65" y="235"/>
                </a:lnTo>
                <a:lnTo>
                  <a:pt x="60" y="233"/>
                </a:lnTo>
                <a:lnTo>
                  <a:pt x="60" y="231"/>
                </a:lnTo>
                <a:lnTo>
                  <a:pt x="65" y="231"/>
                </a:lnTo>
                <a:lnTo>
                  <a:pt x="60" y="226"/>
                </a:lnTo>
                <a:lnTo>
                  <a:pt x="58" y="226"/>
                </a:lnTo>
                <a:lnTo>
                  <a:pt x="56" y="229"/>
                </a:lnTo>
                <a:lnTo>
                  <a:pt x="54" y="229"/>
                </a:lnTo>
                <a:lnTo>
                  <a:pt x="54" y="224"/>
                </a:lnTo>
                <a:lnTo>
                  <a:pt x="54" y="220"/>
                </a:lnTo>
                <a:lnTo>
                  <a:pt x="52" y="220"/>
                </a:lnTo>
                <a:lnTo>
                  <a:pt x="50" y="218"/>
                </a:lnTo>
                <a:lnTo>
                  <a:pt x="45" y="216"/>
                </a:lnTo>
                <a:lnTo>
                  <a:pt x="45" y="211"/>
                </a:lnTo>
                <a:lnTo>
                  <a:pt x="45" y="209"/>
                </a:lnTo>
                <a:lnTo>
                  <a:pt x="50" y="207"/>
                </a:lnTo>
                <a:lnTo>
                  <a:pt x="45" y="203"/>
                </a:lnTo>
                <a:lnTo>
                  <a:pt x="43" y="201"/>
                </a:lnTo>
                <a:lnTo>
                  <a:pt x="41" y="201"/>
                </a:lnTo>
                <a:lnTo>
                  <a:pt x="41" y="198"/>
                </a:lnTo>
                <a:lnTo>
                  <a:pt x="41" y="194"/>
                </a:lnTo>
                <a:lnTo>
                  <a:pt x="39" y="190"/>
                </a:lnTo>
                <a:lnTo>
                  <a:pt x="37" y="185"/>
                </a:lnTo>
                <a:lnTo>
                  <a:pt x="37" y="183"/>
                </a:lnTo>
                <a:lnTo>
                  <a:pt x="28" y="177"/>
                </a:lnTo>
                <a:lnTo>
                  <a:pt x="28" y="170"/>
                </a:lnTo>
                <a:lnTo>
                  <a:pt x="28" y="168"/>
                </a:lnTo>
                <a:lnTo>
                  <a:pt x="24" y="168"/>
                </a:lnTo>
                <a:lnTo>
                  <a:pt x="24" y="166"/>
                </a:lnTo>
                <a:lnTo>
                  <a:pt x="19" y="166"/>
                </a:lnTo>
                <a:lnTo>
                  <a:pt x="19" y="164"/>
                </a:lnTo>
                <a:lnTo>
                  <a:pt x="17" y="160"/>
                </a:lnTo>
                <a:lnTo>
                  <a:pt x="13" y="157"/>
                </a:lnTo>
                <a:lnTo>
                  <a:pt x="11" y="153"/>
                </a:lnTo>
                <a:lnTo>
                  <a:pt x="11" y="151"/>
                </a:lnTo>
                <a:lnTo>
                  <a:pt x="6" y="149"/>
                </a:lnTo>
                <a:lnTo>
                  <a:pt x="6" y="147"/>
                </a:lnTo>
                <a:lnTo>
                  <a:pt x="11" y="149"/>
                </a:lnTo>
                <a:lnTo>
                  <a:pt x="13" y="147"/>
                </a:lnTo>
                <a:lnTo>
                  <a:pt x="11" y="144"/>
                </a:lnTo>
                <a:lnTo>
                  <a:pt x="11" y="142"/>
                </a:lnTo>
                <a:lnTo>
                  <a:pt x="9" y="138"/>
                </a:lnTo>
                <a:lnTo>
                  <a:pt x="13" y="134"/>
                </a:lnTo>
                <a:lnTo>
                  <a:pt x="13" y="131"/>
                </a:lnTo>
                <a:lnTo>
                  <a:pt x="11" y="129"/>
                </a:lnTo>
                <a:lnTo>
                  <a:pt x="11" y="125"/>
                </a:lnTo>
                <a:lnTo>
                  <a:pt x="9" y="121"/>
                </a:lnTo>
                <a:lnTo>
                  <a:pt x="9" y="119"/>
                </a:lnTo>
                <a:lnTo>
                  <a:pt x="6" y="116"/>
                </a:lnTo>
                <a:lnTo>
                  <a:pt x="6" y="112"/>
                </a:lnTo>
                <a:lnTo>
                  <a:pt x="6" y="110"/>
                </a:lnTo>
                <a:lnTo>
                  <a:pt x="4" y="110"/>
                </a:lnTo>
                <a:lnTo>
                  <a:pt x="4" y="108"/>
                </a:lnTo>
                <a:lnTo>
                  <a:pt x="2" y="99"/>
                </a:lnTo>
                <a:lnTo>
                  <a:pt x="0" y="97"/>
                </a:lnTo>
                <a:lnTo>
                  <a:pt x="0" y="95"/>
                </a:lnTo>
                <a:lnTo>
                  <a:pt x="2" y="71"/>
                </a:lnTo>
                <a:lnTo>
                  <a:pt x="9" y="47"/>
                </a:lnTo>
                <a:lnTo>
                  <a:pt x="17" y="0"/>
                </a:lnTo>
                <a:lnTo>
                  <a:pt x="99" y="17"/>
                </a:lnTo>
                <a:lnTo>
                  <a:pt x="140" y="24"/>
                </a:lnTo>
                <a:lnTo>
                  <a:pt x="255" y="47"/>
                </a:lnTo>
                <a:lnTo>
                  <a:pt x="311" y="56"/>
                </a:lnTo>
                <a:lnTo>
                  <a:pt x="343" y="62"/>
                </a:lnTo>
                <a:lnTo>
                  <a:pt x="419" y="71"/>
                </a:lnTo>
                <a:lnTo>
                  <a:pt x="497" y="84"/>
                </a:lnTo>
                <a:lnTo>
                  <a:pt x="564" y="93"/>
                </a:lnTo>
                <a:lnTo>
                  <a:pt x="628" y="99"/>
                </a:lnTo>
                <a:lnTo>
                  <a:pt x="695" y="108"/>
                </a:lnTo>
                <a:lnTo>
                  <a:pt x="758" y="112"/>
                </a:lnTo>
                <a:lnTo>
                  <a:pt x="756" y="144"/>
                </a:lnTo>
                <a:lnTo>
                  <a:pt x="754" y="168"/>
                </a:lnTo>
                <a:lnTo>
                  <a:pt x="749" y="203"/>
                </a:lnTo>
                <a:lnTo>
                  <a:pt x="745" y="261"/>
                </a:lnTo>
                <a:lnTo>
                  <a:pt x="745" y="265"/>
                </a:lnTo>
                <a:lnTo>
                  <a:pt x="741" y="330"/>
                </a:lnTo>
                <a:lnTo>
                  <a:pt x="738" y="341"/>
                </a:lnTo>
                <a:lnTo>
                  <a:pt x="736" y="365"/>
                </a:lnTo>
                <a:lnTo>
                  <a:pt x="732" y="397"/>
                </a:lnTo>
                <a:lnTo>
                  <a:pt x="732" y="403"/>
                </a:lnTo>
                <a:lnTo>
                  <a:pt x="728" y="464"/>
                </a:lnTo>
                <a:lnTo>
                  <a:pt x="728" y="486"/>
                </a:lnTo>
                <a:lnTo>
                  <a:pt x="725" y="486"/>
                </a:lnTo>
                <a:lnTo>
                  <a:pt x="661" y="479"/>
                </a:lnTo>
                <a:lnTo>
                  <a:pt x="659" y="477"/>
                </a:lnTo>
                <a:lnTo>
                  <a:pt x="596" y="473"/>
                </a:lnTo>
                <a:lnTo>
                  <a:pt x="581" y="470"/>
                </a:lnTo>
                <a:lnTo>
                  <a:pt x="471" y="457"/>
                </a:lnTo>
                <a:lnTo>
                  <a:pt x="449" y="455"/>
                </a:lnTo>
                <a:lnTo>
                  <a:pt x="425" y="453"/>
                </a:lnTo>
                <a:lnTo>
                  <a:pt x="348" y="440"/>
                </a:lnTo>
                <a:lnTo>
                  <a:pt x="335" y="438"/>
                </a:lnTo>
                <a:lnTo>
                  <a:pt x="307" y="436"/>
                </a:lnTo>
                <a:lnTo>
                  <a:pt x="304" y="436"/>
                </a:lnTo>
                <a:lnTo>
                  <a:pt x="266" y="427"/>
                </a:lnTo>
                <a:lnTo>
                  <a:pt x="261" y="460"/>
                </a:lnTo>
                <a:lnTo>
                  <a:pt x="257" y="477"/>
                </a:lnTo>
                <a:lnTo>
                  <a:pt x="255" y="475"/>
                </a:lnTo>
                <a:lnTo>
                  <a:pt x="253" y="473"/>
                </a:lnTo>
                <a:lnTo>
                  <a:pt x="253" y="470"/>
                </a:lnTo>
                <a:lnTo>
                  <a:pt x="250" y="470"/>
                </a:lnTo>
                <a:lnTo>
                  <a:pt x="250" y="468"/>
                </a:lnTo>
                <a:lnTo>
                  <a:pt x="248" y="464"/>
                </a:lnTo>
                <a:lnTo>
                  <a:pt x="248" y="462"/>
                </a:lnTo>
                <a:lnTo>
                  <a:pt x="248" y="460"/>
                </a:lnTo>
                <a:lnTo>
                  <a:pt x="246" y="460"/>
                </a:lnTo>
                <a:lnTo>
                  <a:pt x="246" y="455"/>
                </a:lnTo>
                <a:lnTo>
                  <a:pt x="242" y="453"/>
                </a:lnTo>
                <a:lnTo>
                  <a:pt x="242" y="449"/>
                </a:lnTo>
                <a:lnTo>
                  <a:pt x="240" y="447"/>
                </a:lnTo>
                <a:lnTo>
                  <a:pt x="237" y="453"/>
                </a:lnTo>
                <a:lnTo>
                  <a:pt x="235" y="449"/>
                </a:lnTo>
                <a:lnTo>
                  <a:pt x="233" y="449"/>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181" name="Freeform 14">
            <a:extLst>
              <a:ext uri="{FF2B5EF4-FFF2-40B4-BE49-F238E27FC236}">
                <a16:creationId xmlns:a16="http://schemas.microsoft.com/office/drawing/2014/main" id="{6649957B-DE61-41DE-91C8-1D7347A12D47}"/>
              </a:ext>
            </a:extLst>
          </p:cNvPr>
          <p:cNvSpPr>
            <a:spLocks/>
          </p:cNvSpPr>
          <p:nvPr>
            <p:custDataLst>
              <p:tags r:id="rId5"/>
            </p:custDataLst>
          </p:nvPr>
        </p:nvSpPr>
        <p:spPr bwMode="auto">
          <a:xfrm>
            <a:off x="9393126" y="1617144"/>
            <a:ext cx="558962" cy="923047"/>
          </a:xfrm>
          <a:custGeom>
            <a:avLst/>
            <a:gdLst>
              <a:gd name="T0" fmla="*/ 2147483647 w 276"/>
              <a:gd name="T1" fmla="*/ 2147483647 h 427"/>
              <a:gd name="T2" fmla="*/ 2147483647 w 276"/>
              <a:gd name="T3" fmla="*/ 2147483647 h 427"/>
              <a:gd name="T4" fmla="*/ 2147483647 w 276"/>
              <a:gd name="T5" fmla="*/ 2147483647 h 427"/>
              <a:gd name="T6" fmla="*/ 2147483647 w 276"/>
              <a:gd name="T7" fmla="*/ 2147483647 h 427"/>
              <a:gd name="T8" fmla="*/ 2147483647 w 276"/>
              <a:gd name="T9" fmla="*/ 2147483647 h 427"/>
              <a:gd name="T10" fmla="*/ 2147483647 w 276"/>
              <a:gd name="T11" fmla="*/ 2147483647 h 427"/>
              <a:gd name="T12" fmla="*/ 2147483647 w 276"/>
              <a:gd name="T13" fmla="*/ 2147483647 h 427"/>
              <a:gd name="T14" fmla="*/ 2147483647 w 276"/>
              <a:gd name="T15" fmla="*/ 2147483647 h 427"/>
              <a:gd name="T16" fmla="*/ 2147483647 w 276"/>
              <a:gd name="T17" fmla="*/ 2147483647 h 427"/>
              <a:gd name="T18" fmla="*/ 2147483647 w 276"/>
              <a:gd name="T19" fmla="*/ 2147483647 h 427"/>
              <a:gd name="T20" fmla="*/ 2147483647 w 276"/>
              <a:gd name="T21" fmla="*/ 2147483647 h 427"/>
              <a:gd name="T22" fmla="*/ 2147483647 w 276"/>
              <a:gd name="T23" fmla="*/ 2147483647 h 427"/>
              <a:gd name="T24" fmla="*/ 2147483647 w 276"/>
              <a:gd name="T25" fmla="*/ 2147483647 h 427"/>
              <a:gd name="T26" fmla="*/ 2147483647 w 276"/>
              <a:gd name="T27" fmla="*/ 2147483647 h 427"/>
              <a:gd name="T28" fmla="*/ 2147483647 w 276"/>
              <a:gd name="T29" fmla="*/ 2147483647 h 427"/>
              <a:gd name="T30" fmla="*/ 2147483647 w 276"/>
              <a:gd name="T31" fmla="*/ 2147483647 h 427"/>
              <a:gd name="T32" fmla="*/ 2147483647 w 276"/>
              <a:gd name="T33" fmla="*/ 2147483647 h 427"/>
              <a:gd name="T34" fmla="*/ 2147483647 w 276"/>
              <a:gd name="T35" fmla="*/ 2147483647 h 427"/>
              <a:gd name="T36" fmla="*/ 2147483647 w 276"/>
              <a:gd name="T37" fmla="*/ 2147483647 h 427"/>
              <a:gd name="T38" fmla="*/ 2147483647 w 276"/>
              <a:gd name="T39" fmla="*/ 2147483647 h 427"/>
              <a:gd name="T40" fmla="*/ 2147483647 w 276"/>
              <a:gd name="T41" fmla="*/ 2147483647 h 427"/>
              <a:gd name="T42" fmla="*/ 2147483647 w 276"/>
              <a:gd name="T43" fmla="*/ 2147483647 h 427"/>
              <a:gd name="T44" fmla="*/ 2147483647 w 276"/>
              <a:gd name="T45" fmla="*/ 2147483647 h 427"/>
              <a:gd name="T46" fmla="*/ 2147483647 w 276"/>
              <a:gd name="T47" fmla="*/ 2147483647 h 427"/>
              <a:gd name="T48" fmla="*/ 2147483647 w 276"/>
              <a:gd name="T49" fmla="*/ 2147483647 h 427"/>
              <a:gd name="T50" fmla="*/ 2147483647 w 276"/>
              <a:gd name="T51" fmla="*/ 2147483647 h 427"/>
              <a:gd name="T52" fmla="*/ 2147483647 w 276"/>
              <a:gd name="T53" fmla="*/ 2147483647 h 427"/>
              <a:gd name="T54" fmla="*/ 2147483647 w 276"/>
              <a:gd name="T55" fmla="*/ 2147483647 h 427"/>
              <a:gd name="T56" fmla="*/ 2147483647 w 276"/>
              <a:gd name="T57" fmla="*/ 2147483647 h 427"/>
              <a:gd name="T58" fmla="*/ 2147483647 w 276"/>
              <a:gd name="T59" fmla="*/ 2147483647 h 427"/>
              <a:gd name="T60" fmla="*/ 2147483647 w 276"/>
              <a:gd name="T61" fmla="*/ 2147483647 h 427"/>
              <a:gd name="T62" fmla="*/ 2147483647 w 276"/>
              <a:gd name="T63" fmla="*/ 2147483647 h 427"/>
              <a:gd name="T64" fmla="*/ 2147483647 w 276"/>
              <a:gd name="T65" fmla="*/ 2147483647 h 427"/>
              <a:gd name="T66" fmla="*/ 2147483647 w 276"/>
              <a:gd name="T67" fmla="*/ 2147483647 h 427"/>
              <a:gd name="T68" fmla="*/ 2147483647 w 276"/>
              <a:gd name="T69" fmla="*/ 2147483647 h 427"/>
              <a:gd name="T70" fmla="*/ 2147483647 w 276"/>
              <a:gd name="T71" fmla="*/ 2147483647 h 427"/>
              <a:gd name="T72" fmla="*/ 2147483647 w 276"/>
              <a:gd name="T73" fmla="*/ 2147483647 h 427"/>
              <a:gd name="T74" fmla="*/ 2147483647 w 276"/>
              <a:gd name="T75" fmla="*/ 2147483647 h 427"/>
              <a:gd name="T76" fmla="*/ 2147483647 w 276"/>
              <a:gd name="T77" fmla="*/ 2147483647 h 427"/>
              <a:gd name="T78" fmla="*/ 2147483647 w 276"/>
              <a:gd name="T79" fmla="*/ 2147483647 h 427"/>
              <a:gd name="T80" fmla="*/ 2147483647 w 276"/>
              <a:gd name="T81" fmla="*/ 2147483647 h 427"/>
              <a:gd name="T82" fmla="*/ 2147483647 w 276"/>
              <a:gd name="T83" fmla="*/ 2147483647 h 427"/>
              <a:gd name="T84" fmla="*/ 2147483647 w 276"/>
              <a:gd name="T85" fmla="*/ 2147483647 h 427"/>
              <a:gd name="T86" fmla="*/ 2147483647 w 276"/>
              <a:gd name="T87" fmla="*/ 2147483647 h 427"/>
              <a:gd name="T88" fmla="*/ 2147483647 w 276"/>
              <a:gd name="T89" fmla="*/ 2147483647 h 427"/>
              <a:gd name="T90" fmla="*/ 2147483647 w 276"/>
              <a:gd name="T91" fmla="*/ 2147483647 h 427"/>
              <a:gd name="T92" fmla="*/ 2147483647 w 276"/>
              <a:gd name="T93" fmla="*/ 2147483647 h 42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6"/>
              <a:gd name="T142" fmla="*/ 0 h 427"/>
              <a:gd name="T143" fmla="*/ 276 w 276"/>
              <a:gd name="T144" fmla="*/ 427 h 42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6" h="427">
                <a:moveTo>
                  <a:pt x="116" y="322"/>
                </a:moveTo>
                <a:lnTo>
                  <a:pt x="112" y="330"/>
                </a:lnTo>
                <a:lnTo>
                  <a:pt x="125" y="352"/>
                </a:lnTo>
                <a:lnTo>
                  <a:pt x="121" y="354"/>
                </a:lnTo>
                <a:lnTo>
                  <a:pt x="118" y="354"/>
                </a:lnTo>
                <a:lnTo>
                  <a:pt x="116" y="345"/>
                </a:lnTo>
                <a:lnTo>
                  <a:pt x="114" y="343"/>
                </a:lnTo>
                <a:lnTo>
                  <a:pt x="114" y="350"/>
                </a:lnTo>
                <a:lnTo>
                  <a:pt x="112" y="354"/>
                </a:lnTo>
                <a:lnTo>
                  <a:pt x="110" y="352"/>
                </a:lnTo>
                <a:lnTo>
                  <a:pt x="110" y="347"/>
                </a:lnTo>
                <a:lnTo>
                  <a:pt x="105" y="347"/>
                </a:lnTo>
                <a:lnTo>
                  <a:pt x="99" y="354"/>
                </a:lnTo>
                <a:lnTo>
                  <a:pt x="97" y="367"/>
                </a:lnTo>
                <a:lnTo>
                  <a:pt x="99" y="375"/>
                </a:lnTo>
                <a:lnTo>
                  <a:pt x="92" y="382"/>
                </a:lnTo>
                <a:lnTo>
                  <a:pt x="95" y="393"/>
                </a:lnTo>
                <a:lnTo>
                  <a:pt x="88" y="399"/>
                </a:lnTo>
                <a:lnTo>
                  <a:pt x="84" y="401"/>
                </a:lnTo>
                <a:lnTo>
                  <a:pt x="82" y="427"/>
                </a:lnTo>
                <a:lnTo>
                  <a:pt x="71" y="427"/>
                </a:lnTo>
                <a:lnTo>
                  <a:pt x="69" y="425"/>
                </a:lnTo>
                <a:lnTo>
                  <a:pt x="69" y="416"/>
                </a:lnTo>
                <a:lnTo>
                  <a:pt x="62" y="414"/>
                </a:lnTo>
                <a:lnTo>
                  <a:pt x="62" y="412"/>
                </a:lnTo>
                <a:lnTo>
                  <a:pt x="56" y="408"/>
                </a:lnTo>
                <a:lnTo>
                  <a:pt x="54" y="404"/>
                </a:lnTo>
                <a:lnTo>
                  <a:pt x="54" y="401"/>
                </a:lnTo>
                <a:lnTo>
                  <a:pt x="54" y="399"/>
                </a:lnTo>
                <a:lnTo>
                  <a:pt x="51" y="395"/>
                </a:lnTo>
                <a:lnTo>
                  <a:pt x="51" y="393"/>
                </a:lnTo>
                <a:lnTo>
                  <a:pt x="51" y="391"/>
                </a:lnTo>
                <a:lnTo>
                  <a:pt x="49" y="391"/>
                </a:lnTo>
                <a:lnTo>
                  <a:pt x="45" y="369"/>
                </a:lnTo>
                <a:lnTo>
                  <a:pt x="32" y="326"/>
                </a:lnTo>
                <a:lnTo>
                  <a:pt x="19" y="293"/>
                </a:lnTo>
                <a:lnTo>
                  <a:pt x="0" y="235"/>
                </a:lnTo>
                <a:lnTo>
                  <a:pt x="6" y="231"/>
                </a:lnTo>
                <a:lnTo>
                  <a:pt x="17" y="237"/>
                </a:lnTo>
                <a:lnTo>
                  <a:pt x="17" y="233"/>
                </a:lnTo>
                <a:lnTo>
                  <a:pt x="17" y="224"/>
                </a:lnTo>
                <a:lnTo>
                  <a:pt x="15" y="222"/>
                </a:lnTo>
                <a:lnTo>
                  <a:pt x="17" y="218"/>
                </a:lnTo>
                <a:lnTo>
                  <a:pt x="28" y="220"/>
                </a:lnTo>
                <a:lnTo>
                  <a:pt x="19" y="211"/>
                </a:lnTo>
                <a:lnTo>
                  <a:pt x="28" y="192"/>
                </a:lnTo>
                <a:lnTo>
                  <a:pt x="34" y="186"/>
                </a:lnTo>
                <a:lnTo>
                  <a:pt x="32" y="181"/>
                </a:lnTo>
                <a:lnTo>
                  <a:pt x="38" y="166"/>
                </a:lnTo>
                <a:lnTo>
                  <a:pt x="36" y="164"/>
                </a:lnTo>
                <a:lnTo>
                  <a:pt x="34" y="162"/>
                </a:lnTo>
                <a:lnTo>
                  <a:pt x="34" y="153"/>
                </a:lnTo>
                <a:lnTo>
                  <a:pt x="32" y="153"/>
                </a:lnTo>
                <a:lnTo>
                  <a:pt x="34" y="147"/>
                </a:lnTo>
                <a:lnTo>
                  <a:pt x="30" y="140"/>
                </a:lnTo>
                <a:lnTo>
                  <a:pt x="32" y="125"/>
                </a:lnTo>
                <a:lnTo>
                  <a:pt x="38" y="116"/>
                </a:lnTo>
                <a:lnTo>
                  <a:pt x="36" y="101"/>
                </a:lnTo>
                <a:lnTo>
                  <a:pt x="34" y="91"/>
                </a:lnTo>
                <a:lnTo>
                  <a:pt x="62" y="8"/>
                </a:lnTo>
                <a:lnTo>
                  <a:pt x="73" y="8"/>
                </a:lnTo>
                <a:lnTo>
                  <a:pt x="80" y="24"/>
                </a:lnTo>
                <a:lnTo>
                  <a:pt x="88" y="26"/>
                </a:lnTo>
                <a:lnTo>
                  <a:pt x="112" y="8"/>
                </a:lnTo>
                <a:lnTo>
                  <a:pt x="118" y="8"/>
                </a:lnTo>
                <a:lnTo>
                  <a:pt x="118" y="2"/>
                </a:lnTo>
                <a:lnTo>
                  <a:pt x="127" y="0"/>
                </a:lnTo>
                <a:lnTo>
                  <a:pt x="162" y="17"/>
                </a:lnTo>
                <a:lnTo>
                  <a:pt x="194" y="116"/>
                </a:lnTo>
                <a:lnTo>
                  <a:pt x="196" y="119"/>
                </a:lnTo>
                <a:lnTo>
                  <a:pt x="194" y="123"/>
                </a:lnTo>
                <a:lnTo>
                  <a:pt x="198" y="129"/>
                </a:lnTo>
                <a:lnTo>
                  <a:pt x="196" y="132"/>
                </a:lnTo>
                <a:lnTo>
                  <a:pt x="198" y="140"/>
                </a:lnTo>
                <a:lnTo>
                  <a:pt x="203" y="142"/>
                </a:lnTo>
                <a:lnTo>
                  <a:pt x="203" y="138"/>
                </a:lnTo>
                <a:lnTo>
                  <a:pt x="213" y="142"/>
                </a:lnTo>
                <a:lnTo>
                  <a:pt x="224" y="140"/>
                </a:lnTo>
                <a:lnTo>
                  <a:pt x="228" y="149"/>
                </a:lnTo>
                <a:lnTo>
                  <a:pt x="224" y="153"/>
                </a:lnTo>
                <a:lnTo>
                  <a:pt x="231" y="162"/>
                </a:lnTo>
                <a:lnTo>
                  <a:pt x="231" y="170"/>
                </a:lnTo>
                <a:lnTo>
                  <a:pt x="235" y="179"/>
                </a:lnTo>
                <a:lnTo>
                  <a:pt x="244" y="183"/>
                </a:lnTo>
                <a:lnTo>
                  <a:pt x="246" y="175"/>
                </a:lnTo>
                <a:lnTo>
                  <a:pt x="252" y="175"/>
                </a:lnTo>
                <a:lnTo>
                  <a:pt x="257" y="179"/>
                </a:lnTo>
                <a:lnTo>
                  <a:pt x="265" y="190"/>
                </a:lnTo>
                <a:lnTo>
                  <a:pt x="261" y="198"/>
                </a:lnTo>
                <a:lnTo>
                  <a:pt x="276" y="201"/>
                </a:lnTo>
                <a:lnTo>
                  <a:pt x="274" y="205"/>
                </a:lnTo>
                <a:lnTo>
                  <a:pt x="265" y="220"/>
                </a:lnTo>
                <a:lnTo>
                  <a:pt x="259" y="222"/>
                </a:lnTo>
                <a:lnTo>
                  <a:pt x="252" y="220"/>
                </a:lnTo>
                <a:lnTo>
                  <a:pt x="244" y="233"/>
                </a:lnTo>
                <a:lnTo>
                  <a:pt x="241" y="239"/>
                </a:lnTo>
                <a:lnTo>
                  <a:pt x="228" y="244"/>
                </a:lnTo>
                <a:lnTo>
                  <a:pt x="226" y="246"/>
                </a:lnTo>
                <a:lnTo>
                  <a:pt x="226" y="252"/>
                </a:lnTo>
                <a:lnTo>
                  <a:pt x="220" y="252"/>
                </a:lnTo>
                <a:lnTo>
                  <a:pt x="220" y="250"/>
                </a:lnTo>
                <a:lnTo>
                  <a:pt x="220" y="252"/>
                </a:lnTo>
                <a:lnTo>
                  <a:pt x="220" y="261"/>
                </a:lnTo>
                <a:lnTo>
                  <a:pt x="216" y="263"/>
                </a:lnTo>
                <a:lnTo>
                  <a:pt x="211" y="255"/>
                </a:lnTo>
                <a:lnTo>
                  <a:pt x="203" y="255"/>
                </a:lnTo>
                <a:lnTo>
                  <a:pt x="196" y="263"/>
                </a:lnTo>
                <a:lnTo>
                  <a:pt x="192" y="263"/>
                </a:lnTo>
                <a:lnTo>
                  <a:pt x="185" y="270"/>
                </a:lnTo>
                <a:lnTo>
                  <a:pt x="192" y="280"/>
                </a:lnTo>
                <a:lnTo>
                  <a:pt x="187" y="283"/>
                </a:lnTo>
                <a:lnTo>
                  <a:pt x="177" y="278"/>
                </a:lnTo>
                <a:lnTo>
                  <a:pt x="170" y="283"/>
                </a:lnTo>
                <a:lnTo>
                  <a:pt x="168" y="276"/>
                </a:lnTo>
                <a:lnTo>
                  <a:pt x="170" y="265"/>
                </a:lnTo>
                <a:lnTo>
                  <a:pt x="168" y="261"/>
                </a:lnTo>
                <a:lnTo>
                  <a:pt x="164" y="257"/>
                </a:lnTo>
                <a:lnTo>
                  <a:pt x="162" y="252"/>
                </a:lnTo>
                <a:lnTo>
                  <a:pt x="162" y="257"/>
                </a:lnTo>
                <a:lnTo>
                  <a:pt x="166" y="261"/>
                </a:lnTo>
                <a:lnTo>
                  <a:pt x="166" y="268"/>
                </a:lnTo>
                <a:lnTo>
                  <a:pt x="159" y="276"/>
                </a:lnTo>
                <a:lnTo>
                  <a:pt x="162" y="289"/>
                </a:lnTo>
                <a:lnTo>
                  <a:pt x="159" y="293"/>
                </a:lnTo>
                <a:lnTo>
                  <a:pt x="162" y="311"/>
                </a:lnTo>
                <a:lnTo>
                  <a:pt x="155" y="326"/>
                </a:lnTo>
                <a:lnTo>
                  <a:pt x="151" y="326"/>
                </a:lnTo>
                <a:lnTo>
                  <a:pt x="144" y="319"/>
                </a:lnTo>
                <a:lnTo>
                  <a:pt x="142" y="319"/>
                </a:lnTo>
                <a:lnTo>
                  <a:pt x="138" y="334"/>
                </a:lnTo>
                <a:lnTo>
                  <a:pt x="133" y="339"/>
                </a:lnTo>
                <a:lnTo>
                  <a:pt x="129" y="339"/>
                </a:lnTo>
                <a:lnTo>
                  <a:pt x="127" y="330"/>
                </a:lnTo>
                <a:lnTo>
                  <a:pt x="127" y="322"/>
                </a:lnTo>
                <a:lnTo>
                  <a:pt x="125" y="334"/>
                </a:lnTo>
                <a:lnTo>
                  <a:pt x="121" y="337"/>
                </a:lnTo>
                <a:lnTo>
                  <a:pt x="127" y="347"/>
                </a:lnTo>
                <a:lnTo>
                  <a:pt x="127" y="350"/>
                </a:lnTo>
                <a:lnTo>
                  <a:pt x="125" y="347"/>
                </a:lnTo>
                <a:lnTo>
                  <a:pt x="116" y="328"/>
                </a:lnTo>
                <a:lnTo>
                  <a:pt x="116" y="326"/>
                </a:lnTo>
                <a:lnTo>
                  <a:pt x="116" y="322"/>
                </a:lnTo>
                <a:close/>
              </a:path>
            </a:pathLst>
          </a:custGeom>
          <a:noFill/>
          <a:ln w="9525">
            <a:noFill/>
            <a:round/>
            <a:headEnd/>
            <a:tailEnd/>
          </a:ln>
        </p:spPr>
        <p:txBody>
          <a:bodyPr/>
          <a:lstStyle/>
          <a:p>
            <a:endParaRPr lang="en-US" dirty="0">
              <a:solidFill>
                <a:prstClr val="black"/>
              </a:solidFill>
            </a:endParaRPr>
          </a:p>
        </p:txBody>
      </p:sp>
      <p:sp>
        <p:nvSpPr>
          <p:cNvPr id="182" name="Freeform 15">
            <a:extLst>
              <a:ext uri="{FF2B5EF4-FFF2-40B4-BE49-F238E27FC236}">
                <a16:creationId xmlns:a16="http://schemas.microsoft.com/office/drawing/2014/main" id="{4495F23B-E777-4838-A928-195526C1B128}"/>
              </a:ext>
            </a:extLst>
          </p:cNvPr>
          <p:cNvSpPr>
            <a:spLocks/>
          </p:cNvSpPr>
          <p:nvPr>
            <p:custDataLst>
              <p:tags r:id="rId6"/>
            </p:custDataLst>
          </p:nvPr>
        </p:nvSpPr>
        <p:spPr bwMode="auto">
          <a:xfrm>
            <a:off x="9393126" y="1617144"/>
            <a:ext cx="558962" cy="923047"/>
          </a:xfrm>
          <a:custGeom>
            <a:avLst/>
            <a:gdLst>
              <a:gd name="T0" fmla="*/ 2147483647 w 276"/>
              <a:gd name="T1" fmla="*/ 2147483647 h 427"/>
              <a:gd name="T2" fmla="*/ 2147483647 w 276"/>
              <a:gd name="T3" fmla="*/ 2147483647 h 427"/>
              <a:gd name="T4" fmla="*/ 2147483647 w 276"/>
              <a:gd name="T5" fmla="*/ 2147483647 h 427"/>
              <a:gd name="T6" fmla="*/ 2147483647 w 276"/>
              <a:gd name="T7" fmla="*/ 2147483647 h 427"/>
              <a:gd name="T8" fmla="*/ 2147483647 w 276"/>
              <a:gd name="T9" fmla="*/ 2147483647 h 427"/>
              <a:gd name="T10" fmla="*/ 2147483647 w 276"/>
              <a:gd name="T11" fmla="*/ 2147483647 h 427"/>
              <a:gd name="T12" fmla="*/ 2147483647 w 276"/>
              <a:gd name="T13" fmla="*/ 2147483647 h 427"/>
              <a:gd name="T14" fmla="*/ 2147483647 w 276"/>
              <a:gd name="T15" fmla="*/ 2147483647 h 427"/>
              <a:gd name="T16" fmla="*/ 2147483647 w 276"/>
              <a:gd name="T17" fmla="*/ 2147483647 h 427"/>
              <a:gd name="T18" fmla="*/ 2147483647 w 276"/>
              <a:gd name="T19" fmla="*/ 2147483647 h 427"/>
              <a:gd name="T20" fmla="*/ 2147483647 w 276"/>
              <a:gd name="T21" fmla="*/ 2147483647 h 427"/>
              <a:gd name="T22" fmla="*/ 2147483647 w 276"/>
              <a:gd name="T23" fmla="*/ 2147483647 h 427"/>
              <a:gd name="T24" fmla="*/ 2147483647 w 276"/>
              <a:gd name="T25" fmla="*/ 2147483647 h 427"/>
              <a:gd name="T26" fmla="*/ 2147483647 w 276"/>
              <a:gd name="T27" fmla="*/ 2147483647 h 427"/>
              <a:gd name="T28" fmla="*/ 2147483647 w 276"/>
              <a:gd name="T29" fmla="*/ 2147483647 h 427"/>
              <a:gd name="T30" fmla="*/ 2147483647 w 276"/>
              <a:gd name="T31" fmla="*/ 2147483647 h 427"/>
              <a:gd name="T32" fmla="*/ 2147483647 w 276"/>
              <a:gd name="T33" fmla="*/ 2147483647 h 427"/>
              <a:gd name="T34" fmla="*/ 2147483647 w 276"/>
              <a:gd name="T35" fmla="*/ 2147483647 h 427"/>
              <a:gd name="T36" fmla="*/ 2147483647 w 276"/>
              <a:gd name="T37" fmla="*/ 2147483647 h 427"/>
              <a:gd name="T38" fmla="*/ 2147483647 w 276"/>
              <a:gd name="T39" fmla="*/ 2147483647 h 427"/>
              <a:gd name="T40" fmla="*/ 2147483647 w 276"/>
              <a:gd name="T41" fmla="*/ 2147483647 h 427"/>
              <a:gd name="T42" fmla="*/ 2147483647 w 276"/>
              <a:gd name="T43" fmla="*/ 2147483647 h 427"/>
              <a:gd name="T44" fmla="*/ 2147483647 w 276"/>
              <a:gd name="T45" fmla="*/ 2147483647 h 427"/>
              <a:gd name="T46" fmla="*/ 2147483647 w 276"/>
              <a:gd name="T47" fmla="*/ 2147483647 h 427"/>
              <a:gd name="T48" fmla="*/ 2147483647 w 276"/>
              <a:gd name="T49" fmla="*/ 2147483647 h 427"/>
              <a:gd name="T50" fmla="*/ 2147483647 w 276"/>
              <a:gd name="T51" fmla="*/ 2147483647 h 427"/>
              <a:gd name="T52" fmla="*/ 2147483647 w 276"/>
              <a:gd name="T53" fmla="*/ 2147483647 h 427"/>
              <a:gd name="T54" fmla="*/ 2147483647 w 276"/>
              <a:gd name="T55" fmla="*/ 2147483647 h 427"/>
              <a:gd name="T56" fmla="*/ 2147483647 w 276"/>
              <a:gd name="T57" fmla="*/ 2147483647 h 427"/>
              <a:gd name="T58" fmla="*/ 2147483647 w 276"/>
              <a:gd name="T59" fmla="*/ 2147483647 h 427"/>
              <a:gd name="T60" fmla="*/ 2147483647 w 276"/>
              <a:gd name="T61" fmla="*/ 2147483647 h 427"/>
              <a:gd name="T62" fmla="*/ 2147483647 w 276"/>
              <a:gd name="T63" fmla="*/ 2147483647 h 427"/>
              <a:gd name="T64" fmla="*/ 2147483647 w 276"/>
              <a:gd name="T65" fmla="*/ 2147483647 h 427"/>
              <a:gd name="T66" fmla="*/ 2147483647 w 276"/>
              <a:gd name="T67" fmla="*/ 2147483647 h 427"/>
              <a:gd name="T68" fmla="*/ 2147483647 w 276"/>
              <a:gd name="T69" fmla="*/ 2147483647 h 427"/>
              <a:gd name="T70" fmla="*/ 2147483647 w 276"/>
              <a:gd name="T71" fmla="*/ 2147483647 h 427"/>
              <a:gd name="T72" fmla="*/ 2147483647 w 276"/>
              <a:gd name="T73" fmla="*/ 2147483647 h 427"/>
              <a:gd name="T74" fmla="*/ 2147483647 w 276"/>
              <a:gd name="T75" fmla="*/ 2147483647 h 427"/>
              <a:gd name="T76" fmla="*/ 2147483647 w 276"/>
              <a:gd name="T77" fmla="*/ 2147483647 h 427"/>
              <a:gd name="T78" fmla="*/ 2147483647 w 276"/>
              <a:gd name="T79" fmla="*/ 2147483647 h 427"/>
              <a:gd name="T80" fmla="*/ 2147483647 w 276"/>
              <a:gd name="T81" fmla="*/ 2147483647 h 427"/>
              <a:gd name="T82" fmla="*/ 2147483647 w 276"/>
              <a:gd name="T83" fmla="*/ 2147483647 h 427"/>
              <a:gd name="T84" fmla="*/ 2147483647 w 276"/>
              <a:gd name="T85" fmla="*/ 2147483647 h 427"/>
              <a:gd name="T86" fmla="*/ 2147483647 w 276"/>
              <a:gd name="T87" fmla="*/ 2147483647 h 427"/>
              <a:gd name="T88" fmla="*/ 2147483647 w 276"/>
              <a:gd name="T89" fmla="*/ 2147483647 h 427"/>
              <a:gd name="T90" fmla="*/ 2147483647 w 276"/>
              <a:gd name="T91" fmla="*/ 2147483647 h 427"/>
              <a:gd name="T92" fmla="*/ 2147483647 w 276"/>
              <a:gd name="T93" fmla="*/ 2147483647 h 42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6"/>
              <a:gd name="T142" fmla="*/ 0 h 427"/>
              <a:gd name="T143" fmla="*/ 276 w 276"/>
              <a:gd name="T144" fmla="*/ 427 h 42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6" h="427">
                <a:moveTo>
                  <a:pt x="116" y="322"/>
                </a:moveTo>
                <a:lnTo>
                  <a:pt x="112" y="330"/>
                </a:lnTo>
                <a:lnTo>
                  <a:pt x="125" y="352"/>
                </a:lnTo>
                <a:lnTo>
                  <a:pt x="121" y="354"/>
                </a:lnTo>
                <a:lnTo>
                  <a:pt x="118" y="354"/>
                </a:lnTo>
                <a:lnTo>
                  <a:pt x="116" y="345"/>
                </a:lnTo>
                <a:lnTo>
                  <a:pt x="114" y="343"/>
                </a:lnTo>
                <a:lnTo>
                  <a:pt x="114" y="350"/>
                </a:lnTo>
                <a:lnTo>
                  <a:pt x="112" y="354"/>
                </a:lnTo>
                <a:lnTo>
                  <a:pt x="110" y="352"/>
                </a:lnTo>
                <a:lnTo>
                  <a:pt x="110" y="347"/>
                </a:lnTo>
                <a:lnTo>
                  <a:pt x="105" y="347"/>
                </a:lnTo>
                <a:lnTo>
                  <a:pt x="99" y="354"/>
                </a:lnTo>
                <a:lnTo>
                  <a:pt x="97" y="367"/>
                </a:lnTo>
                <a:lnTo>
                  <a:pt x="99" y="375"/>
                </a:lnTo>
                <a:lnTo>
                  <a:pt x="92" y="382"/>
                </a:lnTo>
                <a:lnTo>
                  <a:pt x="95" y="393"/>
                </a:lnTo>
                <a:lnTo>
                  <a:pt x="88" y="399"/>
                </a:lnTo>
                <a:lnTo>
                  <a:pt x="84" y="401"/>
                </a:lnTo>
                <a:lnTo>
                  <a:pt x="82" y="427"/>
                </a:lnTo>
                <a:lnTo>
                  <a:pt x="71" y="427"/>
                </a:lnTo>
                <a:lnTo>
                  <a:pt x="69" y="425"/>
                </a:lnTo>
                <a:lnTo>
                  <a:pt x="69" y="416"/>
                </a:lnTo>
                <a:lnTo>
                  <a:pt x="62" y="414"/>
                </a:lnTo>
                <a:lnTo>
                  <a:pt x="62" y="412"/>
                </a:lnTo>
                <a:lnTo>
                  <a:pt x="56" y="408"/>
                </a:lnTo>
                <a:lnTo>
                  <a:pt x="54" y="404"/>
                </a:lnTo>
                <a:lnTo>
                  <a:pt x="54" y="401"/>
                </a:lnTo>
                <a:lnTo>
                  <a:pt x="54" y="399"/>
                </a:lnTo>
                <a:lnTo>
                  <a:pt x="51" y="395"/>
                </a:lnTo>
                <a:lnTo>
                  <a:pt x="51" y="393"/>
                </a:lnTo>
                <a:lnTo>
                  <a:pt x="51" y="391"/>
                </a:lnTo>
                <a:lnTo>
                  <a:pt x="49" y="391"/>
                </a:lnTo>
                <a:lnTo>
                  <a:pt x="45" y="369"/>
                </a:lnTo>
                <a:lnTo>
                  <a:pt x="32" y="326"/>
                </a:lnTo>
                <a:lnTo>
                  <a:pt x="19" y="293"/>
                </a:lnTo>
                <a:lnTo>
                  <a:pt x="0" y="235"/>
                </a:lnTo>
                <a:lnTo>
                  <a:pt x="6" y="231"/>
                </a:lnTo>
                <a:lnTo>
                  <a:pt x="17" y="237"/>
                </a:lnTo>
                <a:lnTo>
                  <a:pt x="17" y="233"/>
                </a:lnTo>
                <a:lnTo>
                  <a:pt x="17" y="224"/>
                </a:lnTo>
                <a:lnTo>
                  <a:pt x="15" y="222"/>
                </a:lnTo>
                <a:lnTo>
                  <a:pt x="17" y="218"/>
                </a:lnTo>
                <a:lnTo>
                  <a:pt x="28" y="220"/>
                </a:lnTo>
                <a:lnTo>
                  <a:pt x="19" y="211"/>
                </a:lnTo>
                <a:lnTo>
                  <a:pt x="28" y="192"/>
                </a:lnTo>
                <a:lnTo>
                  <a:pt x="34" y="186"/>
                </a:lnTo>
                <a:lnTo>
                  <a:pt x="32" y="181"/>
                </a:lnTo>
                <a:lnTo>
                  <a:pt x="38" y="166"/>
                </a:lnTo>
                <a:lnTo>
                  <a:pt x="36" y="164"/>
                </a:lnTo>
                <a:lnTo>
                  <a:pt x="34" y="162"/>
                </a:lnTo>
                <a:lnTo>
                  <a:pt x="34" y="153"/>
                </a:lnTo>
                <a:lnTo>
                  <a:pt x="32" y="153"/>
                </a:lnTo>
                <a:lnTo>
                  <a:pt x="34" y="147"/>
                </a:lnTo>
                <a:lnTo>
                  <a:pt x="30" y="140"/>
                </a:lnTo>
                <a:lnTo>
                  <a:pt x="32" y="125"/>
                </a:lnTo>
                <a:lnTo>
                  <a:pt x="38" y="116"/>
                </a:lnTo>
                <a:lnTo>
                  <a:pt x="36" y="101"/>
                </a:lnTo>
                <a:lnTo>
                  <a:pt x="34" y="91"/>
                </a:lnTo>
                <a:lnTo>
                  <a:pt x="62" y="8"/>
                </a:lnTo>
                <a:lnTo>
                  <a:pt x="73" y="8"/>
                </a:lnTo>
                <a:lnTo>
                  <a:pt x="80" y="24"/>
                </a:lnTo>
                <a:lnTo>
                  <a:pt x="88" y="26"/>
                </a:lnTo>
                <a:lnTo>
                  <a:pt x="112" y="8"/>
                </a:lnTo>
                <a:lnTo>
                  <a:pt x="118" y="8"/>
                </a:lnTo>
                <a:lnTo>
                  <a:pt x="118" y="2"/>
                </a:lnTo>
                <a:lnTo>
                  <a:pt x="127" y="0"/>
                </a:lnTo>
                <a:lnTo>
                  <a:pt x="162" y="17"/>
                </a:lnTo>
                <a:lnTo>
                  <a:pt x="194" y="116"/>
                </a:lnTo>
                <a:lnTo>
                  <a:pt x="196" y="119"/>
                </a:lnTo>
                <a:lnTo>
                  <a:pt x="194" y="123"/>
                </a:lnTo>
                <a:lnTo>
                  <a:pt x="198" y="129"/>
                </a:lnTo>
                <a:lnTo>
                  <a:pt x="196" y="132"/>
                </a:lnTo>
                <a:lnTo>
                  <a:pt x="198" y="140"/>
                </a:lnTo>
                <a:lnTo>
                  <a:pt x="203" y="142"/>
                </a:lnTo>
                <a:lnTo>
                  <a:pt x="203" y="138"/>
                </a:lnTo>
                <a:lnTo>
                  <a:pt x="213" y="142"/>
                </a:lnTo>
                <a:lnTo>
                  <a:pt x="224" y="140"/>
                </a:lnTo>
                <a:lnTo>
                  <a:pt x="228" y="149"/>
                </a:lnTo>
                <a:lnTo>
                  <a:pt x="224" y="153"/>
                </a:lnTo>
                <a:lnTo>
                  <a:pt x="231" y="162"/>
                </a:lnTo>
                <a:lnTo>
                  <a:pt x="231" y="170"/>
                </a:lnTo>
                <a:lnTo>
                  <a:pt x="235" y="179"/>
                </a:lnTo>
                <a:lnTo>
                  <a:pt x="244" y="183"/>
                </a:lnTo>
                <a:lnTo>
                  <a:pt x="246" y="175"/>
                </a:lnTo>
                <a:lnTo>
                  <a:pt x="252" y="175"/>
                </a:lnTo>
                <a:lnTo>
                  <a:pt x="257" y="179"/>
                </a:lnTo>
                <a:lnTo>
                  <a:pt x="265" y="190"/>
                </a:lnTo>
                <a:lnTo>
                  <a:pt x="261" y="198"/>
                </a:lnTo>
                <a:lnTo>
                  <a:pt x="276" y="201"/>
                </a:lnTo>
                <a:lnTo>
                  <a:pt x="274" y="205"/>
                </a:lnTo>
                <a:lnTo>
                  <a:pt x="265" y="220"/>
                </a:lnTo>
                <a:lnTo>
                  <a:pt x="259" y="222"/>
                </a:lnTo>
                <a:lnTo>
                  <a:pt x="252" y="220"/>
                </a:lnTo>
                <a:lnTo>
                  <a:pt x="244" y="233"/>
                </a:lnTo>
                <a:lnTo>
                  <a:pt x="241" y="239"/>
                </a:lnTo>
                <a:lnTo>
                  <a:pt x="228" y="244"/>
                </a:lnTo>
                <a:lnTo>
                  <a:pt x="226" y="246"/>
                </a:lnTo>
                <a:lnTo>
                  <a:pt x="226" y="252"/>
                </a:lnTo>
                <a:lnTo>
                  <a:pt x="220" y="252"/>
                </a:lnTo>
                <a:lnTo>
                  <a:pt x="220" y="250"/>
                </a:lnTo>
                <a:lnTo>
                  <a:pt x="220" y="252"/>
                </a:lnTo>
                <a:lnTo>
                  <a:pt x="220" y="261"/>
                </a:lnTo>
                <a:lnTo>
                  <a:pt x="216" y="263"/>
                </a:lnTo>
                <a:lnTo>
                  <a:pt x="211" y="255"/>
                </a:lnTo>
                <a:lnTo>
                  <a:pt x="203" y="255"/>
                </a:lnTo>
                <a:lnTo>
                  <a:pt x="196" y="263"/>
                </a:lnTo>
                <a:lnTo>
                  <a:pt x="192" y="263"/>
                </a:lnTo>
                <a:lnTo>
                  <a:pt x="185" y="270"/>
                </a:lnTo>
                <a:lnTo>
                  <a:pt x="192" y="280"/>
                </a:lnTo>
                <a:lnTo>
                  <a:pt x="187" y="283"/>
                </a:lnTo>
                <a:lnTo>
                  <a:pt x="177" y="278"/>
                </a:lnTo>
                <a:lnTo>
                  <a:pt x="170" y="283"/>
                </a:lnTo>
                <a:lnTo>
                  <a:pt x="168" y="276"/>
                </a:lnTo>
                <a:lnTo>
                  <a:pt x="170" y="265"/>
                </a:lnTo>
                <a:lnTo>
                  <a:pt x="168" y="261"/>
                </a:lnTo>
                <a:lnTo>
                  <a:pt x="164" y="257"/>
                </a:lnTo>
                <a:lnTo>
                  <a:pt x="162" y="252"/>
                </a:lnTo>
                <a:lnTo>
                  <a:pt x="162" y="257"/>
                </a:lnTo>
                <a:lnTo>
                  <a:pt x="166" y="261"/>
                </a:lnTo>
                <a:lnTo>
                  <a:pt x="166" y="268"/>
                </a:lnTo>
                <a:lnTo>
                  <a:pt x="159" y="276"/>
                </a:lnTo>
                <a:lnTo>
                  <a:pt x="162" y="289"/>
                </a:lnTo>
                <a:lnTo>
                  <a:pt x="159" y="293"/>
                </a:lnTo>
                <a:lnTo>
                  <a:pt x="162" y="311"/>
                </a:lnTo>
                <a:lnTo>
                  <a:pt x="155" y="326"/>
                </a:lnTo>
                <a:lnTo>
                  <a:pt x="151" y="326"/>
                </a:lnTo>
                <a:lnTo>
                  <a:pt x="144" y="319"/>
                </a:lnTo>
                <a:lnTo>
                  <a:pt x="142" y="319"/>
                </a:lnTo>
                <a:lnTo>
                  <a:pt x="138" y="334"/>
                </a:lnTo>
                <a:lnTo>
                  <a:pt x="133" y="339"/>
                </a:lnTo>
                <a:lnTo>
                  <a:pt x="129" y="339"/>
                </a:lnTo>
                <a:lnTo>
                  <a:pt x="127" y="330"/>
                </a:lnTo>
                <a:lnTo>
                  <a:pt x="127" y="322"/>
                </a:lnTo>
                <a:lnTo>
                  <a:pt x="125" y="334"/>
                </a:lnTo>
                <a:lnTo>
                  <a:pt x="121" y="337"/>
                </a:lnTo>
                <a:lnTo>
                  <a:pt x="127" y="347"/>
                </a:lnTo>
                <a:lnTo>
                  <a:pt x="127" y="350"/>
                </a:lnTo>
                <a:lnTo>
                  <a:pt x="125" y="347"/>
                </a:lnTo>
                <a:lnTo>
                  <a:pt x="116" y="328"/>
                </a:lnTo>
                <a:lnTo>
                  <a:pt x="116" y="326"/>
                </a:lnTo>
                <a:lnTo>
                  <a:pt x="116" y="322"/>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183" name="Freeform 16">
            <a:extLst>
              <a:ext uri="{FF2B5EF4-FFF2-40B4-BE49-F238E27FC236}">
                <a16:creationId xmlns:a16="http://schemas.microsoft.com/office/drawing/2014/main" id="{804B1425-2990-495D-9D76-4384D17D7291}"/>
              </a:ext>
            </a:extLst>
          </p:cNvPr>
          <p:cNvSpPr>
            <a:spLocks/>
          </p:cNvSpPr>
          <p:nvPr>
            <p:custDataLst>
              <p:tags r:id="rId7"/>
            </p:custDataLst>
          </p:nvPr>
        </p:nvSpPr>
        <p:spPr bwMode="auto">
          <a:xfrm>
            <a:off x="5037653" y="1798698"/>
            <a:ext cx="990785" cy="667967"/>
          </a:xfrm>
          <a:custGeom>
            <a:avLst/>
            <a:gdLst>
              <a:gd name="T0" fmla="*/ 2147483647 w 490"/>
              <a:gd name="T1" fmla="*/ 2147483647 h 309"/>
              <a:gd name="T2" fmla="*/ 2147483647 w 490"/>
              <a:gd name="T3" fmla="*/ 2147483647 h 309"/>
              <a:gd name="T4" fmla="*/ 0 w 490"/>
              <a:gd name="T5" fmla="*/ 2147483647 h 309"/>
              <a:gd name="T6" fmla="*/ 2147483647 w 490"/>
              <a:gd name="T7" fmla="*/ 2147483647 h 309"/>
              <a:gd name="T8" fmla="*/ 2147483647 w 490"/>
              <a:gd name="T9" fmla="*/ 2147483647 h 309"/>
              <a:gd name="T10" fmla="*/ 2147483647 w 490"/>
              <a:gd name="T11" fmla="*/ 0 h 309"/>
              <a:gd name="T12" fmla="*/ 2147483647 w 490"/>
              <a:gd name="T13" fmla="*/ 2147483647 h 309"/>
              <a:gd name="T14" fmla="*/ 2147483647 w 490"/>
              <a:gd name="T15" fmla="*/ 2147483647 h 309"/>
              <a:gd name="T16" fmla="*/ 2147483647 w 490"/>
              <a:gd name="T17" fmla="*/ 2147483647 h 309"/>
              <a:gd name="T18" fmla="*/ 2147483647 w 490"/>
              <a:gd name="T19" fmla="*/ 2147483647 h 309"/>
              <a:gd name="T20" fmla="*/ 2147483647 w 490"/>
              <a:gd name="T21" fmla="*/ 2147483647 h 309"/>
              <a:gd name="T22" fmla="*/ 2147483647 w 490"/>
              <a:gd name="T23" fmla="*/ 2147483647 h 309"/>
              <a:gd name="T24" fmla="*/ 2147483647 w 490"/>
              <a:gd name="T25" fmla="*/ 2147483647 h 309"/>
              <a:gd name="T26" fmla="*/ 2147483647 w 490"/>
              <a:gd name="T27" fmla="*/ 2147483647 h 309"/>
              <a:gd name="T28" fmla="*/ 2147483647 w 490"/>
              <a:gd name="T29" fmla="*/ 2147483647 h 309"/>
              <a:gd name="T30" fmla="*/ 2147483647 w 490"/>
              <a:gd name="T31" fmla="*/ 2147483647 h 309"/>
              <a:gd name="T32" fmla="*/ 2147483647 w 490"/>
              <a:gd name="T33" fmla="*/ 2147483647 h 309"/>
              <a:gd name="T34" fmla="*/ 2147483647 w 490"/>
              <a:gd name="T35" fmla="*/ 2147483647 h 309"/>
              <a:gd name="T36" fmla="*/ 2147483647 w 490"/>
              <a:gd name="T37" fmla="*/ 2147483647 h 309"/>
              <a:gd name="T38" fmla="*/ 2147483647 w 490"/>
              <a:gd name="T39" fmla="*/ 2147483647 h 309"/>
              <a:gd name="T40" fmla="*/ 2147483647 w 490"/>
              <a:gd name="T41" fmla="*/ 2147483647 h 309"/>
              <a:gd name="T42" fmla="*/ 2147483647 w 490"/>
              <a:gd name="T43" fmla="*/ 2147483647 h 309"/>
              <a:gd name="T44" fmla="*/ 2147483647 w 490"/>
              <a:gd name="T45" fmla="*/ 2147483647 h 309"/>
              <a:gd name="T46" fmla="*/ 2147483647 w 490"/>
              <a:gd name="T47" fmla="*/ 2147483647 h 309"/>
              <a:gd name="T48" fmla="*/ 2147483647 w 490"/>
              <a:gd name="T49" fmla="*/ 2147483647 h 309"/>
              <a:gd name="T50" fmla="*/ 2147483647 w 490"/>
              <a:gd name="T51" fmla="*/ 2147483647 h 309"/>
              <a:gd name="T52" fmla="*/ 2147483647 w 490"/>
              <a:gd name="T53" fmla="*/ 2147483647 h 309"/>
              <a:gd name="T54" fmla="*/ 2147483647 w 490"/>
              <a:gd name="T55" fmla="*/ 2147483647 h 309"/>
              <a:gd name="T56" fmla="*/ 2147483647 w 490"/>
              <a:gd name="T57" fmla="*/ 2147483647 h 309"/>
              <a:gd name="T58" fmla="*/ 2147483647 w 490"/>
              <a:gd name="T59" fmla="*/ 2147483647 h 309"/>
              <a:gd name="T60" fmla="*/ 2147483647 w 490"/>
              <a:gd name="T61" fmla="*/ 2147483647 h 309"/>
              <a:gd name="T62" fmla="*/ 2147483647 w 490"/>
              <a:gd name="T63" fmla="*/ 2147483647 h 309"/>
              <a:gd name="T64" fmla="*/ 2147483647 w 490"/>
              <a:gd name="T65" fmla="*/ 2147483647 h 309"/>
              <a:gd name="T66" fmla="*/ 2147483647 w 490"/>
              <a:gd name="T67" fmla="*/ 2147483647 h 309"/>
              <a:gd name="T68" fmla="*/ 2147483647 w 490"/>
              <a:gd name="T69" fmla="*/ 2147483647 h 309"/>
              <a:gd name="T70" fmla="*/ 2147483647 w 490"/>
              <a:gd name="T71" fmla="*/ 2147483647 h 309"/>
              <a:gd name="T72" fmla="*/ 2147483647 w 490"/>
              <a:gd name="T73" fmla="*/ 2147483647 h 309"/>
              <a:gd name="T74" fmla="*/ 2147483647 w 490"/>
              <a:gd name="T75" fmla="*/ 2147483647 h 309"/>
              <a:gd name="T76" fmla="*/ 2147483647 w 490"/>
              <a:gd name="T77" fmla="*/ 2147483647 h 309"/>
              <a:gd name="T78" fmla="*/ 2147483647 w 490"/>
              <a:gd name="T79" fmla="*/ 2147483647 h 309"/>
              <a:gd name="T80" fmla="*/ 2147483647 w 490"/>
              <a:gd name="T81" fmla="*/ 2147483647 h 309"/>
              <a:gd name="T82" fmla="*/ 2147483647 w 490"/>
              <a:gd name="T83" fmla="*/ 2147483647 h 309"/>
              <a:gd name="T84" fmla="*/ 2147483647 w 490"/>
              <a:gd name="T85" fmla="*/ 2147483647 h 309"/>
              <a:gd name="T86" fmla="*/ 2147483647 w 490"/>
              <a:gd name="T87" fmla="*/ 2147483647 h 30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90"/>
              <a:gd name="T133" fmla="*/ 0 h 309"/>
              <a:gd name="T134" fmla="*/ 490 w 490"/>
              <a:gd name="T135" fmla="*/ 309 h 30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90" h="309">
                <a:moveTo>
                  <a:pt x="350" y="307"/>
                </a:moveTo>
                <a:lnTo>
                  <a:pt x="332" y="302"/>
                </a:lnTo>
                <a:lnTo>
                  <a:pt x="285" y="302"/>
                </a:lnTo>
                <a:lnTo>
                  <a:pt x="274" y="300"/>
                </a:lnTo>
                <a:lnTo>
                  <a:pt x="233" y="300"/>
                </a:lnTo>
                <a:lnTo>
                  <a:pt x="136" y="296"/>
                </a:lnTo>
                <a:lnTo>
                  <a:pt x="73" y="291"/>
                </a:lnTo>
                <a:lnTo>
                  <a:pt x="71" y="291"/>
                </a:lnTo>
                <a:lnTo>
                  <a:pt x="0" y="285"/>
                </a:lnTo>
                <a:lnTo>
                  <a:pt x="4" y="253"/>
                </a:lnTo>
                <a:lnTo>
                  <a:pt x="6" y="229"/>
                </a:lnTo>
                <a:lnTo>
                  <a:pt x="9" y="218"/>
                </a:lnTo>
                <a:lnTo>
                  <a:pt x="13" y="153"/>
                </a:lnTo>
                <a:lnTo>
                  <a:pt x="13" y="149"/>
                </a:lnTo>
                <a:lnTo>
                  <a:pt x="17" y="91"/>
                </a:lnTo>
                <a:lnTo>
                  <a:pt x="22" y="56"/>
                </a:lnTo>
                <a:lnTo>
                  <a:pt x="24" y="32"/>
                </a:lnTo>
                <a:lnTo>
                  <a:pt x="26" y="0"/>
                </a:lnTo>
                <a:lnTo>
                  <a:pt x="95" y="4"/>
                </a:lnTo>
                <a:lnTo>
                  <a:pt x="153" y="9"/>
                </a:lnTo>
                <a:lnTo>
                  <a:pt x="186" y="9"/>
                </a:lnTo>
                <a:lnTo>
                  <a:pt x="268" y="15"/>
                </a:lnTo>
                <a:lnTo>
                  <a:pt x="307" y="17"/>
                </a:lnTo>
                <a:lnTo>
                  <a:pt x="341" y="17"/>
                </a:lnTo>
                <a:lnTo>
                  <a:pt x="406" y="19"/>
                </a:lnTo>
                <a:lnTo>
                  <a:pt x="451" y="19"/>
                </a:lnTo>
                <a:lnTo>
                  <a:pt x="451" y="26"/>
                </a:lnTo>
                <a:lnTo>
                  <a:pt x="453" y="32"/>
                </a:lnTo>
                <a:lnTo>
                  <a:pt x="453" y="35"/>
                </a:lnTo>
                <a:lnTo>
                  <a:pt x="453" y="37"/>
                </a:lnTo>
                <a:lnTo>
                  <a:pt x="453" y="39"/>
                </a:lnTo>
                <a:lnTo>
                  <a:pt x="456" y="41"/>
                </a:lnTo>
                <a:lnTo>
                  <a:pt x="456" y="45"/>
                </a:lnTo>
                <a:lnTo>
                  <a:pt x="456" y="48"/>
                </a:lnTo>
                <a:lnTo>
                  <a:pt x="458" y="48"/>
                </a:lnTo>
                <a:lnTo>
                  <a:pt x="458" y="50"/>
                </a:lnTo>
                <a:lnTo>
                  <a:pt x="458" y="52"/>
                </a:lnTo>
                <a:lnTo>
                  <a:pt x="458" y="54"/>
                </a:lnTo>
                <a:lnTo>
                  <a:pt x="456" y="54"/>
                </a:lnTo>
                <a:lnTo>
                  <a:pt x="456" y="56"/>
                </a:lnTo>
                <a:lnTo>
                  <a:pt x="456" y="58"/>
                </a:lnTo>
                <a:lnTo>
                  <a:pt x="453" y="63"/>
                </a:lnTo>
                <a:lnTo>
                  <a:pt x="456" y="63"/>
                </a:lnTo>
                <a:lnTo>
                  <a:pt x="453" y="63"/>
                </a:lnTo>
                <a:lnTo>
                  <a:pt x="456" y="65"/>
                </a:lnTo>
                <a:lnTo>
                  <a:pt x="456" y="67"/>
                </a:lnTo>
                <a:lnTo>
                  <a:pt x="456" y="71"/>
                </a:lnTo>
                <a:lnTo>
                  <a:pt x="456" y="73"/>
                </a:lnTo>
                <a:lnTo>
                  <a:pt x="456" y="78"/>
                </a:lnTo>
                <a:lnTo>
                  <a:pt x="453" y="78"/>
                </a:lnTo>
                <a:lnTo>
                  <a:pt x="456" y="80"/>
                </a:lnTo>
                <a:lnTo>
                  <a:pt x="456" y="84"/>
                </a:lnTo>
                <a:lnTo>
                  <a:pt x="458" y="84"/>
                </a:lnTo>
                <a:lnTo>
                  <a:pt x="456" y="84"/>
                </a:lnTo>
                <a:lnTo>
                  <a:pt x="456" y="86"/>
                </a:lnTo>
                <a:lnTo>
                  <a:pt x="458" y="86"/>
                </a:lnTo>
                <a:lnTo>
                  <a:pt x="456" y="86"/>
                </a:lnTo>
                <a:lnTo>
                  <a:pt x="458" y="86"/>
                </a:lnTo>
                <a:lnTo>
                  <a:pt x="458" y="89"/>
                </a:lnTo>
                <a:lnTo>
                  <a:pt x="456" y="89"/>
                </a:lnTo>
                <a:lnTo>
                  <a:pt x="456" y="91"/>
                </a:lnTo>
                <a:lnTo>
                  <a:pt x="458" y="91"/>
                </a:lnTo>
                <a:lnTo>
                  <a:pt x="456" y="95"/>
                </a:lnTo>
                <a:lnTo>
                  <a:pt x="458" y="95"/>
                </a:lnTo>
                <a:lnTo>
                  <a:pt x="456" y="95"/>
                </a:lnTo>
                <a:lnTo>
                  <a:pt x="456" y="97"/>
                </a:lnTo>
                <a:lnTo>
                  <a:pt x="456" y="99"/>
                </a:lnTo>
                <a:lnTo>
                  <a:pt x="456" y="102"/>
                </a:lnTo>
                <a:lnTo>
                  <a:pt x="456" y="104"/>
                </a:lnTo>
                <a:lnTo>
                  <a:pt x="458" y="104"/>
                </a:lnTo>
                <a:lnTo>
                  <a:pt x="458" y="106"/>
                </a:lnTo>
                <a:lnTo>
                  <a:pt x="462" y="108"/>
                </a:lnTo>
                <a:lnTo>
                  <a:pt x="462" y="119"/>
                </a:lnTo>
                <a:lnTo>
                  <a:pt x="464" y="121"/>
                </a:lnTo>
                <a:lnTo>
                  <a:pt x="464" y="127"/>
                </a:lnTo>
                <a:lnTo>
                  <a:pt x="466" y="132"/>
                </a:lnTo>
                <a:lnTo>
                  <a:pt x="466" y="134"/>
                </a:lnTo>
                <a:lnTo>
                  <a:pt x="468" y="136"/>
                </a:lnTo>
                <a:lnTo>
                  <a:pt x="468" y="140"/>
                </a:lnTo>
                <a:lnTo>
                  <a:pt x="471" y="145"/>
                </a:lnTo>
                <a:lnTo>
                  <a:pt x="471" y="151"/>
                </a:lnTo>
                <a:lnTo>
                  <a:pt x="473" y="151"/>
                </a:lnTo>
                <a:lnTo>
                  <a:pt x="473" y="155"/>
                </a:lnTo>
                <a:lnTo>
                  <a:pt x="473" y="160"/>
                </a:lnTo>
                <a:lnTo>
                  <a:pt x="473" y="162"/>
                </a:lnTo>
                <a:lnTo>
                  <a:pt x="471" y="164"/>
                </a:lnTo>
                <a:lnTo>
                  <a:pt x="473" y="166"/>
                </a:lnTo>
                <a:lnTo>
                  <a:pt x="471" y="168"/>
                </a:lnTo>
                <a:lnTo>
                  <a:pt x="473" y="168"/>
                </a:lnTo>
                <a:lnTo>
                  <a:pt x="473" y="171"/>
                </a:lnTo>
                <a:lnTo>
                  <a:pt x="473" y="173"/>
                </a:lnTo>
                <a:lnTo>
                  <a:pt x="473" y="177"/>
                </a:lnTo>
                <a:lnTo>
                  <a:pt x="473" y="179"/>
                </a:lnTo>
                <a:lnTo>
                  <a:pt x="473" y="181"/>
                </a:lnTo>
                <a:lnTo>
                  <a:pt x="473" y="184"/>
                </a:lnTo>
                <a:lnTo>
                  <a:pt x="473" y="186"/>
                </a:lnTo>
                <a:lnTo>
                  <a:pt x="473" y="192"/>
                </a:lnTo>
                <a:lnTo>
                  <a:pt x="473" y="194"/>
                </a:lnTo>
                <a:lnTo>
                  <a:pt x="475" y="199"/>
                </a:lnTo>
                <a:lnTo>
                  <a:pt x="473" y="201"/>
                </a:lnTo>
                <a:lnTo>
                  <a:pt x="473" y="203"/>
                </a:lnTo>
                <a:lnTo>
                  <a:pt x="473" y="205"/>
                </a:lnTo>
                <a:lnTo>
                  <a:pt x="473" y="209"/>
                </a:lnTo>
                <a:lnTo>
                  <a:pt x="475" y="212"/>
                </a:lnTo>
                <a:lnTo>
                  <a:pt x="475" y="214"/>
                </a:lnTo>
                <a:lnTo>
                  <a:pt x="479" y="214"/>
                </a:lnTo>
                <a:lnTo>
                  <a:pt x="479" y="216"/>
                </a:lnTo>
                <a:lnTo>
                  <a:pt x="479" y="220"/>
                </a:lnTo>
                <a:lnTo>
                  <a:pt x="479" y="222"/>
                </a:lnTo>
                <a:lnTo>
                  <a:pt x="475" y="227"/>
                </a:lnTo>
                <a:lnTo>
                  <a:pt x="475" y="231"/>
                </a:lnTo>
                <a:lnTo>
                  <a:pt x="475" y="235"/>
                </a:lnTo>
                <a:lnTo>
                  <a:pt x="475" y="238"/>
                </a:lnTo>
                <a:lnTo>
                  <a:pt x="475" y="244"/>
                </a:lnTo>
                <a:lnTo>
                  <a:pt x="479" y="246"/>
                </a:lnTo>
                <a:lnTo>
                  <a:pt x="479" y="255"/>
                </a:lnTo>
                <a:lnTo>
                  <a:pt x="481" y="259"/>
                </a:lnTo>
                <a:lnTo>
                  <a:pt x="481" y="261"/>
                </a:lnTo>
                <a:lnTo>
                  <a:pt x="484" y="263"/>
                </a:lnTo>
                <a:lnTo>
                  <a:pt x="486" y="268"/>
                </a:lnTo>
                <a:lnTo>
                  <a:pt x="488" y="268"/>
                </a:lnTo>
                <a:lnTo>
                  <a:pt x="488" y="270"/>
                </a:lnTo>
                <a:lnTo>
                  <a:pt x="488" y="279"/>
                </a:lnTo>
                <a:lnTo>
                  <a:pt x="488" y="281"/>
                </a:lnTo>
                <a:lnTo>
                  <a:pt x="488" y="283"/>
                </a:lnTo>
                <a:lnTo>
                  <a:pt x="490" y="285"/>
                </a:lnTo>
                <a:lnTo>
                  <a:pt x="490" y="294"/>
                </a:lnTo>
                <a:lnTo>
                  <a:pt x="490" y="300"/>
                </a:lnTo>
                <a:lnTo>
                  <a:pt x="490" y="307"/>
                </a:lnTo>
                <a:lnTo>
                  <a:pt x="490" y="309"/>
                </a:lnTo>
                <a:lnTo>
                  <a:pt x="447" y="309"/>
                </a:lnTo>
                <a:lnTo>
                  <a:pt x="399" y="309"/>
                </a:lnTo>
                <a:lnTo>
                  <a:pt x="397" y="307"/>
                </a:lnTo>
                <a:lnTo>
                  <a:pt x="350" y="307"/>
                </a:lnTo>
                <a:close/>
              </a:path>
            </a:pathLst>
          </a:custGeom>
          <a:solidFill>
            <a:srgbClr val="FFC000"/>
          </a:solidFill>
          <a:ln w="9525">
            <a:noFill/>
            <a:round/>
            <a:headEnd/>
            <a:tailEnd/>
          </a:ln>
        </p:spPr>
        <p:txBody>
          <a:bodyPr/>
          <a:lstStyle/>
          <a:p>
            <a:endParaRPr lang="en-US" dirty="0">
              <a:solidFill>
                <a:prstClr val="black"/>
              </a:solidFill>
            </a:endParaRPr>
          </a:p>
        </p:txBody>
      </p:sp>
      <p:sp>
        <p:nvSpPr>
          <p:cNvPr id="184" name="Freeform 17">
            <a:extLst>
              <a:ext uri="{FF2B5EF4-FFF2-40B4-BE49-F238E27FC236}">
                <a16:creationId xmlns:a16="http://schemas.microsoft.com/office/drawing/2014/main" id="{3FE24E0C-993B-4F01-9A7B-D7E07DA32429}"/>
              </a:ext>
            </a:extLst>
          </p:cNvPr>
          <p:cNvSpPr>
            <a:spLocks/>
          </p:cNvSpPr>
          <p:nvPr>
            <p:custDataLst>
              <p:tags r:id="rId8"/>
            </p:custDataLst>
          </p:nvPr>
        </p:nvSpPr>
        <p:spPr bwMode="auto">
          <a:xfrm>
            <a:off x="5037653" y="1798698"/>
            <a:ext cx="990785" cy="667967"/>
          </a:xfrm>
          <a:custGeom>
            <a:avLst/>
            <a:gdLst>
              <a:gd name="T0" fmla="*/ 2147483647 w 490"/>
              <a:gd name="T1" fmla="*/ 2147483647 h 309"/>
              <a:gd name="T2" fmla="*/ 2147483647 w 490"/>
              <a:gd name="T3" fmla="*/ 2147483647 h 309"/>
              <a:gd name="T4" fmla="*/ 0 w 490"/>
              <a:gd name="T5" fmla="*/ 2147483647 h 309"/>
              <a:gd name="T6" fmla="*/ 2147483647 w 490"/>
              <a:gd name="T7" fmla="*/ 2147483647 h 309"/>
              <a:gd name="T8" fmla="*/ 2147483647 w 490"/>
              <a:gd name="T9" fmla="*/ 2147483647 h 309"/>
              <a:gd name="T10" fmla="*/ 2147483647 w 490"/>
              <a:gd name="T11" fmla="*/ 0 h 309"/>
              <a:gd name="T12" fmla="*/ 2147483647 w 490"/>
              <a:gd name="T13" fmla="*/ 2147483647 h 309"/>
              <a:gd name="T14" fmla="*/ 2147483647 w 490"/>
              <a:gd name="T15" fmla="*/ 2147483647 h 309"/>
              <a:gd name="T16" fmla="*/ 2147483647 w 490"/>
              <a:gd name="T17" fmla="*/ 2147483647 h 309"/>
              <a:gd name="T18" fmla="*/ 2147483647 w 490"/>
              <a:gd name="T19" fmla="*/ 2147483647 h 309"/>
              <a:gd name="T20" fmla="*/ 2147483647 w 490"/>
              <a:gd name="T21" fmla="*/ 2147483647 h 309"/>
              <a:gd name="T22" fmla="*/ 2147483647 w 490"/>
              <a:gd name="T23" fmla="*/ 2147483647 h 309"/>
              <a:gd name="T24" fmla="*/ 2147483647 w 490"/>
              <a:gd name="T25" fmla="*/ 2147483647 h 309"/>
              <a:gd name="T26" fmla="*/ 2147483647 w 490"/>
              <a:gd name="T27" fmla="*/ 2147483647 h 309"/>
              <a:gd name="T28" fmla="*/ 2147483647 w 490"/>
              <a:gd name="T29" fmla="*/ 2147483647 h 309"/>
              <a:gd name="T30" fmla="*/ 2147483647 w 490"/>
              <a:gd name="T31" fmla="*/ 2147483647 h 309"/>
              <a:gd name="T32" fmla="*/ 2147483647 w 490"/>
              <a:gd name="T33" fmla="*/ 2147483647 h 309"/>
              <a:gd name="T34" fmla="*/ 2147483647 w 490"/>
              <a:gd name="T35" fmla="*/ 2147483647 h 309"/>
              <a:gd name="T36" fmla="*/ 2147483647 w 490"/>
              <a:gd name="T37" fmla="*/ 2147483647 h 309"/>
              <a:gd name="T38" fmla="*/ 2147483647 w 490"/>
              <a:gd name="T39" fmla="*/ 2147483647 h 309"/>
              <a:gd name="T40" fmla="*/ 2147483647 w 490"/>
              <a:gd name="T41" fmla="*/ 2147483647 h 309"/>
              <a:gd name="T42" fmla="*/ 2147483647 w 490"/>
              <a:gd name="T43" fmla="*/ 2147483647 h 309"/>
              <a:gd name="T44" fmla="*/ 2147483647 w 490"/>
              <a:gd name="T45" fmla="*/ 2147483647 h 309"/>
              <a:gd name="T46" fmla="*/ 2147483647 w 490"/>
              <a:gd name="T47" fmla="*/ 2147483647 h 309"/>
              <a:gd name="T48" fmla="*/ 2147483647 w 490"/>
              <a:gd name="T49" fmla="*/ 2147483647 h 309"/>
              <a:gd name="T50" fmla="*/ 2147483647 w 490"/>
              <a:gd name="T51" fmla="*/ 2147483647 h 309"/>
              <a:gd name="T52" fmla="*/ 2147483647 w 490"/>
              <a:gd name="T53" fmla="*/ 2147483647 h 309"/>
              <a:gd name="T54" fmla="*/ 2147483647 w 490"/>
              <a:gd name="T55" fmla="*/ 2147483647 h 309"/>
              <a:gd name="T56" fmla="*/ 2147483647 w 490"/>
              <a:gd name="T57" fmla="*/ 2147483647 h 309"/>
              <a:gd name="T58" fmla="*/ 2147483647 w 490"/>
              <a:gd name="T59" fmla="*/ 2147483647 h 309"/>
              <a:gd name="T60" fmla="*/ 2147483647 w 490"/>
              <a:gd name="T61" fmla="*/ 2147483647 h 309"/>
              <a:gd name="T62" fmla="*/ 2147483647 w 490"/>
              <a:gd name="T63" fmla="*/ 2147483647 h 309"/>
              <a:gd name="T64" fmla="*/ 2147483647 w 490"/>
              <a:gd name="T65" fmla="*/ 2147483647 h 309"/>
              <a:gd name="T66" fmla="*/ 2147483647 w 490"/>
              <a:gd name="T67" fmla="*/ 2147483647 h 309"/>
              <a:gd name="T68" fmla="*/ 2147483647 w 490"/>
              <a:gd name="T69" fmla="*/ 2147483647 h 309"/>
              <a:gd name="T70" fmla="*/ 2147483647 w 490"/>
              <a:gd name="T71" fmla="*/ 2147483647 h 309"/>
              <a:gd name="T72" fmla="*/ 2147483647 w 490"/>
              <a:gd name="T73" fmla="*/ 2147483647 h 309"/>
              <a:gd name="T74" fmla="*/ 2147483647 w 490"/>
              <a:gd name="T75" fmla="*/ 2147483647 h 309"/>
              <a:gd name="T76" fmla="*/ 2147483647 w 490"/>
              <a:gd name="T77" fmla="*/ 2147483647 h 309"/>
              <a:gd name="T78" fmla="*/ 2147483647 w 490"/>
              <a:gd name="T79" fmla="*/ 2147483647 h 309"/>
              <a:gd name="T80" fmla="*/ 2147483647 w 490"/>
              <a:gd name="T81" fmla="*/ 2147483647 h 309"/>
              <a:gd name="T82" fmla="*/ 2147483647 w 490"/>
              <a:gd name="T83" fmla="*/ 2147483647 h 309"/>
              <a:gd name="T84" fmla="*/ 2147483647 w 490"/>
              <a:gd name="T85" fmla="*/ 2147483647 h 309"/>
              <a:gd name="T86" fmla="*/ 2147483647 w 490"/>
              <a:gd name="T87" fmla="*/ 2147483647 h 30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90"/>
              <a:gd name="T133" fmla="*/ 0 h 309"/>
              <a:gd name="T134" fmla="*/ 490 w 490"/>
              <a:gd name="T135" fmla="*/ 309 h 30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90" h="309">
                <a:moveTo>
                  <a:pt x="350" y="307"/>
                </a:moveTo>
                <a:lnTo>
                  <a:pt x="332" y="302"/>
                </a:lnTo>
                <a:lnTo>
                  <a:pt x="285" y="302"/>
                </a:lnTo>
                <a:lnTo>
                  <a:pt x="274" y="300"/>
                </a:lnTo>
                <a:lnTo>
                  <a:pt x="233" y="300"/>
                </a:lnTo>
                <a:lnTo>
                  <a:pt x="136" y="296"/>
                </a:lnTo>
                <a:lnTo>
                  <a:pt x="73" y="291"/>
                </a:lnTo>
                <a:lnTo>
                  <a:pt x="71" y="291"/>
                </a:lnTo>
                <a:lnTo>
                  <a:pt x="0" y="285"/>
                </a:lnTo>
                <a:lnTo>
                  <a:pt x="4" y="253"/>
                </a:lnTo>
                <a:lnTo>
                  <a:pt x="6" y="229"/>
                </a:lnTo>
                <a:lnTo>
                  <a:pt x="9" y="218"/>
                </a:lnTo>
                <a:lnTo>
                  <a:pt x="13" y="153"/>
                </a:lnTo>
                <a:lnTo>
                  <a:pt x="13" y="149"/>
                </a:lnTo>
                <a:lnTo>
                  <a:pt x="17" y="91"/>
                </a:lnTo>
                <a:lnTo>
                  <a:pt x="22" y="56"/>
                </a:lnTo>
                <a:lnTo>
                  <a:pt x="24" y="32"/>
                </a:lnTo>
                <a:lnTo>
                  <a:pt x="26" y="0"/>
                </a:lnTo>
                <a:lnTo>
                  <a:pt x="95" y="4"/>
                </a:lnTo>
                <a:lnTo>
                  <a:pt x="153" y="9"/>
                </a:lnTo>
                <a:lnTo>
                  <a:pt x="186" y="9"/>
                </a:lnTo>
                <a:lnTo>
                  <a:pt x="268" y="15"/>
                </a:lnTo>
                <a:lnTo>
                  <a:pt x="307" y="17"/>
                </a:lnTo>
                <a:lnTo>
                  <a:pt x="341" y="17"/>
                </a:lnTo>
                <a:lnTo>
                  <a:pt x="406" y="19"/>
                </a:lnTo>
                <a:lnTo>
                  <a:pt x="451" y="19"/>
                </a:lnTo>
                <a:lnTo>
                  <a:pt x="451" y="26"/>
                </a:lnTo>
                <a:lnTo>
                  <a:pt x="453" y="32"/>
                </a:lnTo>
                <a:lnTo>
                  <a:pt x="453" y="35"/>
                </a:lnTo>
                <a:lnTo>
                  <a:pt x="453" y="37"/>
                </a:lnTo>
                <a:lnTo>
                  <a:pt x="453" y="39"/>
                </a:lnTo>
                <a:lnTo>
                  <a:pt x="456" y="41"/>
                </a:lnTo>
                <a:lnTo>
                  <a:pt x="456" y="45"/>
                </a:lnTo>
                <a:lnTo>
                  <a:pt x="456" y="48"/>
                </a:lnTo>
                <a:lnTo>
                  <a:pt x="458" y="48"/>
                </a:lnTo>
                <a:lnTo>
                  <a:pt x="458" y="50"/>
                </a:lnTo>
                <a:lnTo>
                  <a:pt x="458" y="52"/>
                </a:lnTo>
                <a:lnTo>
                  <a:pt x="458" y="54"/>
                </a:lnTo>
                <a:lnTo>
                  <a:pt x="456" y="54"/>
                </a:lnTo>
                <a:lnTo>
                  <a:pt x="456" y="56"/>
                </a:lnTo>
                <a:lnTo>
                  <a:pt x="456" y="58"/>
                </a:lnTo>
                <a:lnTo>
                  <a:pt x="453" y="63"/>
                </a:lnTo>
                <a:lnTo>
                  <a:pt x="456" y="63"/>
                </a:lnTo>
                <a:lnTo>
                  <a:pt x="453" y="63"/>
                </a:lnTo>
                <a:lnTo>
                  <a:pt x="456" y="65"/>
                </a:lnTo>
                <a:lnTo>
                  <a:pt x="456" y="67"/>
                </a:lnTo>
                <a:lnTo>
                  <a:pt x="456" y="71"/>
                </a:lnTo>
                <a:lnTo>
                  <a:pt x="456" y="73"/>
                </a:lnTo>
                <a:lnTo>
                  <a:pt x="456" y="78"/>
                </a:lnTo>
                <a:lnTo>
                  <a:pt x="453" y="78"/>
                </a:lnTo>
                <a:lnTo>
                  <a:pt x="456" y="80"/>
                </a:lnTo>
                <a:lnTo>
                  <a:pt x="456" y="84"/>
                </a:lnTo>
                <a:lnTo>
                  <a:pt x="458" y="84"/>
                </a:lnTo>
                <a:lnTo>
                  <a:pt x="456" y="84"/>
                </a:lnTo>
                <a:lnTo>
                  <a:pt x="456" y="86"/>
                </a:lnTo>
                <a:lnTo>
                  <a:pt x="458" y="86"/>
                </a:lnTo>
                <a:lnTo>
                  <a:pt x="456" y="86"/>
                </a:lnTo>
                <a:lnTo>
                  <a:pt x="458" y="86"/>
                </a:lnTo>
                <a:lnTo>
                  <a:pt x="458" y="89"/>
                </a:lnTo>
                <a:lnTo>
                  <a:pt x="456" y="89"/>
                </a:lnTo>
                <a:lnTo>
                  <a:pt x="456" y="91"/>
                </a:lnTo>
                <a:lnTo>
                  <a:pt x="458" y="91"/>
                </a:lnTo>
                <a:lnTo>
                  <a:pt x="456" y="95"/>
                </a:lnTo>
                <a:lnTo>
                  <a:pt x="458" y="95"/>
                </a:lnTo>
                <a:lnTo>
                  <a:pt x="456" y="95"/>
                </a:lnTo>
                <a:lnTo>
                  <a:pt x="456" y="97"/>
                </a:lnTo>
                <a:lnTo>
                  <a:pt x="456" y="99"/>
                </a:lnTo>
                <a:lnTo>
                  <a:pt x="456" y="102"/>
                </a:lnTo>
                <a:lnTo>
                  <a:pt x="456" y="104"/>
                </a:lnTo>
                <a:lnTo>
                  <a:pt x="458" y="104"/>
                </a:lnTo>
                <a:lnTo>
                  <a:pt x="458" y="106"/>
                </a:lnTo>
                <a:lnTo>
                  <a:pt x="462" y="108"/>
                </a:lnTo>
                <a:lnTo>
                  <a:pt x="462" y="119"/>
                </a:lnTo>
                <a:lnTo>
                  <a:pt x="464" y="121"/>
                </a:lnTo>
                <a:lnTo>
                  <a:pt x="464" y="127"/>
                </a:lnTo>
                <a:lnTo>
                  <a:pt x="466" y="132"/>
                </a:lnTo>
                <a:lnTo>
                  <a:pt x="466" y="134"/>
                </a:lnTo>
                <a:lnTo>
                  <a:pt x="468" y="136"/>
                </a:lnTo>
                <a:lnTo>
                  <a:pt x="468" y="140"/>
                </a:lnTo>
                <a:lnTo>
                  <a:pt x="471" y="145"/>
                </a:lnTo>
                <a:lnTo>
                  <a:pt x="471" y="151"/>
                </a:lnTo>
                <a:lnTo>
                  <a:pt x="473" y="151"/>
                </a:lnTo>
                <a:lnTo>
                  <a:pt x="473" y="155"/>
                </a:lnTo>
                <a:lnTo>
                  <a:pt x="473" y="160"/>
                </a:lnTo>
                <a:lnTo>
                  <a:pt x="473" y="162"/>
                </a:lnTo>
                <a:lnTo>
                  <a:pt x="471" y="164"/>
                </a:lnTo>
                <a:lnTo>
                  <a:pt x="473" y="166"/>
                </a:lnTo>
                <a:lnTo>
                  <a:pt x="471" y="168"/>
                </a:lnTo>
                <a:lnTo>
                  <a:pt x="473" y="168"/>
                </a:lnTo>
                <a:lnTo>
                  <a:pt x="473" y="171"/>
                </a:lnTo>
                <a:lnTo>
                  <a:pt x="473" y="173"/>
                </a:lnTo>
                <a:lnTo>
                  <a:pt x="473" y="177"/>
                </a:lnTo>
                <a:lnTo>
                  <a:pt x="473" y="179"/>
                </a:lnTo>
                <a:lnTo>
                  <a:pt x="473" y="181"/>
                </a:lnTo>
                <a:lnTo>
                  <a:pt x="473" y="184"/>
                </a:lnTo>
                <a:lnTo>
                  <a:pt x="473" y="186"/>
                </a:lnTo>
                <a:lnTo>
                  <a:pt x="473" y="192"/>
                </a:lnTo>
                <a:lnTo>
                  <a:pt x="473" y="194"/>
                </a:lnTo>
                <a:lnTo>
                  <a:pt x="475" y="199"/>
                </a:lnTo>
                <a:lnTo>
                  <a:pt x="473" y="201"/>
                </a:lnTo>
                <a:lnTo>
                  <a:pt x="473" y="203"/>
                </a:lnTo>
                <a:lnTo>
                  <a:pt x="473" y="205"/>
                </a:lnTo>
                <a:lnTo>
                  <a:pt x="473" y="209"/>
                </a:lnTo>
                <a:lnTo>
                  <a:pt x="475" y="212"/>
                </a:lnTo>
                <a:lnTo>
                  <a:pt x="475" y="214"/>
                </a:lnTo>
                <a:lnTo>
                  <a:pt x="479" y="214"/>
                </a:lnTo>
                <a:lnTo>
                  <a:pt x="479" y="216"/>
                </a:lnTo>
                <a:lnTo>
                  <a:pt x="479" y="220"/>
                </a:lnTo>
                <a:lnTo>
                  <a:pt x="479" y="222"/>
                </a:lnTo>
                <a:lnTo>
                  <a:pt x="475" y="227"/>
                </a:lnTo>
                <a:lnTo>
                  <a:pt x="475" y="231"/>
                </a:lnTo>
                <a:lnTo>
                  <a:pt x="475" y="235"/>
                </a:lnTo>
                <a:lnTo>
                  <a:pt x="475" y="238"/>
                </a:lnTo>
                <a:lnTo>
                  <a:pt x="475" y="244"/>
                </a:lnTo>
                <a:lnTo>
                  <a:pt x="479" y="246"/>
                </a:lnTo>
                <a:lnTo>
                  <a:pt x="479" y="255"/>
                </a:lnTo>
                <a:lnTo>
                  <a:pt x="481" y="259"/>
                </a:lnTo>
                <a:lnTo>
                  <a:pt x="481" y="261"/>
                </a:lnTo>
                <a:lnTo>
                  <a:pt x="484" y="263"/>
                </a:lnTo>
                <a:lnTo>
                  <a:pt x="486" y="268"/>
                </a:lnTo>
                <a:lnTo>
                  <a:pt x="488" y="268"/>
                </a:lnTo>
                <a:lnTo>
                  <a:pt x="488" y="270"/>
                </a:lnTo>
                <a:lnTo>
                  <a:pt x="488" y="279"/>
                </a:lnTo>
                <a:lnTo>
                  <a:pt x="488" y="281"/>
                </a:lnTo>
                <a:lnTo>
                  <a:pt x="488" y="283"/>
                </a:lnTo>
                <a:lnTo>
                  <a:pt x="490" y="285"/>
                </a:lnTo>
                <a:lnTo>
                  <a:pt x="490" y="294"/>
                </a:lnTo>
                <a:lnTo>
                  <a:pt x="490" y="300"/>
                </a:lnTo>
                <a:lnTo>
                  <a:pt x="490" y="307"/>
                </a:lnTo>
                <a:lnTo>
                  <a:pt x="490" y="309"/>
                </a:lnTo>
                <a:lnTo>
                  <a:pt x="447" y="309"/>
                </a:lnTo>
                <a:lnTo>
                  <a:pt x="399" y="309"/>
                </a:lnTo>
                <a:lnTo>
                  <a:pt x="397" y="307"/>
                </a:lnTo>
                <a:lnTo>
                  <a:pt x="350" y="307"/>
                </a:lnTo>
              </a:path>
            </a:pathLst>
          </a:custGeom>
          <a:noFill/>
          <a:ln w="6350">
            <a:solidFill>
              <a:srgbClr val="404040"/>
            </a:solidFill>
            <a:round/>
            <a:headEnd/>
            <a:tailEnd/>
          </a:ln>
        </p:spPr>
        <p:txBody>
          <a:bodyPr/>
          <a:lstStyle/>
          <a:p>
            <a:endParaRPr lang="en-US" dirty="0">
              <a:solidFill>
                <a:prstClr val="black"/>
              </a:solidFill>
            </a:endParaRPr>
          </a:p>
        </p:txBody>
      </p:sp>
      <p:sp>
        <p:nvSpPr>
          <p:cNvPr id="185" name="Freeform 18">
            <a:extLst>
              <a:ext uri="{FF2B5EF4-FFF2-40B4-BE49-F238E27FC236}">
                <a16:creationId xmlns:a16="http://schemas.microsoft.com/office/drawing/2014/main" id="{FB40938F-18F0-47D8-A83C-8F8121FD70DC}"/>
              </a:ext>
            </a:extLst>
          </p:cNvPr>
          <p:cNvSpPr>
            <a:spLocks/>
          </p:cNvSpPr>
          <p:nvPr>
            <p:custDataLst>
              <p:tags r:id="rId9"/>
            </p:custDataLst>
          </p:nvPr>
        </p:nvSpPr>
        <p:spPr bwMode="auto">
          <a:xfrm>
            <a:off x="4993786" y="2414779"/>
            <a:ext cx="1054353" cy="745787"/>
          </a:xfrm>
          <a:custGeom>
            <a:avLst/>
            <a:gdLst>
              <a:gd name="T0" fmla="*/ 2147483647 w 521"/>
              <a:gd name="T1" fmla="*/ 2147483647 h 345"/>
              <a:gd name="T2" fmla="*/ 2147483647 w 521"/>
              <a:gd name="T3" fmla="*/ 2147483647 h 345"/>
              <a:gd name="T4" fmla="*/ 2147483647 w 521"/>
              <a:gd name="T5" fmla="*/ 2147483647 h 345"/>
              <a:gd name="T6" fmla="*/ 2147483647 w 521"/>
              <a:gd name="T7" fmla="*/ 2147483647 h 345"/>
              <a:gd name="T8" fmla="*/ 2147483647 w 521"/>
              <a:gd name="T9" fmla="*/ 0 h 345"/>
              <a:gd name="T10" fmla="*/ 2147483647 w 521"/>
              <a:gd name="T11" fmla="*/ 2147483647 h 345"/>
              <a:gd name="T12" fmla="*/ 2147483647 w 521"/>
              <a:gd name="T13" fmla="*/ 2147483647 h 345"/>
              <a:gd name="T14" fmla="*/ 2147483647 w 521"/>
              <a:gd name="T15" fmla="*/ 2147483647 h 345"/>
              <a:gd name="T16" fmla="*/ 2147483647 w 521"/>
              <a:gd name="T17" fmla="*/ 2147483647 h 345"/>
              <a:gd name="T18" fmla="*/ 2147483647 w 521"/>
              <a:gd name="T19" fmla="*/ 2147483647 h 345"/>
              <a:gd name="T20" fmla="*/ 2147483647 w 521"/>
              <a:gd name="T21" fmla="*/ 2147483647 h 345"/>
              <a:gd name="T22" fmla="*/ 2147483647 w 521"/>
              <a:gd name="T23" fmla="*/ 2147483647 h 345"/>
              <a:gd name="T24" fmla="*/ 2147483647 w 521"/>
              <a:gd name="T25" fmla="*/ 2147483647 h 345"/>
              <a:gd name="T26" fmla="*/ 2147483647 w 521"/>
              <a:gd name="T27" fmla="*/ 2147483647 h 345"/>
              <a:gd name="T28" fmla="*/ 2147483647 w 521"/>
              <a:gd name="T29" fmla="*/ 2147483647 h 345"/>
              <a:gd name="T30" fmla="*/ 2147483647 w 521"/>
              <a:gd name="T31" fmla="*/ 2147483647 h 345"/>
              <a:gd name="T32" fmla="*/ 2147483647 w 521"/>
              <a:gd name="T33" fmla="*/ 2147483647 h 345"/>
              <a:gd name="T34" fmla="*/ 2147483647 w 521"/>
              <a:gd name="T35" fmla="*/ 2147483647 h 345"/>
              <a:gd name="T36" fmla="*/ 2147483647 w 521"/>
              <a:gd name="T37" fmla="*/ 2147483647 h 345"/>
              <a:gd name="T38" fmla="*/ 2147483647 w 521"/>
              <a:gd name="T39" fmla="*/ 2147483647 h 345"/>
              <a:gd name="T40" fmla="*/ 2147483647 w 521"/>
              <a:gd name="T41" fmla="*/ 2147483647 h 345"/>
              <a:gd name="T42" fmla="*/ 2147483647 w 521"/>
              <a:gd name="T43" fmla="*/ 2147483647 h 345"/>
              <a:gd name="T44" fmla="*/ 2147483647 w 521"/>
              <a:gd name="T45" fmla="*/ 2147483647 h 345"/>
              <a:gd name="T46" fmla="*/ 2147483647 w 521"/>
              <a:gd name="T47" fmla="*/ 2147483647 h 345"/>
              <a:gd name="T48" fmla="*/ 2147483647 w 521"/>
              <a:gd name="T49" fmla="*/ 2147483647 h 345"/>
              <a:gd name="T50" fmla="*/ 2147483647 w 521"/>
              <a:gd name="T51" fmla="*/ 2147483647 h 345"/>
              <a:gd name="T52" fmla="*/ 2147483647 w 521"/>
              <a:gd name="T53" fmla="*/ 2147483647 h 345"/>
              <a:gd name="T54" fmla="*/ 2147483647 w 521"/>
              <a:gd name="T55" fmla="*/ 2147483647 h 345"/>
              <a:gd name="T56" fmla="*/ 2147483647 w 521"/>
              <a:gd name="T57" fmla="*/ 2147483647 h 345"/>
              <a:gd name="T58" fmla="*/ 2147483647 w 521"/>
              <a:gd name="T59" fmla="*/ 2147483647 h 345"/>
              <a:gd name="T60" fmla="*/ 2147483647 w 521"/>
              <a:gd name="T61" fmla="*/ 2147483647 h 345"/>
              <a:gd name="T62" fmla="*/ 2147483647 w 521"/>
              <a:gd name="T63" fmla="*/ 2147483647 h 345"/>
              <a:gd name="T64" fmla="*/ 2147483647 w 521"/>
              <a:gd name="T65" fmla="*/ 2147483647 h 345"/>
              <a:gd name="T66" fmla="*/ 2147483647 w 521"/>
              <a:gd name="T67" fmla="*/ 2147483647 h 345"/>
              <a:gd name="T68" fmla="*/ 2147483647 w 521"/>
              <a:gd name="T69" fmla="*/ 2147483647 h 345"/>
              <a:gd name="T70" fmla="*/ 2147483647 w 521"/>
              <a:gd name="T71" fmla="*/ 2147483647 h 345"/>
              <a:gd name="T72" fmla="*/ 2147483647 w 521"/>
              <a:gd name="T73" fmla="*/ 2147483647 h 345"/>
              <a:gd name="T74" fmla="*/ 2147483647 w 521"/>
              <a:gd name="T75" fmla="*/ 2147483647 h 345"/>
              <a:gd name="T76" fmla="*/ 2147483647 w 521"/>
              <a:gd name="T77" fmla="*/ 2147483647 h 345"/>
              <a:gd name="T78" fmla="*/ 2147483647 w 521"/>
              <a:gd name="T79" fmla="*/ 2147483647 h 345"/>
              <a:gd name="T80" fmla="*/ 2147483647 w 521"/>
              <a:gd name="T81" fmla="*/ 2147483647 h 345"/>
              <a:gd name="T82" fmla="*/ 2147483647 w 521"/>
              <a:gd name="T83" fmla="*/ 2147483647 h 345"/>
              <a:gd name="T84" fmla="*/ 2147483647 w 521"/>
              <a:gd name="T85" fmla="*/ 2147483647 h 345"/>
              <a:gd name="T86" fmla="*/ 2147483647 w 521"/>
              <a:gd name="T87" fmla="*/ 2147483647 h 345"/>
              <a:gd name="T88" fmla="*/ 2147483647 w 521"/>
              <a:gd name="T89" fmla="*/ 2147483647 h 34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1"/>
              <a:gd name="T136" fmla="*/ 0 h 345"/>
              <a:gd name="T137" fmla="*/ 521 w 521"/>
              <a:gd name="T138" fmla="*/ 345 h 34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1" h="345">
                <a:moveTo>
                  <a:pt x="85" y="281"/>
                </a:moveTo>
                <a:lnTo>
                  <a:pt x="72" y="278"/>
                </a:lnTo>
                <a:lnTo>
                  <a:pt x="37" y="276"/>
                </a:lnTo>
                <a:lnTo>
                  <a:pt x="0" y="274"/>
                </a:lnTo>
                <a:lnTo>
                  <a:pt x="3" y="229"/>
                </a:lnTo>
                <a:lnTo>
                  <a:pt x="3" y="227"/>
                </a:lnTo>
                <a:lnTo>
                  <a:pt x="5" y="194"/>
                </a:lnTo>
                <a:lnTo>
                  <a:pt x="9" y="166"/>
                </a:lnTo>
                <a:lnTo>
                  <a:pt x="9" y="164"/>
                </a:lnTo>
                <a:lnTo>
                  <a:pt x="13" y="127"/>
                </a:lnTo>
                <a:lnTo>
                  <a:pt x="15" y="89"/>
                </a:lnTo>
                <a:lnTo>
                  <a:pt x="18" y="89"/>
                </a:lnTo>
                <a:lnTo>
                  <a:pt x="18" y="67"/>
                </a:lnTo>
                <a:lnTo>
                  <a:pt x="22" y="6"/>
                </a:lnTo>
                <a:lnTo>
                  <a:pt x="22" y="0"/>
                </a:lnTo>
                <a:lnTo>
                  <a:pt x="93" y="6"/>
                </a:lnTo>
                <a:lnTo>
                  <a:pt x="95" y="6"/>
                </a:lnTo>
                <a:lnTo>
                  <a:pt x="158" y="11"/>
                </a:lnTo>
                <a:lnTo>
                  <a:pt x="255" y="15"/>
                </a:lnTo>
                <a:lnTo>
                  <a:pt x="296" y="15"/>
                </a:lnTo>
                <a:lnTo>
                  <a:pt x="307" y="17"/>
                </a:lnTo>
                <a:lnTo>
                  <a:pt x="354" y="17"/>
                </a:lnTo>
                <a:lnTo>
                  <a:pt x="372" y="22"/>
                </a:lnTo>
                <a:lnTo>
                  <a:pt x="419" y="22"/>
                </a:lnTo>
                <a:lnTo>
                  <a:pt x="421" y="24"/>
                </a:lnTo>
                <a:lnTo>
                  <a:pt x="469" y="24"/>
                </a:lnTo>
                <a:lnTo>
                  <a:pt x="512" y="24"/>
                </a:lnTo>
                <a:lnTo>
                  <a:pt x="510" y="32"/>
                </a:lnTo>
                <a:lnTo>
                  <a:pt x="510" y="35"/>
                </a:lnTo>
                <a:lnTo>
                  <a:pt x="506" y="41"/>
                </a:lnTo>
                <a:lnTo>
                  <a:pt x="495" y="50"/>
                </a:lnTo>
                <a:lnTo>
                  <a:pt x="493" y="52"/>
                </a:lnTo>
                <a:lnTo>
                  <a:pt x="493" y="56"/>
                </a:lnTo>
                <a:lnTo>
                  <a:pt x="497" y="63"/>
                </a:lnTo>
                <a:lnTo>
                  <a:pt x="501" y="67"/>
                </a:lnTo>
                <a:lnTo>
                  <a:pt x="503" y="73"/>
                </a:lnTo>
                <a:lnTo>
                  <a:pt x="510" y="73"/>
                </a:lnTo>
                <a:lnTo>
                  <a:pt x="516" y="76"/>
                </a:lnTo>
                <a:lnTo>
                  <a:pt x="519" y="80"/>
                </a:lnTo>
                <a:lnTo>
                  <a:pt x="521" y="82"/>
                </a:lnTo>
                <a:lnTo>
                  <a:pt x="521" y="84"/>
                </a:lnTo>
                <a:lnTo>
                  <a:pt x="521" y="112"/>
                </a:lnTo>
                <a:lnTo>
                  <a:pt x="521" y="130"/>
                </a:lnTo>
                <a:lnTo>
                  <a:pt x="521" y="145"/>
                </a:lnTo>
                <a:lnTo>
                  <a:pt x="521" y="153"/>
                </a:lnTo>
                <a:lnTo>
                  <a:pt x="519" y="186"/>
                </a:lnTo>
                <a:lnTo>
                  <a:pt x="519" y="218"/>
                </a:lnTo>
                <a:lnTo>
                  <a:pt x="519" y="253"/>
                </a:lnTo>
                <a:lnTo>
                  <a:pt x="508" y="248"/>
                </a:lnTo>
                <a:lnTo>
                  <a:pt x="510" y="253"/>
                </a:lnTo>
                <a:lnTo>
                  <a:pt x="510" y="257"/>
                </a:lnTo>
                <a:lnTo>
                  <a:pt x="512" y="259"/>
                </a:lnTo>
                <a:lnTo>
                  <a:pt x="512" y="261"/>
                </a:lnTo>
                <a:lnTo>
                  <a:pt x="512" y="263"/>
                </a:lnTo>
                <a:lnTo>
                  <a:pt x="512" y="270"/>
                </a:lnTo>
                <a:lnTo>
                  <a:pt x="510" y="270"/>
                </a:lnTo>
                <a:lnTo>
                  <a:pt x="510" y="272"/>
                </a:lnTo>
                <a:lnTo>
                  <a:pt x="510" y="274"/>
                </a:lnTo>
                <a:lnTo>
                  <a:pt x="510" y="276"/>
                </a:lnTo>
                <a:lnTo>
                  <a:pt x="516" y="276"/>
                </a:lnTo>
                <a:lnTo>
                  <a:pt x="519" y="276"/>
                </a:lnTo>
                <a:lnTo>
                  <a:pt x="519" y="287"/>
                </a:lnTo>
                <a:lnTo>
                  <a:pt x="519" y="289"/>
                </a:lnTo>
                <a:lnTo>
                  <a:pt x="519" y="291"/>
                </a:lnTo>
                <a:lnTo>
                  <a:pt x="512" y="291"/>
                </a:lnTo>
                <a:lnTo>
                  <a:pt x="516" y="296"/>
                </a:lnTo>
                <a:lnTo>
                  <a:pt x="516" y="300"/>
                </a:lnTo>
                <a:lnTo>
                  <a:pt x="516" y="302"/>
                </a:lnTo>
                <a:lnTo>
                  <a:pt x="512" y="307"/>
                </a:lnTo>
                <a:lnTo>
                  <a:pt x="510" y="311"/>
                </a:lnTo>
                <a:lnTo>
                  <a:pt x="510" y="313"/>
                </a:lnTo>
                <a:lnTo>
                  <a:pt x="510" y="311"/>
                </a:lnTo>
                <a:lnTo>
                  <a:pt x="508" y="317"/>
                </a:lnTo>
                <a:lnTo>
                  <a:pt x="506" y="319"/>
                </a:lnTo>
                <a:lnTo>
                  <a:pt x="506" y="322"/>
                </a:lnTo>
                <a:lnTo>
                  <a:pt x="506" y="324"/>
                </a:lnTo>
                <a:lnTo>
                  <a:pt x="510" y="328"/>
                </a:lnTo>
                <a:lnTo>
                  <a:pt x="512" y="328"/>
                </a:lnTo>
                <a:lnTo>
                  <a:pt x="516" y="332"/>
                </a:lnTo>
                <a:lnTo>
                  <a:pt x="516" y="337"/>
                </a:lnTo>
                <a:lnTo>
                  <a:pt x="516" y="339"/>
                </a:lnTo>
                <a:lnTo>
                  <a:pt x="516" y="341"/>
                </a:lnTo>
                <a:lnTo>
                  <a:pt x="521" y="345"/>
                </a:lnTo>
                <a:lnTo>
                  <a:pt x="516" y="345"/>
                </a:lnTo>
                <a:lnTo>
                  <a:pt x="512" y="341"/>
                </a:lnTo>
                <a:lnTo>
                  <a:pt x="510" y="341"/>
                </a:lnTo>
                <a:lnTo>
                  <a:pt x="508" y="343"/>
                </a:lnTo>
                <a:lnTo>
                  <a:pt x="506" y="341"/>
                </a:lnTo>
                <a:lnTo>
                  <a:pt x="506" y="339"/>
                </a:lnTo>
                <a:lnTo>
                  <a:pt x="501" y="335"/>
                </a:lnTo>
                <a:lnTo>
                  <a:pt x="501" y="332"/>
                </a:lnTo>
                <a:lnTo>
                  <a:pt x="503" y="332"/>
                </a:lnTo>
                <a:lnTo>
                  <a:pt x="501" y="328"/>
                </a:lnTo>
                <a:lnTo>
                  <a:pt x="495" y="328"/>
                </a:lnTo>
                <a:lnTo>
                  <a:pt x="493" y="326"/>
                </a:lnTo>
                <a:lnTo>
                  <a:pt x="493" y="324"/>
                </a:lnTo>
                <a:lnTo>
                  <a:pt x="488" y="322"/>
                </a:lnTo>
                <a:lnTo>
                  <a:pt x="484" y="324"/>
                </a:lnTo>
                <a:lnTo>
                  <a:pt x="484" y="322"/>
                </a:lnTo>
                <a:lnTo>
                  <a:pt x="484" y="319"/>
                </a:lnTo>
                <a:lnTo>
                  <a:pt x="480" y="319"/>
                </a:lnTo>
                <a:lnTo>
                  <a:pt x="473" y="319"/>
                </a:lnTo>
                <a:lnTo>
                  <a:pt x="471" y="317"/>
                </a:lnTo>
                <a:lnTo>
                  <a:pt x="465" y="313"/>
                </a:lnTo>
                <a:lnTo>
                  <a:pt x="465" y="311"/>
                </a:lnTo>
                <a:lnTo>
                  <a:pt x="462" y="311"/>
                </a:lnTo>
                <a:lnTo>
                  <a:pt x="460" y="309"/>
                </a:lnTo>
                <a:lnTo>
                  <a:pt x="456" y="309"/>
                </a:lnTo>
                <a:lnTo>
                  <a:pt x="452" y="311"/>
                </a:lnTo>
                <a:lnTo>
                  <a:pt x="447" y="309"/>
                </a:lnTo>
                <a:lnTo>
                  <a:pt x="445" y="309"/>
                </a:lnTo>
                <a:lnTo>
                  <a:pt x="443" y="311"/>
                </a:lnTo>
                <a:lnTo>
                  <a:pt x="439" y="309"/>
                </a:lnTo>
                <a:lnTo>
                  <a:pt x="434" y="311"/>
                </a:lnTo>
                <a:lnTo>
                  <a:pt x="430" y="309"/>
                </a:lnTo>
                <a:lnTo>
                  <a:pt x="428" y="311"/>
                </a:lnTo>
                <a:lnTo>
                  <a:pt x="426" y="311"/>
                </a:lnTo>
                <a:lnTo>
                  <a:pt x="426" y="309"/>
                </a:lnTo>
                <a:lnTo>
                  <a:pt x="421" y="309"/>
                </a:lnTo>
                <a:lnTo>
                  <a:pt x="421" y="311"/>
                </a:lnTo>
                <a:lnTo>
                  <a:pt x="419" y="317"/>
                </a:lnTo>
                <a:lnTo>
                  <a:pt x="415" y="317"/>
                </a:lnTo>
                <a:lnTo>
                  <a:pt x="413" y="319"/>
                </a:lnTo>
                <a:lnTo>
                  <a:pt x="411" y="317"/>
                </a:lnTo>
                <a:lnTo>
                  <a:pt x="404" y="313"/>
                </a:lnTo>
                <a:lnTo>
                  <a:pt x="404" y="311"/>
                </a:lnTo>
                <a:lnTo>
                  <a:pt x="402" y="311"/>
                </a:lnTo>
                <a:lnTo>
                  <a:pt x="391" y="307"/>
                </a:lnTo>
                <a:lnTo>
                  <a:pt x="387" y="304"/>
                </a:lnTo>
                <a:lnTo>
                  <a:pt x="380" y="302"/>
                </a:lnTo>
                <a:lnTo>
                  <a:pt x="378" y="296"/>
                </a:lnTo>
                <a:lnTo>
                  <a:pt x="326" y="294"/>
                </a:lnTo>
                <a:lnTo>
                  <a:pt x="309" y="294"/>
                </a:lnTo>
                <a:lnTo>
                  <a:pt x="262" y="291"/>
                </a:lnTo>
                <a:lnTo>
                  <a:pt x="193" y="289"/>
                </a:lnTo>
                <a:lnTo>
                  <a:pt x="134" y="285"/>
                </a:lnTo>
                <a:lnTo>
                  <a:pt x="85" y="281"/>
                </a:lnTo>
                <a:close/>
              </a:path>
            </a:pathLst>
          </a:custGeom>
          <a:solidFill>
            <a:srgbClr val="FFC000"/>
          </a:solidFill>
          <a:ln w="9525">
            <a:noFill/>
            <a:round/>
            <a:headEnd/>
            <a:tailEnd/>
          </a:ln>
        </p:spPr>
        <p:txBody>
          <a:bodyPr/>
          <a:lstStyle/>
          <a:p>
            <a:endParaRPr lang="en-US" dirty="0">
              <a:solidFill>
                <a:prstClr val="black"/>
              </a:solidFill>
            </a:endParaRPr>
          </a:p>
        </p:txBody>
      </p:sp>
      <p:sp>
        <p:nvSpPr>
          <p:cNvPr id="186" name="Freeform 19">
            <a:extLst>
              <a:ext uri="{FF2B5EF4-FFF2-40B4-BE49-F238E27FC236}">
                <a16:creationId xmlns:a16="http://schemas.microsoft.com/office/drawing/2014/main" id="{9060FBAC-38B6-4D51-AD41-F0CBF71C3FF7}"/>
              </a:ext>
            </a:extLst>
          </p:cNvPr>
          <p:cNvSpPr>
            <a:spLocks/>
          </p:cNvSpPr>
          <p:nvPr>
            <p:custDataLst>
              <p:tags r:id="rId10"/>
            </p:custDataLst>
          </p:nvPr>
        </p:nvSpPr>
        <p:spPr bwMode="auto">
          <a:xfrm>
            <a:off x="4993786" y="2414779"/>
            <a:ext cx="1054353" cy="745787"/>
          </a:xfrm>
          <a:custGeom>
            <a:avLst/>
            <a:gdLst>
              <a:gd name="T0" fmla="*/ 2147483647 w 521"/>
              <a:gd name="T1" fmla="*/ 2147483647 h 345"/>
              <a:gd name="T2" fmla="*/ 2147483647 w 521"/>
              <a:gd name="T3" fmla="*/ 2147483647 h 345"/>
              <a:gd name="T4" fmla="*/ 2147483647 w 521"/>
              <a:gd name="T5" fmla="*/ 2147483647 h 345"/>
              <a:gd name="T6" fmla="*/ 2147483647 w 521"/>
              <a:gd name="T7" fmla="*/ 2147483647 h 345"/>
              <a:gd name="T8" fmla="*/ 2147483647 w 521"/>
              <a:gd name="T9" fmla="*/ 0 h 345"/>
              <a:gd name="T10" fmla="*/ 2147483647 w 521"/>
              <a:gd name="T11" fmla="*/ 2147483647 h 345"/>
              <a:gd name="T12" fmla="*/ 2147483647 w 521"/>
              <a:gd name="T13" fmla="*/ 2147483647 h 345"/>
              <a:gd name="T14" fmla="*/ 2147483647 w 521"/>
              <a:gd name="T15" fmla="*/ 2147483647 h 345"/>
              <a:gd name="T16" fmla="*/ 2147483647 w 521"/>
              <a:gd name="T17" fmla="*/ 2147483647 h 345"/>
              <a:gd name="T18" fmla="*/ 2147483647 w 521"/>
              <a:gd name="T19" fmla="*/ 2147483647 h 345"/>
              <a:gd name="T20" fmla="*/ 2147483647 w 521"/>
              <a:gd name="T21" fmla="*/ 2147483647 h 345"/>
              <a:gd name="T22" fmla="*/ 2147483647 w 521"/>
              <a:gd name="T23" fmla="*/ 2147483647 h 345"/>
              <a:gd name="T24" fmla="*/ 2147483647 w 521"/>
              <a:gd name="T25" fmla="*/ 2147483647 h 345"/>
              <a:gd name="T26" fmla="*/ 2147483647 w 521"/>
              <a:gd name="T27" fmla="*/ 2147483647 h 345"/>
              <a:gd name="T28" fmla="*/ 2147483647 w 521"/>
              <a:gd name="T29" fmla="*/ 2147483647 h 345"/>
              <a:gd name="T30" fmla="*/ 2147483647 w 521"/>
              <a:gd name="T31" fmla="*/ 2147483647 h 345"/>
              <a:gd name="T32" fmla="*/ 2147483647 w 521"/>
              <a:gd name="T33" fmla="*/ 2147483647 h 345"/>
              <a:gd name="T34" fmla="*/ 2147483647 w 521"/>
              <a:gd name="T35" fmla="*/ 2147483647 h 345"/>
              <a:gd name="T36" fmla="*/ 2147483647 w 521"/>
              <a:gd name="T37" fmla="*/ 2147483647 h 345"/>
              <a:gd name="T38" fmla="*/ 2147483647 w 521"/>
              <a:gd name="T39" fmla="*/ 2147483647 h 345"/>
              <a:gd name="T40" fmla="*/ 2147483647 w 521"/>
              <a:gd name="T41" fmla="*/ 2147483647 h 345"/>
              <a:gd name="T42" fmla="*/ 2147483647 w 521"/>
              <a:gd name="T43" fmla="*/ 2147483647 h 345"/>
              <a:gd name="T44" fmla="*/ 2147483647 w 521"/>
              <a:gd name="T45" fmla="*/ 2147483647 h 345"/>
              <a:gd name="T46" fmla="*/ 2147483647 w 521"/>
              <a:gd name="T47" fmla="*/ 2147483647 h 345"/>
              <a:gd name="T48" fmla="*/ 2147483647 w 521"/>
              <a:gd name="T49" fmla="*/ 2147483647 h 345"/>
              <a:gd name="T50" fmla="*/ 2147483647 w 521"/>
              <a:gd name="T51" fmla="*/ 2147483647 h 345"/>
              <a:gd name="T52" fmla="*/ 2147483647 w 521"/>
              <a:gd name="T53" fmla="*/ 2147483647 h 345"/>
              <a:gd name="T54" fmla="*/ 2147483647 w 521"/>
              <a:gd name="T55" fmla="*/ 2147483647 h 345"/>
              <a:gd name="T56" fmla="*/ 2147483647 w 521"/>
              <a:gd name="T57" fmla="*/ 2147483647 h 345"/>
              <a:gd name="T58" fmla="*/ 2147483647 w 521"/>
              <a:gd name="T59" fmla="*/ 2147483647 h 345"/>
              <a:gd name="T60" fmla="*/ 2147483647 w 521"/>
              <a:gd name="T61" fmla="*/ 2147483647 h 345"/>
              <a:gd name="T62" fmla="*/ 2147483647 w 521"/>
              <a:gd name="T63" fmla="*/ 2147483647 h 345"/>
              <a:gd name="T64" fmla="*/ 2147483647 w 521"/>
              <a:gd name="T65" fmla="*/ 2147483647 h 345"/>
              <a:gd name="T66" fmla="*/ 2147483647 w 521"/>
              <a:gd name="T67" fmla="*/ 2147483647 h 345"/>
              <a:gd name="T68" fmla="*/ 2147483647 w 521"/>
              <a:gd name="T69" fmla="*/ 2147483647 h 345"/>
              <a:gd name="T70" fmla="*/ 2147483647 w 521"/>
              <a:gd name="T71" fmla="*/ 2147483647 h 345"/>
              <a:gd name="T72" fmla="*/ 2147483647 w 521"/>
              <a:gd name="T73" fmla="*/ 2147483647 h 345"/>
              <a:gd name="T74" fmla="*/ 2147483647 w 521"/>
              <a:gd name="T75" fmla="*/ 2147483647 h 345"/>
              <a:gd name="T76" fmla="*/ 2147483647 w 521"/>
              <a:gd name="T77" fmla="*/ 2147483647 h 345"/>
              <a:gd name="T78" fmla="*/ 2147483647 w 521"/>
              <a:gd name="T79" fmla="*/ 2147483647 h 345"/>
              <a:gd name="T80" fmla="*/ 2147483647 w 521"/>
              <a:gd name="T81" fmla="*/ 2147483647 h 345"/>
              <a:gd name="T82" fmla="*/ 2147483647 w 521"/>
              <a:gd name="T83" fmla="*/ 2147483647 h 345"/>
              <a:gd name="T84" fmla="*/ 2147483647 w 521"/>
              <a:gd name="T85" fmla="*/ 2147483647 h 345"/>
              <a:gd name="T86" fmla="*/ 2147483647 w 521"/>
              <a:gd name="T87" fmla="*/ 2147483647 h 345"/>
              <a:gd name="T88" fmla="*/ 2147483647 w 521"/>
              <a:gd name="T89" fmla="*/ 2147483647 h 34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1"/>
              <a:gd name="T136" fmla="*/ 0 h 345"/>
              <a:gd name="T137" fmla="*/ 521 w 521"/>
              <a:gd name="T138" fmla="*/ 345 h 34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1" h="345">
                <a:moveTo>
                  <a:pt x="85" y="281"/>
                </a:moveTo>
                <a:lnTo>
                  <a:pt x="72" y="278"/>
                </a:lnTo>
                <a:lnTo>
                  <a:pt x="37" y="276"/>
                </a:lnTo>
                <a:lnTo>
                  <a:pt x="0" y="274"/>
                </a:lnTo>
                <a:lnTo>
                  <a:pt x="3" y="229"/>
                </a:lnTo>
                <a:lnTo>
                  <a:pt x="3" y="227"/>
                </a:lnTo>
                <a:lnTo>
                  <a:pt x="5" y="194"/>
                </a:lnTo>
                <a:lnTo>
                  <a:pt x="9" y="166"/>
                </a:lnTo>
                <a:lnTo>
                  <a:pt x="9" y="164"/>
                </a:lnTo>
                <a:lnTo>
                  <a:pt x="13" y="127"/>
                </a:lnTo>
                <a:lnTo>
                  <a:pt x="15" y="89"/>
                </a:lnTo>
                <a:lnTo>
                  <a:pt x="18" y="89"/>
                </a:lnTo>
                <a:lnTo>
                  <a:pt x="18" y="67"/>
                </a:lnTo>
                <a:lnTo>
                  <a:pt x="22" y="6"/>
                </a:lnTo>
                <a:lnTo>
                  <a:pt x="22" y="0"/>
                </a:lnTo>
                <a:lnTo>
                  <a:pt x="93" y="6"/>
                </a:lnTo>
                <a:lnTo>
                  <a:pt x="95" y="6"/>
                </a:lnTo>
                <a:lnTo>
                  <a:pt x="158" y="11"/>
                </a:lnTo>
                <a:lnTo>
                  <a:pt x="255" y="15"/>
                </a:lnTo>
                <a:lnTo>
                  <a:pt x="296" y="15"/>
                </a:lnTo>
                <a:lnTo>
                  <a:pt x="307" y="17"/>
                </a:lnTo>
                <a:lnTo>
                  <a:pt x="354" y="17"/>
                </a:lnTo>
                <a:lnTo>
                  <a:pt x="372" y="22"/>
                </a:lnTo>
                <a:lnTo>
                  <a:pt x="419" y="22"/>
                </a:lnTo>
                <a:lnTo>
                  <a:pt x="421" y="24"/>
                </a:lnTo>
                <a:lnTo>
                  <a:pt x="469" y="24"/>
                </a:lnTo>
                <a:lnTo>
                  <a:pt x="512" y="24"/>
                </a:lnTo>
                <a:lnTo>
                  <a:pt x="510" y="32"/>
                </a:lnTo>
                <a:lnTo>
                  <a:pt x="510" y="35"/>
                </a:lnTo>
                <a:lnTo>
                  <a:pt x="506" y="41"/>
                </a:lnTo>
                <a:lnTo>
                  <a:pt x="495" y="50"/>
                </a:lnTo>
                <a:lnTo>
                  <a:pt x="493" y="52"/>
                </a:lnTo>
                <a:lnTo>
                  <a:pt x="493" y="56"/>
                </a:lnTo>
                <a:lnTo>
                  <a:pt x="497" y="63"/>
                </a:lnTo>
                <a:lnTo>
                  <a:pt x="501" y="67"/>
                </a:lnTo>
                <a:lnTo>
                  <a:pt x="503" y="73"/>
                </a:lnTo>
                <a:lnTo>
                  <a:pt x="510" y="73"/>
                </a:lnTo>
                <a:lnTo>
                  <a:pt x="516" y="76"/>
                </a:lnTo>
                <a:lnTo>
                  <a:pt x="519" y="80"/>
                </a:lnTo>
                <a:lnTo>
                  <a:pt x="521" y="82"/>
                </a:lnTo>
                <a:lnTo>
                  <a:pt x="521" y="84"/>
                </a:lnTo>
                <a:lnTo>
                  <a:pt x="521" y="112"/>
                </a:lnTo>
                <a:lnTo>
                  <a:pt x="521" y="130"/>
                </a:lnTo>
                <a:lnTo>
                  <a:pt x="521" y="145"/>
                </a:lnTo>
                <a:lnTo>
                  <a:pt x="521" y="153"/>
                </a:lnTo>
                <a:lnTo>
                  <a:pt x="519" y="186"/>
                </a:lnTo>
                <a:lnTo>
                  <a:pt x="519" y="218"/>
                </a:lnTo>
                <a:lnTo>
                  <a:pt x="519" y="253"/>
                </a:lnTo>
                <a:lnTo>
                  <a:pt x="508" y="248"/>
                </a:lnTo>
                <a:lnTo>
                  <a:pt x="510" y="253"/>
                </a:lnTo>
                <a:lnTo>
                  <a:pt x="510" y="257"/>
                </a:lnTo>
                <a:lnTo>
                  <a:pt x="512" y="259"/>
                </a:lnTo>
                <a:lnTo>
                  <a:pt x="512" y="261"/>
                </a:lnTo>
                <a:lnTo>
                  <a:pt x="512" y="263"/>
                </a:lnTo>
                <a:lnTo>
                  <a:pt x="512" y="270"/>
                </a:lnTo>
                <a:lnTo>
                  <a:pt x="510" y="270"/>
                </a:lnTo>
                <a:lnTo>
                  <a:pt x="510" y="272"/>
                </a:lnTo>
                <a:lnTo>
                  <a:pt x="510" y="274"/>
                </a:lnTo>
                <a:lnTo>
                  <a:pt x="510" y="276"/>
                </a:lnTo>
                <a:lnTo>
                  <a:pt x="516" y="276"/>
                </a:lnTo>
                <a:lnTo>
                  <a:pt x="519" y="276"/>
                </a:lnTo>
                <a:lnTo>
                  <a:pt x="519" y="287"/>
                </a:lnTo>
                <a:lnTo>
                  <a:pt x="519" y="289"/>
                </a:lnTo>
                <a:lnTo>
                  <a:pt x="519" y="291"/>
                </a:lnTo>
                <a:lnTo>
                  <a:pt x="512" y="291"/>
                </a:lnTo>
                <a:lnTo>
                  <a:pt x="516" y="296"/>
                </a:lnTo>
                <a:lnTo>
                  <a:pt x="516" y="300"/>
                </a:lnTo>
                <a:lnTo>
                  <a:pt x="516" y="302"/>
                </a:lnTo>
                <a:lnTo>
                  <a:pt x="512" y="307"/>
                </a:lnTo>
                <a:lnTo>
                  <a:pt x="510" y="311"/>
                </a:lnTo>
                <a:lnTo>
                  <a:pt x="510" y="313"/>
                </a:lnTo>
                <a:lnTo>
                  <a:pt x="510" y="311"/>
                </a:lnTo>
                <a:lnTo>
                  <a:pt x="508" y="317"/>
                </a:lnTo>
                <a:lnTo>
                  <a:pt x="506" y="319"/>
                </a:lnTo>
                <a:lnTo>
                  <a:pt x="506" y="322"/>
                </a:lnTo>
                <a:lnTo>
                  <a:pt x="506" y="324"/>
                </a:lnTo>
                <a:lnTo>
                  <a:pt x="510" y="328"/>
                </a:lnTo>
                <a:lnTo>
                  <a:pt x="512" y="328"/>
                </a:lnTo>
                <a:lnTo>
                  <a:pt x="516" y="332"/>
                </a:lnTo>
                <a:lnTo>
                  <a:pt x="516" y="337"/>
                </a:lnTo>
                <a:lnTo>
                  <a:pt x="516" y="339"/>
                </a:lnTo>
                <a:lnTo>
                  <a:pt x="516" y="341"/>
                </a:lnTo>
                <a:lnTo>
                  <a:pt x="521" y="345"/>
                </a:lnTo>
                <a:lnTo>
                  <a:pt x="516" y="345"/>
                </a:lnTo>
                <a:lnTo>
                  <a:pt x="512" y="341"/>
                </a:lnTo>
                <a:lnTo>
                  <a:pt x="510" y="341"/>
                </a:lnTo>
                <a:lnTo>
                  <a:pt x="508" y="343"/>
                </a:lnTo>
                <a:lnTo>
                  <a:pt x="506" y="341"/>
                </a:lnTo>
                <a:lnTo>
                  <a:pt x="506" y="339"/>
                </a:lnTo>
                <a:lnTo>
                  <a:pt x="501" y="335"/>
                </a:lnTo>
                <a:lnTo>
                  <a:pt x="501" y="332"/>
                </a:lnTo>
                <a:lnTo>
                  <a:pt x="503" y="332"/>
                </a:lnTo>
                <a:lnTo>
                  <a:pt x="501" y="328"/>
                </a:lnTo>
                <a:lnTo>
                  <a:pt x="495" y="328"/>
                </a:lnTo>
                <a:lnTo>
                  <a:pt x="493" y="326"/>
                </a:lnTo>
                <a:lnTo>
                  <a:pt x="493" y="324"/>
                </a:lnTo>
                <a:lnTo>
                  <a:pt x="488" y="322"/>
                </a:lnTo>
                <a:lnTo>
                  <a:pt x="484" y="324"/>
                </a:lnTo>
                <a:lnTo>
                  <a:pt x="484" y="322"/>
                </a:lnTo>
                <a:lnTo>
                  <a:pt x="484" y="319"/>
                </a:lnTo>
                <a:lnTo>
                  <a:pt x="480" y="319"/>
                </a:lnTo>
                <a:lnTo>
                  <a:pt x="473" y="319"/>
                </a:lnTo>
                <a:lnTo>
                  <a:pt x="471" y="317"/>
                </a:lnTo>
                <a:lnTo>
                  <a:pt x="465" y="313"/>
                </a:lnTo>
                <a:lnTo>
                  <a:pt x="465" y="311"/>
                </a:lnTo>
                <a:lnTo>
                  <a:pt x="462" y="311"/>
                </a:lnTo>
                <a:lnTo>
                  <a:pt x="460" y="309"/>
                </a:lnTo>
                <a:lnTo>
                  <a:pt x="456" y="309"/>
                </a:lnTo>
                <a:lnTo>
                  <a:pt x="452" y="311"/>
                </a:lnTo>
                <a:lnTo>
                  <a:pt x="447" y="309"/>
                </a:lnTo>
                <a:lnTo>
                  <a:pt x="445" y="309"/>
                </a:lnTo>
                <a:lnTo>
                  <a:pt x="443" y="311"/>
                </a:lnTo>
                <a:lnTo>
                  <a:pt x="439" y="309"/>
                </a:lnTo>
                <a:lnTo>
                  <a:pt x="434" y="311"/>
                </a:lnTo>
                <a:lnTo>
                  <a:pt x="430" y="309"/>
                </a:lnTo>
                <a:lnTo>
                  <a:pt x="428" y="311"/>
                </a:lnTo>
                <a:lnTo>
                  <a:pt x="426" y="311"/>
                </a:lnTo>
                <a:lnTo>
                  <a:pt x="426" y="309"/>
                </a:lnTo>
                <a:lnTo>
                  <a:pt x="421" y="309"/>
                </a:lnTo>
                <a:lnTo>
                  <a:pt x="421" y="311"/>
                </a:lnTo>
                <a:lnTo>
                  <a:pt x="419" y="317"/>
                </a:lnTo>
                <a:lnTo>
                  <a:pt x="415" y="317"/>
                </a:lnTo>
                <a:lnTo>
                  <a:pt x="413" y="319"/>
                </a:lnTo>
                <a:lnTo>
                  <a:pt x="411" y="317"/>
                </a:lnTo>
                <a:lnTo>
                  <a:pt x="404" y="313"/>
                </a:lnTo>
                <a:lnTo>
                  <a:pt x="404" y="311"/>
                </a:lnTo>
                <a:lnTo>
                  <a:pt x="402" y="311"/>
                </a:lnTo>
                <a:lnTo>
                  <a:pt x="391" y="307"/>
                </a:lnTo>
                <a:lnTo>
                  <a:pt x="387" y="304"/>
                </a:lnTo>
                <a:lnTo>
                  <a:pt x="380" y="302"/>
                </a:lnTo>
                <a:lnTo>
                  <a:pt x="378" y="296"/>
                </a:lnTo>
                <a:lnTo>
                  <a:pt x="326" y="294"/>
                </a:lnTo>
                <a:lnTo>
                  <a:pt x="309" y="294"/>
                </a:lnTo>
                <a:lnTo>
                  <a:pt x="262" y="291"/>
                </a:lnTo>
                <a:lnTo>
                  <a:pt x="193" y="289"/>
                </a:lnTo>
                <a:lnTo>
                  <a:pt x="134" y="285"/>
                </a:lnTo>
                <a:lnTo>
                  <a:pt x="85" y="281"/>
                </a:lnTo>
              </a:path>
            </a:pathLst>
          </a:custGeom>
          <a:noFill/>
          <a:ln w="6350">
            <a:solidFill>
              <a:srgbClr val="404040"/>
            </a:solidFill>
            <a:round/>
            <a:headEnd/>
            <a:tailEnd/>
          </a:ln>
        </p:spPr>
        <p:txBody>
          <a:bodyPr/>
          <a:lstStyle/>
          <a:p>
            <a:endParaRPr lang="en-US" dirty="0">
              <a:solidFill>
                <a:prstClr val="black"/>
              </a:solidFill>
            </a:endParaRPr>
          </a:p>
        </p:txBody>
      </p:sp>
      <p:sp>
        <p:nvSpPr>
          <p:cNvPr id="187" name="Freeform 20">
            <a:extLst>
              <a:ext uri="{FF2B5EF4-FFF2-40B4-BE49-F238E27FC236}">
                <a16:creationId xmlns:a16="http://schemas.microsoft.com/office/drawing/2014/main" id="{DA75E8EA-2BE3-43B7-9584-851FD932E502}"/>
              </a:ext>
            </a:extLst>
          </p:cNvPr>
          <p:cNvSpPr>
            <a:spLocks/>
          </p:cNvSpPr>
          <p:nvPr>
            <p:custDataLst>
              <p:tags r:id="rId11"/>
            </p:custDataLst>
          </p:nvPr>
        </p:nvSpPr>
        <p:spPr bwMode="auto">
          <a:xfrm>
            <a:off x="3972306" y="2479629"/>
            <a:ext cx="1052162" cy="929532"/>
          </a:xfrm>
          <a:custGeom>
            <a:avLst/>
            <a:gdLst>
              <a:gd name="T0" fmla="*/ 2147483647 w 520"/>
              <a:gd name="T1" fmla="*/ 2147483647 h 430"/>
              <a:gd name="T2" fmla="*/ 2147483647 w 520"/>
              <a:gd name="T3" fmla="*/ 2147483647 h 430"/>
              <a:gd name="T4" fmla="*/ 2147483647 w 520"/>
              <a:gd name="T5" fmla="*/ 2147483647 h 430"/>
              <a:gd name="T6" fmla="*/ 2147483647 w 520"/>
              <a:gd name="T7" fmla="*/ 2147483647 h 430"/>
              <a:gd name="T8" fmla="*/ 2147483647 w 520"/>
              <a:gd name="T9" fmla="*/ 2147483647 h 430"/>
              <a:gd name="T10" fmla="*/ 2147483647 w 520"/>
              <a:gd name="T11" fmla="*/ 2147483647 h 430"/>
              <a:gd name="T12" fmla="*/ 2147483647 w 520"/>
              <a:gd name="T13" fmla="*/ 2147483647 h 430"/>
              <a:gd name="T14" fmla="*/ 2147483647 w 520"/>
              <a:gd name="T15" fmla="*/ 2147483647 h 430"/>
              <a:gd name="T16" fmla="*/ 2147483647 w 520"/>
              <a:gd name="T17" fmla="*/ 2147483647 h 430"/>
              <a:gd name="T18" fmla="*/ 2147483647 w 520"/>
              <a:gd name="T19" fmla="*/ 2147483647 h 430"/>
              <a:gd name="T20" fmla="*/ 2147483647 w 520"/>
              <a:gd name="T21" fmla="*/ 2147483647 h 430"/>
              <a:gd name="T22" fmla="*/ 2147483647 w 520"/>
              <a:gd name="T23" fmla="*/ 2147483647 h 430"/>
              <a:gd name="T24" fmla="*/ 2147483647 w 520"/>
              <a:gd name="T25" fmla="*/ 2147483647 h 430"/>
              <a:gd name="T26" fmla="*/ 2147483647 w 520"/>
              <a:gd name="T27" fmla="*/ 2147483647 h 430"/>
              <a:gd name="T28" fmla="*/ 0 w 520"/>
              <a:gd name="T29" fmla="*/ 2147483647 h 430"/>
              <a:gd name="T30" fmla="*/ 2147483647 w 520"/>
              <a:gd name="T31" fmla="*/ 2147483647 h 430"/>
              <a:gd name="T32" fmla="*/ 2147483647 w 520"/>
              <a:gd name="T33" fmla="*/ 2147483647 h 430"/>
              <a:gd name="T34" fmla="*/ 2147483647 w 520"/>
              <a:gd name="T35" fmla="*/ 2147483647 h 430"/>
              <a:gd name="T36" fmla="*/ 2147483647 w 520"/>
              <a:gd name="T37" fmla="*/ 2147483647 h 430"/>
              <a:gd name="T38" fmla="*/ 2147483647 w 520"/>
              <a:gd name="T39" fmla="*/ 2147483647 h 430"/>
              <a:gd name="T40" fmla="*/ 2147483647 w 520"/>
              <a:gd name="T41" fmla="*/ 2147483647 h 430"/>
              <a:gd name="T42" fmla="*/ 2147483647 w 520"/>
              <a:gd name="T43" fmla="*/ 2147483647 h 430"/>
              <a:gd name="T44" fmla="*/ 2147483647 w 520"/>
              <a:gd name="T45" fmla="*/ 2147483647 h 430"/>
              <a:gd name="T46" fmla="*/ 2147483647 w 520"/>
              <a:gd name="T47" fmla="*/ 2147483647 h 430"/>
              <a:gd name="T48" fmla="*/ 2147483647 w 520"/>
              <a:gd name="T49" fmla="*/ 2147483647 h 430"/>
              <a:gd name="T50" fmla="*/ 2147483647 w 520"/>
              <a:gd name="T51" fmla="*/ 0 h 430"/>
              <a:gd name="T52" fmla="*/ 2147483647 w 520"/>
              <a:gd name="T53" fmla="*/ 2147483647 h 430"/>
              <a:gd name="T54" fmla="*/ 2147483647 w 520"/>
              <a:gd name="T55" fmla="*/ 2147483647 h 430"/>
              <a:gd name="T56" fmla="*/ 2147483647 w 520"/>
              <a:gd name="T57" fmla="*/ 2147483647 h 430"/>
              <a:gd name="T58" fmla="*/ 2147483647 w 520"/>
              <a:gd name="T59" fmla="*/ 2147483647 h 430"/>
              <a:gd name="T60" fmla="*/ 2147483647 w 520"/>
              <a:gd name="T61" fmla="*/ 2147483647 h 430"/>
              <a:gd name="T62" fmla="*/ 2147483647 w 520"/>
              <a:gd name="T63" fmla="*/ 2147483647 h 430"/>
              <a:gd name="T64" fmla="*/ 2147483647 w 520"/>
              <a:gd name="T65" fmla="*/ 2147483647 h 430"/>
              <a:gd name="T66" fmla="*/ 2147483647 w 520"/>
              <a:gd name="T67" fmla="*/ 2147483647 h 430"/>
              <a:gd name="T68" fmla="*/ 2147483647 w 520"/>
              <a:gd name="T69" fmla="*/ 2147483647 h 430"/>
              <a:gd name="T70" fmla="*/ 2147483647 w 520"/>
              <a:gd name="T71" fmla="*/ 2147483647 h 430"/>
              <a:gd name="T72" fmla="*/ 2147483647 w 520"/>
              <a:gd name="T73" fmla="*/ 2147483647 h 430"/>
              <a:gd name="T74" fmla="*/ 2147483647 w 520"/>
              <a:gd name="T75" fmla="*/ 2147483647 h 430"/>
              <a:gd name="T76" fmla="*/ 2147483647 w 520"/>
              <a:gd name="T77" fmla="*/ 2147483647 h 430"/>
              <a:gd name="T78" fmla="*/ 2147483647 w 520"/>
              <a:gd name="T79" fmla="*/ 2147483647 h 430"/>
              <a:gd name="T80" fmla="*/ 2147483647 w 520"/>
              <a:gd name="T81" fmla="*/ 2147483647 h 430"/>
              <a:gd name="T82" fmla="*/ 2147483647 w 520"/>
              <a:gd name="T83" fmla="*/ 2147483647 h 430"/>
              <a:gd name="T84" fmla="*/ 2147483647 w 520"/>
              <a:gd name="T85" fmla="*/ 2147483647 h 430"/>
              <a:gd name="T86" fmla="*/ 2147483647 w 520"/>
              <a:gd name="T87" fmla="*/ 2147483647 h 430"/>
              <a:gd name="T88" fmla="*/ 2147483647 w 520"/>
              <a:gd name="T89" fmla="*/ 2147483647 h 430"/>
              <a:gd name="T90" fmla="*/ 2147483647 w 520"/>
              <a:gd name="T91" fmla="*/ 2147483647 h 430"/>
              <a:gd name="T92" fmla="*/ 2147483647 w 520"/>
              <a:gd name="T93" fmla="*/ 2147483647 h 430"/>
              <a:gd name="T94" fmla="*/ 2147483647 w 520"/>
              <a:gd name="T95" fmla="*/ 2147483647 h 4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0"/>
              <a:gd name="T145" fmla="*/ 0 h 430"/>
              <a:gd name="T146" fmla="*/ 520 w 520"/>
              <a:gd name="T147" fmla="*/ 430 h 4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0" h="430">
                <a:moveTo>
                  <a:pt x="495" y="365"/>
                </a:moveTo>
                <a:lnTo>
                  <a:pt x="492" y="378"/>
                </a:lnTo>
                <a:lnTo>
                  <a:pt x="492" y="393"/>
                </a:lnTo>
                <a:lnTo>
                  <a:pt x="488" y="430"/>
                </a:lnTo>
                <a:lnTo>
                  <a:pt x="428" y="425"/>
                </a:lnTo>
                <a:lnTo>
                  <a:pt x="404" y="423"/>
                </a:lnTo>
                <a:lnTo>
                  <a:pt x="339" y="415"/>
                </a:lnTo>
                <a:lnTo>
                  <a:pt x="328" y="415"/>
                </a:lnTo>
                <a:lnTo>
                  <a:pt x="292" y="410"/>
                </a:lnTo>
                <a:lnTo>
                  <a:pt x="261" y="406"/>
                </a:lnTo>
                <a:lnTo>
                  <a:pt x="220" y="402"/>
                </a:lnTo>
                <a:lnTo>
                  <a:pt x="140" y="391"/>
                </a:lnTo>
                <a:lnTo>
                  <a:pt x="74" y="380"/>
                </a:lnTo>
                <a:lnTo>
                  <a:pt x="69" y="380"/>
                </a:lnTo>
                <a:lnTo>
                  <a:pt x="0" y="372"/>
                </a:lnTo>
                <a:lnTo>
                  <a:pt x="7" y="346"/>
                </a:lnTo>
                <a:lnTo>
                  <a:pt x="11" y="315"/>
                </a:lnTo>
                <a:lnTo>
                  <a:pt x="15" y="279"/>
                </a:lnTo>
                <a:lnTo>
                  <a:pt x="24" y="231"/>
                </a:lnTo>
                <a:lnTo>
                  <a:pt x="30" y="184"/>
                </a:lnTo>
                <a:lnTo>
                  <a:pt x="35" y="160"/>
                </a:lnTo>
                <a:lnTo>
                  <a:pt x="37" y="136"/>
                </a:lnTo>
                <a:lnTo>
                  <a:pt x="45" y="95"/>
                </a:lnTo>
                <a:lnTo>
                  <a:pt x="52" y="50"/>
                </a:lnTo>
                <a:lnTo>
                  <a:pt x="56" y="33"/>
                </a:lnTo>
                <a:lnTo>
                  <a:pt x="61" y="0"/>
                </a:lnTo>
                <a:lnTo>
                  <a:pt x="99" y="9"/>
                </a:lnTo>
                <a:lnTo>
                  <a:pt x="102" y="9"/>
                </a:lnTo>
                <a:lnTo>
                  <a:pt x="130" y="11"/>
                </a:lnTo>
                <a:lnTo>
                  <a:pt x="143" y="13"/>
                </a:lnTo>
                <a:lnTo>
                  <a:pt x="220" y="26"/>
                </a:lnTo>
                <a:lnTo>
                  <a:pt x="244" y="28"/>
                </a:lnTo>
                <a:lnTo>
                  <a:pt x="266" y="30"/>
                </a:lnTo>
                <a:lnTo>
                  <a:pt x="376" y="43"/>
                </a:lnTo>
                <a:lnTo>
                  <a:pt x="391" y="46"/>
                </a:lnTo>
                <a:lnTo>
                  <a:pt x="454" y="50"/>
                </a:lnTo>
                <a:lnTo>
                  <a:pt x="456" y="52"/>
                </a:lnTo>
                <a:lnTo>
                  <a:pt x="520" y="59"/>
                </a:lnTo>
                <a:lnTo>
                  <a:pt x="518" y="97"/>
                </a:lnTo>
                <a:lnTo>
                  <a:pt x="514" y="134"/>
                </a:lnTo>
                <a:lnTo>
                  <a:pt x="514" y="136"/>
                </a:lnTo>
                <a:lnTo>
                  <a:pt x="510" y="164"/>
                </a:lnTo>
                <a:lnTo>
                  <a:pt x="508" y="197"/>
                </a:lnTo>
                <a:lnTo>
                  <a:pt x="508" y="199"/>
                </a:lnTo>
                <a:lnTo>
                  <a:pt x="505" y="244"/>
                </a:lnTo>
                <a:lnTo>
                  <a:pt x="503" y="279"/>
                </a:lnTo>
                <a:lnTo>
                  <a:pt x="499" y="337"/>
                </a:lnTo>
                <a:lnTo>
                  <a:pt x="495" y="365"/>
                </a:lnTo>
                <a:close/>
              </a:path>
            </a:pathLst>
          </a:custGeom>
          <a:solidFill>
            <a:schemeClr val="bg1"/>
          </a:solidFill>
          <a:ln w="9525">
            <a:noFill/>
            <a:round/>
            <a:headEnd/>
            <a:tailEnd/>
          </a:ln>
        </p:spPr>
        <p:txBody>
          <a:bodyPr/>
          <a:lstStyle/>
          <a:p>
            <a:endParaRPr lang="en-US" dirty="0">
              <a:solidFill>
                <a:prstClr val="black"/>
              </a:solidFill>
            </a:endParaRPr>
          </a:p>
        </p:txBody>
      </p:sp>
      <p:sp>
        <p:nvSpPr>
          <p:cNvPr id="188" name="Freeform 21">
            <a:extLst>
              <a:ext uri="{FF2B5EF4-FFF2-40B4-BE49-F238E27FC236}">
                <a16:creationId xmlns:a16="http://schemas.microsoft.com/office/drawing/2014/main" id="{257EE24B-BBEE-4425-BF79-D7855F801E89}"/>
              </a:ext>
            </a:extLst>
          </p:cNvPr>
          <p:cNvSpPr>
            <a:spLocks/>
          </p:cNvSpPr>
          <p:nvPr>
            <p:custDataLst>
              <p:tags r:id="rId12"/>
            </p:custDataLst>
          </p:nvPr>
        </p:nvSpPr>
        <p:spPr bwMode="auto">
          <a:xfrm>
            <a:off x="3972306" y="2479629"/>
            <a:ext cx="1052162" cy="929532"/>
          </a:xfrm>
          <a:custGeom>
            <a:avLst/>
            <a:gdLst>
              <a:gd name="T0" fmla="*/ 2147483647 w 520"/>
              <a:gd name="T1" fmla="*/ 2147483647 h 430"/>
              <a:gd name="T2" fmla="*/ 2147483647 w 520"/>
              <a:gd name="T3" fmla="*/ 2147483647 h 430"/>
              <a:gd name="T4" fmla="*/ 2147483647 w 520"/>
              <a:gd name="T5" fmla="*/ 2147483647 h 430"/>
              <a:gd name="T6" fmla="*/ 2147483647 w 520"/>
              <a:gd name="T7" fmla="*/ 2147483647 h 430"/>
              <a:gd name="T8" fmla="*/ 2147483647 w 520"/>
              <a:gd name="T9" fmla="*/ 2147483647 h 430"/>
              <a:gd name="T10" fmla="*/ 2147483647 w 520"/>
              <a:gd name="T11" fmla="*/ 2147483647 h 430"/>
              <a:gd name="T12" fmla="*/ 2147483647 w 520"/>
              <a:gd name="T13" fmla="*/ 2147483647 h 430"/>
              <a:gd name="T14" fmla="*/ 2147483647 w 520"/>
              <a:gd name="T15" fmla="*/ 2147483647 h 430"/>
              <a:gd name="T16" fmla="*/ 2147483647 w 520"/>
              <a:gd name="T17" fmla="*/ 2147483647 h 430"/>
              <a:gd name="T18" fmla="*/ 2147483647 w 520"/>
              <a:gd name="T19" fmla="*/ 2147483647 h 430"/>
              <a:gd name="T20" fmla="*/ 2147483647 w 520"/>
              <a:gd name="T21" fmla="*/ 2147483647 h 430"/>
              <a:gd name="T22" fmla="*/ 2147483647 w 520"/>
              <a:gd name="T23" fmla="*/ 2147483647 h 430"/>
              <a:gd name="T24" fmla="*/ 2147483647 w 520"/>
              <a:gd name="T25" fmla="*/ 2147483647 h 430"/>
              <a:gd name="T26" fmla="*/ 2147483647 w 520"/>
              <a:gd name="T27" fmla="*/ 2147483647 h 430"/>
              <a:gd name="T28" fmla="*/ 0 w 520"/>
              <a:gd name="T29" fmla="*/ 2147483647 h 430"/>
              <a:gd name="T30" fmla="*/ 2147483647 w 520"/>
              <a:gd name="T31" fmla="*/ 2147483647 h 430"/>
              <a:gd name="T32" fmla="*/ 2147483647 w 520"/>
              <a:gd name="T33" fmla="*/ 2147483647 h 430"/>
              <a:gd name="T34" fmla="*/ 2147483647 w 520"/>
              <a:gd name="T35" fmla="*/ 2147483647 h 430"/>
              <a:gd name="T36" fmla="*/ 2147483647 w 520"/>
              <a:gd name="T37" fmla="*/ 2147483647 h 430"/>
              <a:gd name="T38" fmla="*/ 2147483647 w 520"/>
              <a:gd name="T39" fmla="*/ 2147483647 h 430"/>
              <a:gd name="T40" fmla="*/ 2147483647 w 520"/>
              <a:gd name="T41" fmla="*/ 2147483647 h 430"/>
              <a:gd name="T42" fmla="*/ 2147483647 w 520"/>
              <a:gd name="T43" fmla="*/ 2147483647 h 430"/>
              <a:gd name="T44" fmla="*/ 2147483647 w 520"/>
              <a:gd name="T45" fmla="*/ 2147483647 h 430"/>
              <a:gd name="T46" fmla="*/ 2147483647 w 520"/>
              <a:gd name="T47" fmla="*/ 2147483647 h 430"/>
              <a:gd name="T48" fmla="*/ 2147483647 w 520"/>
              <a:gd name="T49" fmla="*/ 2147483647 h 430"/>
              <a:gd name="T50" fmla="*/ 2147483647 w 520"/>
              <a:gd name="T51" fmla="*/ 0 h 430"/>
              <a:gd name="T52" fmla="*/ 2147483647 w 520"/>
              <a:gd name="T53" fmla="*/ 2147483647 h 430"/>
              <a:gd name="T54" fmla="*/ 2147483647 w 520"/>
              <a:gd name="T55" fmla="*/ 2147483647 h 430"/>
              <a:gd name="T56" fmla="*/ 2147483647 w 520"/>
              <a:gd name="T57" fmla="*/ 2147483647 h 430"/>
              <a:gd name="T58" fmla="*/ 2147483647 w 520"/>
              <a:gd name="T59" fmla="*/ 2147483647 h 430"/>
              <a:gd name="T60" fmla="*/ 2147483647 w 520"/>
              <a:gd name="T61" fmla="*/ 2147483647 h 430"/>
              <a:gd name="T62" fmla="*/ 2147483647 w 520"/>
              <a:gd name="T63" fmla="*/ 2147483647 h 430"/>
              <a:gd name="T64" fmla="*/ 2147483647 w 520"/>
              <a:gd name="T65" fmla="*/ 2147483647 h 430"/>
              <a:gd name="T66" fmla="*/ 2147483647 w 520"/>
              <a:gd name="T67" fmla="*/ 2147483647 h 430"/>
              <a:gd name="T68" fmla="*/ 2147483647 w 520"/>
              <a:gd name="T69" fmla="*/ 2147483647 h 430"/>
              <a:gd name="T70" fmla="*/ 2147483647 w 520"/>
              <a:gd name="T71" fmla="*/ 2147483647 h 430"/>
              <a:gd name="T72" fmla="*/ 2147483647 w 520"/>
              <a:gd name="T73" fmla="*/ 2147483647 h 430"/>
              <a:gd name="T74" fmla="*/ 2147483647 w 520"/>
              <a:gd name="T75" fmla="*/ 2147483647 h 430"/>
              <a:gd name="T76" fmla="*/ 2147483647 w 520"/>
              <a:gd name="T77" fmla="*/ 2147483647 h 430"/>
              <a:gd name="T78" fmla="*/ 2147483647 w 520"/>
              <a:gd name="T79" fmla="*/ 2147483647 h 430"/>
              <a:gd name="T80" fmla="*/ 2147483647 w 520"/>
              <a:gd name="T81" fmla="*/ 2147483647 h 430"/>
              <a:gd name="T82" fmla="*/ 2147483647 w 520"/>
              <a:gd name="T83" fmla="*/ 2147483647 h 430"/>
              <a:gd name="T84" fmla="*/ 2147483647 w 520"/>
              <a:gd name="T85" fmla="*/ 2147483647 h 430"/>
              <a:gd name="T86" fmla="*/ 2147483647 w 520"/>
              <a:gd name="T87" fmla="*/ 2147483647 h 430"/>
              <a:gd name="T88" fmla="*/ 2147483647 w 520"/>
              <a:gd name="T89" fmla="*/ 2147483647 h 430"/>
              <a:gd name="T90" fmla="*/ 2147483647 w 520"/>
              <a:gd name="T91" fmla="*/ 2147483647 h 430"/>
              <a:gd name="T92" fmla="*/ 2147483647 w 520"/>
              <a:gd name="T93" fmla="*/ 2147483647 h 430"/>
              <a:gd name="T94" fmla="*/ 2147483647 w 520"/>
              <a:gd name="T95" fmla="*/ 2147483647 h 4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0"/>
              <a:gd name="T145" fmla="*/ 0 h 430"/>
              <a:gd name="T146" fmla="*/ 520 w 520"/>
              <a:gd name="T147" fmla="*/ 430 h 4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0" h="430">
                <a:moveTo>
                  <a:pt x="495" y="365"/>
                </a:moveTo>
                <a:lnTo>
                  <a:pt x="492" y="378"/>
                </a:lnTo>
                <a:lnTo>
                  <a:pt x="492" y="393"/>
                </a:lnTo>
                <a:lnTo>
                  <a:pt x="488" y="430"/>
                </a:lnTo>
                <a:lnTo>
                  <a:pt x="428" y="425"/>
                </a:lnTo>
                <a:lnTo>
                  <a:pt x="404" y="423"/>
                </a:lnTo>
                <a:lnTo>
                  <a:pt x="339" y="415"/>
                </a:lnTo>
                <a:lnTo>
                  <a:pt x="328" y="415"/>
                </a:lnTo>
                <a:lnTo>
                  <a:pt x="292" y="410"/>
                </a:lnTo>
                <a:lnTo>
                  <a:pt x="261" y="406"/>
                </a:lnTo>
                <a:lnTo>
                  <a:pt x="220" y="402"/>
                </a:lnTo>
                <a:lnTo>
                  <a:pt x="140" y="391"/>
                </a:lnTo>
                <a:lnTo>
                  <a:pt x="74" y="380"/>
                </a:lnTo>
                <a:lnTo>
                  <a:pt x="69" y="380"/>
                </a:lnTo>
                <a:lnTo>
                  <a:pt x="0" y="372"/>
                </a:lnTo>
                <a:lnTo>
                  <a:pt x="7" y="346"/>
                </a:lnTo>
                <a:lnTo>
                  <a:pt x="11" y="315"/>
                </a:lnTo>
                <a:lnTo>
                  <a:pt x="15" y="279"/>
                </a:lnTo>
                <a:lnTo>
                  <a:pt x="24" y="231"/>
                </a:lnTo>
                <a:lnTo>
                  <a:pt x="30" y="184"/>
                </a:lnTo>
                <a:lnTo>
                  <a:pt x="35" y="160"/>
                </a:lnTo>
                <a:lnTo>
                  <a:pt x="37" y="136"/>
                </a:lnTo>
                <a:lnTo>
                  <a:pt x="45" y="95"/>
                </a:lnTo>
                <a:lnTo>
                  <a:pt x="52" y="50"/>
                </a:lnTo>
                <a:lnTo>
                  <a:pt x="56" y="33"/>
                </a:lnTo>
                <a:lnTo>
                  <a:pt x="61" y="0"/>
                </a:lnTo>
                <a:lnTo>
                  <a:pt x="99" y="9"/>
                </a:lnTo>
                <a:lnTo>
                  <a:pt x="102" y="9"/>
                </a:lnTo>
                <a:lnTo>
                  <a:pt x="130" y="11"/>
                </a:lnTo>
                <a:lnTo>
                  <a:pt x="143" y="13"/>
                </a:lnTo>
                <a:lnTo>
                  <a:pt x="220" y="26"/>
                </a:lnTo>
                <a:lnTo>
                  <a:pt x="244" y="28"/>
                </a:lnTo>
                <a:lnTo>
                  <a:pt x="266" y="30"/>
                </a:lnTo>
                <a:lnTo>
                  <a:pt x="376" y="43"/>
                </a:lnTo>
                <a:lnTo>
                  <a:pt x="391" y="46"/>
                </a:lnTo>
                <a:lnTo>
                  <a:pt x="454" y="50"/>
                </a:lnTo>
                <a:lnTo>
                  <a:pt x="456" y="52"/>
                </a:lnTo>
                <a:lnTo>
                  <a:pt x="520" y="59"/>
                </a:lnTo>
                <a:lnTo>
                  <a:pt x="518" y="97"/>
                </a:lnTo>
                <a:lnTo>
                  <a:pt x="514" y="134"/>
                </a:lnTo>
                <a:lnTo>
                  <a:pt x="514" y="136"/>
                </a:lnTo>
                <a:lnTo>
                  <a:pt x="510" y="164"/>
                </a:lnTo>
                <a:lnTo>
                  <a:pt x="508" y="197"/>
                </a:lnTo>
                <a:lnTo>
                  <a:pt x="508" y="199"/>
                </a:lnTo>
                <a:lnTo>
                  <a:pt x="505" y="244"/>
                </a:lnTo>
                <a:lnTo>
                  <a:pt x="503" y="279"/>
                </a:lnTo>
                <a:lnTo>
                  <a:pt x="499" y="337"/>
                </a:lnTo>
                <a:lnTo>
                  <a:pt x="495" y="365"/>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189" name="Freeform 22">
            <a:extLst>
              <a:ext uri="{FF2B5EF4-FFF2-40B4-BE49-F238E27FC236}">
                <a16:creationId xmlns:a16="http://schemas.microsoft.com/office/drawing/2014/main" id="{EC53E41A-F6C7-4ADD-8846-CC48D3618F48}"/>
              </a:ext>
            </a:extLst>
          </p:cNvPr>
          <p:cNvSpPr>
            <a:spLocks noEditPoints="1"/>
          </p:cNvSpPr>
          <p:nvPr>
            <p:custDataLst>
              <p:tags r:id="rId13"/>
            </p:custDataLst>
          </p:nvPr>
        </p:nvSpPr>
        <p:spPr bwMode="auto">
          <a:xfrm>
            <a:off x="6519432" y="2237526"/>
            <a:ext cx="791311" cy="901429"/>
          </a:xfrm>
          <a:custGeom>
            <a:avLst/>
            <a:gdLst>
              <a:gd name="T0" fmla="*/ 2147483647 w 391"/>
              <a:gd name="T1" fmla="*/ 2147483647 h 417"/>
              <a:gd name="T2" fmla="*/ 2147483647 w 391"/>
              <a:gd name="T3" fmla="*/ 2147483647 h 417"/>
              <a:gd name="T4" fmla="*/ 2147483647 w 391"/>
              <a:gd name="T5" fmla="*/ 2147483647 h 417"/>
              <a:gd name="T6" fmla="*/ 2147483647 w 391"/>
              <a:gd name="T7" fmla="*/ 2147483647 h 417"/>
              <a:gd name="T8" fmla="*/ 2147483647 w 391"/>
              <a:gd name="T9" fmla="*/ 2147483647 h 417"/>
              <a:gd name="T10" fmla="*/ 2147483647 w 391"/>
              <a:gd name="T11" fmla="*/ 2147483647 h 417"/>
              <a:gd name="T12" fmla="*/ 2147483647 w 391"/>
              <a:gd name="T13" fmla="*/ 2147483647 h 417"/>
              <a:gd name="T14" fmla="*/ 2147483647 w 391"/>
              <a:gd name="T15" fmla="*/ 2147483647 h 417"/>
              <a:gd name="T16" fmla="*/ 2147483647 w 391"/>
              <a:gd name="T17" fmla="*/ 2147483647 h 417"/>
              <a:gd name="T18" fmla="*/ 2147483647 w 391"/>
              <a:gd name="T19" fmla="*/ 2147483647 h 417"/>
              <a:gd name="T20" fmla="*/ 2147483647 w 391"/>
              <a:gd name="T21" fmla="*/ 2147483647 h 417"/>
              <a:gd name="T22" fmla="*/ 2147483647 w 391"/>
              <a:gd name="T23" fmla="*/ 2147483647 h 417"/>
              <a:gd name="T24" fmla="*/ 2147483647 w 391"/>
              <a:gd name="T25" fmla="*/ 2147483647 h 417"/>
              <a:gd name="T26" fmla="*/ 2147483647 w 391"/>
              <a:gd name="T27" fmla="*/ 2147483647 h 417"/>
              <a:gd name="T28" fmla="*/ 2147483647 w 391"/>
              <a:gd name="T29" fmla="*/ 2147483647 h 417"/>
              <a:gd name="T30" fmla="*/ 2147483647 w 391"/>
              <a:gd name="T31" fmla="*/ 2147483647 h 417"/>
              <a:gd name="T32" fmla="*/ 2147483647 w 391"/>
              <a:gd name="T33" fmla="*/ 2147483647 h 417"/>
              <a:gd name="T34" fmla="*/ 2147483647 w 391"/>
              <a:gd name="T35" fmla="*/ 2147483647 h 417"/>
              <a:gd name="T36" fmla="*/ 2147483647 w 391"/>
              <a:gd name="T37" fmla="*/ 2147483647 h 417"/>
              <a:gd name="T38" fmla="*/ 2147483647 w 391"/>
              <a:gd name="T39" fmla="*/ 2147483647 h 417"/>
              <a:gd name="T40" fmla="*/ 2147483647 w 391"/>
              <a:gd name="T41" fmla="*/ 2147483647 h 417"/>
              <a:gd name="T42" fmla="*/ 2147483647 w 391"/>
              <a:gd name="T43" fmla="*/ 2147483647 h 417"/>
              <a:gd name="T44" fmla="*/ 2147483647 w 391"/>
              <a:gd name="T45" fmla="*/ 2147483647 h 417"/>
              <a:gd name="T46" fmla="*/ 2147483647 w 391"/>
              <a:gd name="T47" fmla="*/ 2147483647 h 417"/>
              <a:gd name="T48" fmla="*/ 2147483647 w 391"/>
              <a:gd name="T49" fmla="*/ 2147483647 h 417"/>
              <a:gd name="T50" fmla="*/ 2147483647 w 391"/>
              <a:gd name="T51" fmla="*/ 2147483647 h 417"/>
              <a:gd name="T52" fmla="*/ 2147483647 w 391"/>
              <a:gd name="T53" fmla="*/ 2147483647 h 417"/>
              <a:gd name="T54" fmla="*/ 2147483647 w 391"/>
              <a:gd name="T55" fmla="*/ 2147483647 h 417"/>
              <a:gd name="T56" fmla="*/ 2147483647 w 391"/>
              <a:gd name="T57" fmla="*/ 2147483647 h 417"/>
              <a:gd name="T58" fmla="*/ 2147483647 w 391"/>
              <a:gd name="T59" fmla="*/ 2147483647 h 417"/>
              <a:gd name="T60" fmla="*/ 0 w 391"/>
              <a:gd name="T61" fmla="*/ 2147483647 h 417"/>
              <a:gd name="T62" fmla="*/ 2147483647 w 391"/>
              <a:gd name="T63" fmla="*/ 2147483647 h 417"/>
              <a:gd name="T64" fmla="*/ 2147483647 w 391"/>
              <a:gd name="T65" fmla="*/ 2147483647 h 417"/>
              <a:gd name="T66" fmla="*/ 2147483647 w 391"/>
              <a:gd name="T67" fmla="*/ 2147483647 h 417"/>
              <a:gd name="T68" fmla="*/ 2147483647 w 391"/>
              <a:gd name="T69" fmla="*/ 2147483647 h 417"/>
              <a:gd name="T70" fmla="*/ 2147483647 w 391"/>
              <a:gd name="T71" fmla="*/ 2147483647 h 417"/>
              <a:gd name="T72" fmla="*/ 2147483647 w 391"/>
              <a:gd name="T73" fmla="*/ 0 h 417"/>
              <a:gd name="T74" fmla="*/ 2147483647 w 391"/>
              <a:gd name="T75" fmla="*/ 2147483647 h 417"/>
              <a:gd name="T76" fmla="*/ 2147483647 w 391"/>
              <a:gd name="T77" fmla="*/ 2147483647 h 417"/>
              <a:gd name="T78" fmla="*/ 2147483647 w 391"/>
              <a:gd name="T79" fmla="*/ 2147483647 h 417"/>
              <a:gd name="T80" fmla="*/ 2147483647 w 391"/>
              <a:gd name="T81" fmla="*/ 2147483647 h 417"/>
              <a:gd name="T82" fmla="*/ 2147483647 w 391"/>
              <a:gd name="T83" fmla="*/ 2147483647 h 417"/>
              <a:gd name="T84" fmla="*/ 2147483647 w 391"/>
              <a:gd name="T85" fmla="*/ 2147483647 h 417"/>
              <a:gd name="T86" fmla="*/ 2147483647 w 391"/>
              <a:gd name="T87" fmla="*/ 2147483647 h 417"/>
              <a:gd name="T88" fmla="*/ 2147483647 w 391"/>
              <a:gd name="T89" fmla="*/ 2147483647 h 417"/>
              <a:gd name="T90" fmla="*/ 2147483647 w 391"/>
              <a:gd name="T91" fmla="*/ 2147483647 h 417"/>
              <a:gd name="T92" fmla="*/ 2147483647 w 391"/>
              <a:gd name="T93" fmla="*/ 2147483647 h 417"/>
              <a:gd name="T94" fmla="*/ 2147483647 w 391"/>
              <a:gd name="T95" fmla="*/ 2147483647 h 417"/>
              <a:gd name="T96" fmla="*/ 2147483647 w 391"/>
              <a:gd name="T97" fmla="*/ 2147483647 h 417"/>
              <a:gd name="T98" fmla="*/ 2147483647 w 391"/>
              <a:gd name="T99" fmla="*/ 2147483647 h 417"/>
              <a:gd name="T100" fmla="*/ 2147483647 w 391"/>
              <a:gd name="T101" fmla="*/ 2147483647 h 417"/>
              <a:gd name="T102" fmla="*/ 2147483647 w 391"/>
              <a:gd name="T103" fmla="*/ 2147483647 h 417"/>
              <a:gd name="T104" fmla="*/ 2147483647 w 391"/>
              <a:gd name="T105" fmla="*/ 2147483647 h 417"/>
              <a:gd name="T106" fmla="*/ 2147483647 w 391"/>
              <a:gd name="T107" fmla="*/ 2147483647 h 417"/>
              <a:gd name="T108" fmla="*/ 2147483647 w 391"/>
              <a:gd name="T109" fmla="*/ 2147483647 h 417"/>
              <a:gd name="T110" fmla="*/ 2147483647 w 391"/>
              <a:gd name="T111" fmla="*/ 2147483647 h 417"/>
              <a:gd name="T112" fmla="*/ 2147483647 w 391"/>
              <a:gd name="T113" fmla="*/ 2147483647 h 417"/>
              <a:gd name="T114" fmla="*/ 2147483647 w 391"/>
              <a:gd name="T115" fmla="*/ 2147483647 h 417"/>
              <a:gd name="T116" fmla="*/ 2147483647 w 391"/>
              <a:gd name="T117" fmla="*/ 2147483647 h 417"/>
              <a:gd name="T118" fmla="*/ 2147483647 w 391"/>
              <a:gd name="T119" fmla="*/ 2147483647 h 417"/>
              <a:gd name="T120" fmla="*/ 2147483647 w 391"/>
              <a:gd name="T121" fmla="*/ 2147483647 h 417"/>
              <a:gd name="T122" fmla="*/ 2147483647 w 391"/>
              <a:gd name="T123" fmla="*/ 2147483647 h 4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1"/>
              <a:gd name="T187" fmla="*/ 0 h 417"/>
              <a:gd name="T188" fmla="*/ 391 w 391"/>
              <a:gd name="T189" fmla="*/ 417 h 41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1" h="417">
                <a:moveTo>
                  <a:pt x="343" y="173"/>
                </a:moveTo>
                <a:lnTo>
                  <a:pt x="337" y="175"/>
                </a:lnTo>
                <a:lnTo>
                  <a:pt x="339" y="179"/>
                </a:lnTo>
                <a:lnTo>
                  <a:pt x="328" y="196"/>
                </a:lnTo>
                <a:lnTo>
                  <a:pt x="328" y="199"/>
                </a:lnTo>
                <a:lnTo>
                  <a:pt x="328" y="205"/>
                </a:lnTo>
                <a:lnTo>
                  <a:pt x="330" y="207"/>
                </a:lnTo>
                <a:lnTo>
                  <a:pt x="328" y="205"/>
                </a:lnTo>
                <a:lnTo>
                  <a:pt x="326" y="209"/>
                </a:lnTo>
                <a:lnTo>
                  <a:pt x="330" y="212"/>
                </a:lnTo>
                <a:lnTo>
                  <a:pt x="332" y="212"/>
                </a:lnTo>
                <a:lnTo>
                  <a:pt x="339" y="205"/>
                </a:lnTo>
                <a:lnTo>
                  <a:pt x="343" y="203"/>
                </a:lnTo>
                <a:lnTo>
                  <a:pt x="345" y="196"/>
                </a:lnTo>
                <a:lnTo>
                  <a:pt x="354" y="181"/>
                </a:lnTo>
                <a:lnTo>
                  <a:pt x="356" y="181"/>
                </a:lnTo>
                <a:lnTo>
                  <a:pt x="356" y="186"/>
                </a:lnTo>
                <a:lnTo>
                  <a:pt x="363" y="177"/>
                </a:lnTo>
                <a:lnTo>
                  <a:pt x="369" y="186"/>
                </a:lnTo>
                <a:lnTo>
                  <a:pt x="373" y="186"/>
                </a:lnTo>
                <a:lnTo>
                  <a:pt x="371" y="196"/>
                </a:lnTo>
                <a:lnTo>
                  <a:pt x="363" y="209"/>
                </a:lnTo>
                <a:lnTo>
                  <a:pt x="360" y="229"/>
                </a:lnTo>
                <a:lnTo>
                  <a:pt x="363" y="244"/>
                </a:lnTo>
                <a:lnTo>
                  <a:pt x="356" y="253"/>
                </a:lnTo>
                <a:lnTo>
                  <a:pt x="354" y="272"/>
                </a:lnTo>
                <a:lnTo>
                  <a:pt x="356" y="291"/>
                </a:lnTo>
                <a:lnTo>
                  <a:pt x="352" y="304"/>
                </a:lnTo>
                <a:lnTo>
                  <a:pt x="352" y="311"/>
                </a:lnTo>
                <a:lnTo>
                  <a:pt x="345" y="322"/>
                </a:lnTo>
                <a:lnTo>
                  <a:pt x="348" y="337"/>
                </a:lnTo>
                <a:lnTo>
                  <a:pt x="352" y="350"/>
                </a:lnTo>
                <a:lnTo>
                  <a:pt x="348" y="354"/>
                </a:lnTo>
                <a:lnTo>
                  <a:pt x="354" y="358"/>
                </a:lnTo>
                <a:lnTo>
                  <a:pt x="356" y="371"/>
                </a:lnTo>
                <a:lnTo>
                  <a:pt x="360" y="376"/>
                </a:lnTo>
                <a:lnTo>
                  <a:pt x="358" y="386"/>
                </a:lnTo>
                <a:lnTo>
                  <a:pt x="358" y="404"/>
                </a:lnTo>
                <a:lnTo>
                  <a:pt x="330" y="406"/>
                </a:lnTo>
                <a:lnTo>
                  <a:pt x="326" y="406"/>
                </a:lnTo>
                <a:lnTo>
                  <a:pt x="296" y="408"/>
                </a:lnTo>
                <a:lnTo>
                  <a:pt x="294" y="408"/>
                </a:lnTo>
                <a:lnTo>
                  <a:pt x="281" y="408"/>
                </a:lnTo>
                <a:lnTo>
                  <a:pt x="250" y="410"/>
                </a:lnTo>
                <a:lnTo>
                  <a:pt x="248" y="410"/>
                </a:lnTo>
                <a:lnTo>
                  <a:pt x="218" y="410"/>
                </a:lnTo>
                <a:lnTo>
                  <a:pt x="214" y="414"/>
                </a:lnTo>
                <a:lnTo>
                  <a:pt x="179" y="414"/>
                </a:lnTo>
                <a:lnTo>
                  <a:pt x="164" y="417"/>
                </a:lnTo>
                <a:lnTo>
                  <a:pt x="164" y="414"/>
                </a:lnTo>
                <a:lnTo>
                  <a:pt x="164" y="410"/>
                </a:lnTo>
                <a:lnTo>
                  <a:pt x="162" y="408"/>
                </a:lnTo>
                <a:lnTo>
                  <a:pt x="160" y="404"/>
                </a:lnTo>
                <a:lnTo>
                  <a:pt x="158" y="401"/>
                </a:lnTo>
                <a:lnTo>
                  <a:pt x="147" y="401"/>
                </a:lnTo>
                <a:lnTo>
                  <a:pt x="145" y="401"/>
                </a:lnTo>
                <a:lnTo>
                  <a:pt x="140" y="399"/>
                </a:lnTo>
                <a:lnTo>
                  <a:pt x="134" y="393"/>
                </a:lnTo>
                <a:lnTo>
                  <a:pt x="132" y="391"/>
                </a:lnTo>
                <a:lnTo>
                  <a:pt x="132" y="384"/>
                </a:lnTo>
                <a:lnTo>
                  <a:pt x="127" y="378"/>
                </a:lnTo>
                <a:lnTo>
                  <a:pt x="127" y="371"/>
                </a:lnTo>
                <a:lnTo>
                  <a:pt x="125" y="363"/>
                </a:lnTo>
                <a:lnTo>
                  <a:pt x="125" y="356"/>
                </a:lnTo>
                <a:lnTo>
                  <a:pt x="132" y="345"/>
                </a:lnTo>
                <a:lnTo>
                  <a:pt x="132" y="343"/>
                </a:lnTo>
                <a:lnTo>
                  <a:pt x="129" y="341"/>
                </a:lnTo>
                <a:lnTo>
                  <a:pt x="123" y="339"/>
                </a:lnTo>
                <a:lnTo>
                  <a:pt x="123" y="337"/>
                </a:lnTo>
                <a:lnTo>
                  <a:pt x="119" y="330"/>
                </a:lnTo>
                <a:lnTo>
                  <a:pt x="119" y="328"/>
                </a:lnTo>
                <a:lnTo>
                  <a:pt x="119" y="324"/>
                </a:lnTo>
                <a:lnTo>
                  <a:pt x="116" y="319"/>
                </a:lnTo>
                <a:lnTo>
                  <a:pt x="116" y="317"/>
                </a:lnTo>
                <a:lnTo>
                  <a:pt x="116" y="309"/>
                </a:lnTo>
                <a:lnTo>
                  <a:pt x="116" y="304"/>
                </a:lnTo>
                <a:lnTo>
                  <a:pt x="116" y="296"/>
                </a:lnTo>
                <a:lnTo>
                  <a:pt x="112" y="291"/>
                </a:lnTo>
                <a:lnTo>
                  <a:pt x="108" y="285"/>
                </a:lnTo>
                <a:lnTo>
                  <a:pt x="104" y="278"/>
                </a:lnTo>
                <a:lnTo>
                  <a:pt x="97" y="276"/>
                </a:lnTo>
                <a:lnTo>
                  <a:pt x="95" y="276"/>
                </a:lnTo>
                <a:lnTo>
                  <a:pt x="93" y="274"/>
                </a:lnTo>
                <a:lnTo>
                  <a:pt x="86" y="274"/>
                </a:lnTo>
                <a:lnTo>
                  <a:pt x="80" y="268"/>
                </a:lnTo>
                <a:lnTo>
                  <a:pt x="75" y="261"/>
                </a:lnTo>
                <a:lnTo>
                  <a:pt x="73" y="257"/>
                </a:lnTo>
                <a:lnTo>
                  <a:pt x="69" y="255"/>
                </a:lnTo>
                <a:lnTo>
                  <a:pt x="69" y="248"/>
                </a:lnTo>
                <a:lnTo>
                  <a:pt x="67" y="248"/>
                </a:lnTo>
                <a:lnTo>
                  <a:pt x="65" y="246"/>
                </a:lnTo>
                <a:lnTo>
                  <a:pt x="58" y="242"/>
                </a:lnTo>
                <a:lnTo>
                  <a:pt x="50" y="240"/>
                </a:lnTo>
                <a:lnTo>
                  <a:pt x="47" y="240"/>
                </a:lnTo>
                <a:lnTo>
                  <a:pt x="43" y="235"/>
                </a:lnTo>
                <a:lnTo>
                  <a:pt x="43" y="229"/>
                </a:lnTo>
                <a:lnTo>
                  <a:pt x="41" y="229"/>
                </a:lnTo>
                <a:lnTo>
                  <a:pt x="28" y="227"/>
                </a:lnTo>
                <a:lnTo>
                  <a:pt x="21" y="224"/>
                </a:lnTo>
                <a:lnTo>
                  <a:pt x="19" y="222"/>
                </a:lnTo>
                <a:lnTo>
                  <a:pt x="13" y="214"/>
                </a:lnTo>
                <a:lnTo>
                  <a:pt x="9" y="212"/>
                </a:lnTo>
                <a:lnTo>
                  <a:pt x="11" y="205"/>
                </a:lnTo>
                <a:lnTo>
                  <a:pt x="11" y="203"/>
                </a:lnTo>
                <a:lnTo>
                  <a:pt x="11" y="196"/>
                </a:lnTo>
                <a:lnTo>
                  <a:pt x="11" y="194"/>
                </a:lnTo>
                <a:lnTo>
                  <a:pt x="11" y="190"/>
                </a:lnTo>
                <a:lnTo>
                  <a:pt x="11" y="188"/>
                </a:lnTo>
                <a:lnTo>
                  <a:pt x="9" y="181"/>
                </a:lnTo>
                <a:lnTo>
                  <a:pt x="11" y="177"/>
                </a:lnTo>
                <a:lnTo>
                  <a:pt x="11" y="175"/>
                </a:lnTo>
                <a:lnTo>
                  <a:pt x="11" y="173"/>
                </a:lnTo>
                <a:lnTo>
                  <a:pt x="11" y="171"/>
                </a:lnTo>
                <a:lnTo>
                  <a:pt x="11" y="160"/>
                </a:lnTo>
                <a:lnTo>
                  <a:pt x="13" y="160"/>
                </a:lnTo>
                <a:lnTo>
                  <a:pt x="15" y="155"/>
                </a:lnTo>
                <a:lnTo>
                  <a:pt x="17" y="153"/>
                </a:lnTo>
                <a:lnTo>
                  <a:pt x="17" y="147"/>
                </a:lnTo>
                <a:lnTo>
                  <a:pt x="15" y="145"/>
                </a:lnTo>
                <a:lnTo>
                  <a:pt x="11" y="138"/>
                </a:lnTo>
                <a:lnTo>
                  <a:pt x="9" y="134"/>
                </a:lnTo>
                <a:lnTo>
                  <a:pt x="2" y="134"/>
                </a:lnTo>
                <a:lnTo>
                  <a:pt x="0" y="134"/>
                </a:lnTo>
                <a:lnTo>
                  <a:pt x="0" y="127"/>
                </a:lnTo>
                <a:lnTo>
                  <a:pt x="2" y="123"/>
                </a:lnTo>
                <a:lnTo>
                  <a:pt x="2" y="121"/>
                </a:lnTo>
                <a:lnTo>
                  <a:pt x="9" y="117"/>
                </a:lnTo>
                <a:lnTo>
                  <a:pt x="9" y="110"/>
                </a:lnTo>
                <a:lnTo>
                  <a:pt x="11" y="110"/>
                </a:lnTo>
                <a:lnTo>
                  <a:pt x="11" y="106"/>
                </a:lnTo>
                <a:lnTo>
                  <a:pt x="13" y="104"/>
                </a:lnTo>
                <a:lnTo>
                  <a:pt x="19" y="99"/>
                </a:lnTo>
                <a:lnTo>
                  <a:pt x="21" y="95"/>
                </a:lnTo>
                <a:lnTo>
                  <a:pt x="28" y="95"/>
                </a:lnTo>
                <a:lnTo>
                  <a:pt x="30" y="93"/>
                </a:lnTo>
                <a:lnTo>
                  <a:pt x="32" y="93"/>
                </a:lnTo>
                <a:lnTo>
                  <a:pt x="34" y="93"/>
                </a:lnTo>
                <a:lnTo>
                  <a:pt x="34" y="88"/>
                </a:lnTo>
                <a:lnTo>
                  <a:pt x="37" y="88"/>
                </a:lnTo>
                <a:lnTo>
                  <a:pt x="37" y="80"/>
                </a:lnTo>
                <a:lnTo>
                  <a:pt x="37" y="56"/>
                </a:lnTo>
                <a:lnTo>
                  <a:pt x="34" y="32"/>
                </a:lnTo>
                <a:lnTo>
                  <a:pt x="41" y="32"/>
                </a:lnTo>
                <a:lnTo>
                  <a:pt x="47" y="24"/>
                </a:lnTo>
                <a:lnTo>
                  <a:pt x="54" y="30"/>
                </a:lnTo>
                <a:lnTo>
                  <a:pt x="60" y="30"/>
                </a:lnTo>
                <a:lnTo>
                  <a:pt x="82" y="19"/>
                </a:lnTo>
                <a:lnTo>
                  <a:pt x="127" y="0"/>
                </a:lnTo>
                <a:lnTo>
                  <a:pt x="132" y="2"/>
                </a:lnTo>
                <a:lnTo>
                  <a:pt x="132" y="6"/>
                </a:lnTo>
                <a:lnTo>
                  <a:pt x="125" y="35"/>
                </a:lnTo>
                <a:lnTo>
                  <a:pt x="136" y="28"/>
                </a:lnTo>
                <a:lnTo>
                  <a:pt x="149" y="32"/>
                </a:lnTo>
                <a:lnTo>
                  <a:pt x="158" y="35"/>
                </a:lnTo>
                <a:lnTo>
                  <a:pt x="160" y="39"/>
                </a:lnTo>
                <a:lnTo>
                  <a:pt x="164" y="35"/>
                </a:lnTo>
                <a:lnTo>
                  <a:pt x="164" y="39"/>
                </a:lnTo>
                <a:lnTo>
                  <a:pt x="166" y="39"/>
                </a:lnTo>
                <a:lnTo>
                  <a:pt x="166" y="41"/>
                </a:lnTo>
                <a:lnTo>
                  <a:pt x="173" y="41"/>
                </a:lnTo>
                <a:lnTo>
                  <a:pt x="175" y="45"/>
                </a:lnTo>
                <a:lnTo>
                  <a:pt x="177" y="50"/>
                </a:lnTo>
                <a:lnTo>
                  <a:pt x="177" y="52"/>
                </a:lnTo>
                <a:lnTo>
                  <a:pt x="179" y="56"/>
                </a:lnTo>
                <a:lnTo>
                  <a:pt x="190" y="58"/>
                </a:lnTo>
                <a:lnTo>
                  <a:pt x="244" y="67"/>
                </a:lnTo>
                <a:lnTo>
                  <a:pt x="255" y="73"/>
                </a:lnTo>
                <a:lnTo>
                  <a:pt x="257" y="76"/>
                </a:lnTo>
                <a:lnTo>
                  <a:pt x="265" y="78"/>
                </a:lnTo>
                <a:lnTo>
                  <a:pt x="272" y="78"/>
                </a:lnTo>
                <a:lnTo>
                  <a:pt x="274" y="78"/>
                </a:lnTo>
                <a:lnTo>
                  <a:pt x="276" y="80"/>
                </a:lnTo>
                <a:lnTo>
                  <a:pt x="278" y="80"/>
                </a:lnTo>
                <a:lnTo>
                  <a:pt x="278" y="78"/>
                </a:lnTo>
                <a:lnTo>
                  <a:pt x="281" y="78"/>
                </a:lnTo>
                <a:lnTo>
                  <a:pt x="283" y="78"/>
                </a:lnTo>
                <a:lnTo>
                  <a:pt x="287" y="78"/>
                </a:lnTo>
                <a:lnTo>
                  <a:pt x="287" y="80"/>
                </a:lnTo>
                <a:lnTo>
                  <a:pt x="289" y="80"/>
                </a:lnTo>
                <a:lnTo>
                  <a:pt x="291" y="80"/>
                </a:lnTo>
                <a:lnTo>
                  <a:pt x="294" y="80"/>
                </a:lnTo>
                <a:lnTo>
                  <a:pt x="296" y="82"/>
                </a:lnTo>
                <a:lnTo>
                  <a:pt x="298" y="82"/>
                </a:lnTo>
                <a:lnTo>
                  <a:pt x="302" y="80"/>
                </a:lnTo>
                <a:lnTo>
                  <a:pt x="304" y="82"/>
                </a:lnTo>
                <a:lnTo>
                  <a:pt x="306" y="82"/>
                </a:lnTo>
                <a:lnTo>
                  <a:pt x="309" y="82"/>
                </a:lnTo>
                <a:lnTo>
                  <a:pt x="311" y="84"/>
                </a:lnTo>
                <a:lnTo>
                  <a:pt x="311" y="88"/>
                </a:lnTo>
                <a:lnTo>
                  <a:pt x="313" y="88"/>
                </a:lnTo>
                <a:lnTo>
                  <a:pt x="311" y="93"/>
                </a:lnTo>
                <a:lnTo>
                  <a:pt x="311" y="95"/>
                </a:lnTo>
                <a:lnTo>
                  <a:pt x="313" y="97"/>
                </a:lnTo>
                <a:lnTo>
                  <a:pt x="315" y="97"/>
                </a:lnTo>
                <a:lnTo>
                  <a:pt x="322" y="95"/>
                </a:lnTo>
                <a:lnTo>
                  <a:pt x="322" y="97"/>
                </a:lnTo>
                <a:lnTo>
                  <a:pt x="328" y="99"/>
                </a:lnTo>
                <a:lnTo>
                  <a:pt x="330" y="104"/>
                </a:lnTo>
                <a:lnTo>
                  <a:pt x="332" y="104"/>
                </a:lnTo>
                <a:lnTo>
                  <a:pt x="337" y="106"/>
                </a:lnTo>
                <a:lnTo>
                  <a:pt x="332" y="106"/>
                </a:lnTo>
                <a:lnTo>
                  <a:pt x="332" y="108"/>
                </a:lnTo>
                <a:lnTo>
                  <a:pt x="330" y="108"/>
                </a:lnTo>
                <a:lnTo>
                  <a:pt x="337" y="112"/>
                </a:lnTo>
                <a:lnTo>
                  <a:pt x="337" y="114"/>
                </a:lnTo>
                <a:lnTo>
                  <a:pt x="332" y="114"/>
                </a:lnTo>
                <a:lnTo>
                  <a:pt x="332" y="117"/>
                </a:lnTo>
                <a:lnTo>
                  <a:pt x="337" y="123"/>
                </a:lnTo>
                <a:lnTo>
                  <a:pt x="332" y="125"/>
                </a:lnTo>
                <a:lnTo>
                  <a:pt x="330" y="127"/>
                </a:lnTo>
                <a:lnTo>
                  <a:pt x="332" y="129"/>
                </a:lnTo>
                <a:lnTo>
                  <a:pt x="330" y="134"/>
                </a:lnTo>
                <a:lnTo>
                  <a:pt x="332" y="138"/>
                </a:lnTo>
                <a:lnTo>
                  <a:pt x="332" y="134"/>
                </a:lnTo>
                <a:lnTo>
                  <a:pt x="339" y="134"/>
                </a:lnTo>
                <a:lnTo>
                  <a:pt x="343" y="132"/>
                </a:lnTo>
                <a:lnTo>
                  <a:pt x="345" y="134"/>
                </a:lnTo>
                <a:lnTo>
                  <a:pt x="343" y="142"/>
                </a:lnTo>
                <a:lnTo>
                  <a:pt x="343" y="145"/>
                </a:lnTo>
                <a:lnTo>
                  <a:pt x="343" y="147"/>
                </a:lnTo>
                <a:lnTo>
                  <a:pt x="341" y="149"/>
                </a:lnTo>
                <a:lnTo>
                  <a:pt x="341" y="153"/>
                </a:lnTo>
                <a:lnTo>
                  <a:pt x="345" y="155"/>
                </a:lnTo>
                <a:lnTo>
                  <a:pt x="345" y="158"/>
                </a:lnTo>
                <a:lnTo>
                  <a:pt x="354" y="160"/>
                </a:lnTo>
                <a:lnTo>
                  <a:pt x="352" y="162"/>
                </a:lnTo>
                <a:lnTo>
                  <a:pt x="352" y="166"/>
                </a:lnTo>
                <a:lnTo>
                  <a:pt x="343" y="173"/>
                </a:lnTo>
                <a:close/>
                <a:moveTo>
                  <a:pt x="386" y="138"/>
                </a:moveTo>
                <a:lnTo>
                  <a:pt x="391" y="134"/>
                </a:lnTo>
                <a:lnTo>
                  <a:pt x="391" y="142"/>
                </a:lnTo>
                <a:lnTo>
                  <a:pt x="386" y="140"/>
                </a:lnTo>
                <a:lnTo>
                  <a:pt x="389" y="149"/>
                </a:lnTo>
                <a:lnTo>
                  <a:pt x="386" y="149"/>
                </a:lnTo>
                <a:lnTo>
                  <a:pt x="389" y="155"/>
                </a:lnTo>
                <a:lnTo>
                  <a:pt x="386" y="155"/>
                </a:lnTo>
                <a:lnTo>
                  <a:pt x="386" y="160"/>
                </a:lnTo>
                <a:lnTo>
                  <a:pt x="384" y="160"/>
                </a:lnTo>
                <a:lnTo>
                  <a:pt x="380" y="166"/>
                </a:lnTo>
                <a:lnTo>
                  <a:pt x="380" y="173"/>
                </a:lnTo>
                <a:lnTo>
                  <a:pt x="378" y="177"/>
                </a:lnTo>
                <a:lnTo>
                  <a:pt x="373" y="186"/>
                </a:lnTo>
                <a:lnTo>
                  <a:pt x="369" y="181"/>
                </a:lnTo>
                <a:lnTo>
                  <a:pt x="365" y="175"/>
                </a:lnTo>
                <a:lnTo>
                  <a:pt x="369" y="164"/>
                </a:lnTo>
                <a:lnTo>
                  <a:pt x="373" y="160"/>
                </a:lnTo>
                <a:lnTo>
                  <a:pt x="376" y="149"/>
                </a:lnTo>
                <a:lnTo>
                  <a:pt x="378" y="149"/>
                </a:lnTo>
                <a:lnTo>
                  <a:pt x="386" y="138"/>
                </a:lnTo>
                <a:close/>
              </a:path>
            </a:pathLst>
          </a:custGeom>
          <a:noFill/>
          <a:ln w="9525">
            <a:noFill/>
            <a:round/>
            <a:headEnd/>
            <a:tailEnd/>
          </a:ln>
        </p:spPr>
        <p:txBody>
          <a:bodyPr/>
          <a:lstStyle/>
          <a:p>
            <a:endParaRPr lang="en-US" dirty="0">
              <a:solidFill>
                <a:prstClr val="black"/>
              </a:solidFill>
            </a:endParaRPr>
          </a:p>
        </p:txBody>
      </p:sp>
      <p:sp>
        <p:nvSpPr>
          <p:cNvPr id="190" name="Freeform 23">
            <a:extLst>
              <a:ext uri="{FF2B5EF4-FFF2-40B4-BE49-F238E27FC236}">
                <a16:creationId xmlns:a16="http://schemas.microsoft.com/office/drawing/2014/main" id="{C11F5FEC-E67E-44F9-AEDA-B80787275FC0}"/>
              </a:ext>
            </a:extLst>
          </p:cNvPr>
          <p:cNvSpPr>
            <a:spLocks/>
          </p:cNvSpPr>
          <p:nvPr>
            <p:custDataLst>
              <p:tags r:id="rId14"/>
            </p:custDataLst>
          </p:nvPr>
        </p:nvSpPr>
        <p:spPr bwMode="auto">
          <a:xfrm>
            <a:off x="6519413" y="2237526"/>
            <a:ext cx="754048" cy="901429"/>
          </a:xfrm>
          <a:custGeom>
            <a:avLst/>
            <a:gdLst>
              <a:gd name="T0" fmla="*/ 2147483647 w 373"/>
              <a:gd name="T1" fmla="*/ 2147483647 h 417"/>
              <a:gd name="T2" fmla="*/ 2147483647 w 373"/>
              <a:gd name="T3" fmla="*/ 2147483647 h 417"/>
              <a:gd name="T4" fmla="*/ 2147483647 w 373"/>
              <a:gd name="T5" fmla="*/ 2147483647 h 417"/>
              <a:gd name="T6" fmla="*/ 2147483647 w 373"/>
              <a:gd name="T7" fmla="*/ 2147483647 h 417"/>
              <a:gd name="T8" fmla="*/ 2147483647 w 373"/>
              <a:gd name="T9" fmla="*/ 2147483647 h 417"/>
              <a:gd name="T10" fmla="*/ 2147483647 w 373"/>
              <a:gd name="T11" fmla="*/ 2147483647 h 417"/>
              <a:gd name="T12" fmla="*/ 2147483647 w 373"/>
              <a:gd name="T13" fmla="*/ 2147483647 h 417"/>
              <a:gd name="T14" fmla="*/ 2147483647 w 373"/>
              <a:gd name="T15" fmla="*/ 2147483647 h 417"/>
              <a:gd name="T16" fmla="*/ 2147483647 w 373"/>
              <a:gd name="T17" fmla="*/ 2147483647 h 417"/>
              <a:gd name="T18" fmla="*/ 2147483647 w 373"/>
              <a:gd name="T19" fmla="*/ 2147483647 h 417"/>
              <a:gd name="T20" fmla="*/ 2147483647 w 373"/>
              <a:gd name="T21" fmla="*/ 2147483647 h 417"/>
              <a:gd name="T22" fmla="*/ 2147483647 w 373"/>
              <a:gd name="T23" fmla="*/ 2147483647 h 417"/>
              <a:gd name="T24" fmla="*/ 2147483647 w 373"/>
              <a:gd name="T25" fmla="*/ 2147483647 h 417"/>
              <a:gd name="T26" fmla="*/ 2147483647 w 373"/>
              <a:gd name="T27" fmla="*/ 2147483647 h 417"/>
              <a:gd name="T28" fmla="*/ 2147483647 w 373"/>
              <a:gd name="T29" fmla="*/ 2147483647 h 417"/>
              <a:gd name="T30" fmla="*/ 2147483647 w 373"/>
              <a:gd name="T31" fmla="*/ 2147483647 h 417"/>
              <a:gd name="T32" fmla="*/ 2147483647 w 373"/>
              <a:gd name="T33" fmla="*/ 2147483647 h 417"/>
              <a:gd name="T34" fmla="*/ 2147483647 w 373"/>
              <a:gd name="T35" fmla="*/ 2147483647 h 417"/>
              <a:gd name="T36" fmla="*/ 2147483647 w 373"/>
              <a:gd name="T37" fmla="*/ 2147483647 h 417"/>
              <a:gd name="T38" fmla="*/ 2147483647 w 373"/>
              <a:gd name="T39" fmla="*/ 2147483647 h 417"/>
              <a:gd name="T40" fmla="*/ 2147483647 w 373"/>
              <a:gd name="T41" fmla="*/ 2147483647 h 417"/>
              <a:gd name="T42" fmla="*/ 2147483647 w 373"/>
              <a:gd name="T43" fmla="*/ 2147483647 h 417"/>
              <a:gd name="T44" fmla="*/ 2147483647 w 373"/>
              <a:gd name="T45" fmla="*/ 2147483647 h 417"/>
              <a:gd name="T46" fmla="*/ 2147483647 w 373"/>
              <a:gd name="T47" fmla="*/ 2147483647 h 417"/>
              <a:gd name="T48" fmla="*/ 2147483647 w 373"/>
              <a:gd name="T49" fmla="*/ 2147483647 h 417"/>
              <a:gd name="T50" fmla="*/ 2147483647 w 373"/>
              <a:gd name="T51" fmla="*/ 2147483647 h 417"/>
              <a:gd name="T52" fmla="*/ 2147483647 w 373"/>
              <a:gd name="T53" fmla="*/ 2147483647 h 417"/>
              <a:gd name="T54" fmla="*/ 2147483647 w 373"/>
              <a:gd name="T55" fmla="*/ 2147483647 h 417"/>
              <a:gd name="T56" fmla="*/ 2147483647 w 373"/>
              <a:gd name="T57" fmla="*/ 2147483647 h 417"/>
              <a:gd name="T58" fmla="*/ 2147483647 w 373"/>
              <a:gd name="T59" fmla="*/ 2147483647 h 417"/>
              <a:gd name="T60" fmla="*/ 0 w 373"/>
              <a:gd name="T61" fmla="*/ 2147483647 h 417"/>
              <a:gd name="T62" fmla="*/ 2147483647 w 373"/>
              <a:gd name="T63" fmla="*/ 2147483647 h 417"/>
              <a:gd name="T64" fmla="*/ 2147483647 w 373"/>
              <a:gd name="T65" fmla="*/ 2147483647 h 417"/>
              <a:gd name="T66" fmla="*/ 2147483647 w 373"/>
              <a:gd name="T67" fmla="*/ 2147483647 h 417"/>
              <a:gd name="T68" fmla="*/ 2147483647 w 373"/>
              <a:gd name="T69" fmla="*/ 2147483647 h 417"/>
              <a:gd name="T70" fmla="*/ 2147483647 w 373"/>
              <a:gd name="T71" fmla="*/ 2147483647 h 417"/>
              <a:gd name="T72" fmla="*/ 2147483647 w 373"/>
              <a:gd name="T73" fmla="*/ 0 h 417"/>
              <a:gd name="T74" fmla="*/ 2147483647 w 373"/>
              <a:gd name="T75" fmla="*/ 2147483647 h 417"/>
              <a:gd name="T76" fmla="*/ 2147483647 w 373"/>
              <a:gd name="T77" fmla="*/ 2147483647 h 417"/>
              <a:gd name="T78" fmla="*/ 2147483647 w 373"/>
              <a:gd name="T79" fmla="*/ 2147483647 h 417"/>
              <a:gd name="T80" fmla="*/ 2147483647 w 373"/>
              <a:gd name="T81" fmla="*/ 2147483647 h 417"/>
              <a:gd name="T82" fmla="*/ 2147483647 w 373"/>
              <a:gd name="T83" fmla="*/ 2147483647 h 417"/>
              <a:gd name="T84" fmla="*/ 2147483647 w 373"/>
              <a:gd name="T85" fmla="*/ 2147483647 h 417"/>
              <a:gd name="T86" fmla="*/ 2147483647 w 373"/>
              <a:gd name="T87" fmla="*/ 2147483647 h 417"/>
              <a:gd name="T88" fmla="*/ 2147483647 w 373"/>
              <a:gd name="T89" fmla="*/ 2147483647 h 417"/>
              <a:gd name="T90" fmla="*/ 2147483647 w 373"/>
              <a:gd name="T91" fmla="*/ 2147483647 h 417"/>
              <a:gd name="T92" fmla="*/ 2147483647 w 373"/>
              <a:gd name="T93" fmla="*/ 2147483647 h 417"/>
              <a:gd name="T94" fmla="*/ 2147483647 w 373"/>
              <a:gd name="T95" fmla="*/ 2147483647 h 417"/>
              <a:gd name="T96" fmla="*/ 2147483647 w 373"/>
              <a:gd name="T97" fmla="*/ 2147483647 h 417"/>
              <a:gd name="T98" fmla="*/ 2147483647 w 373"/>
              <a:gd name="T99" fmla="*/ 2147483647 h 417"/>
              <a:gd name="T100" fmla="*/ 2147483647 w 373"/>
              <a:gd name="T101" fmla="*/ 2147483647 h 417"/>
              <a:gd name="T102" fmla="*/ 2147483647 w 373"/>
              <a:gd name="T103" fmla="*/ 2147483647 h 417"/>
              <a:gd name="T104" fmla="*/ 2147483647 w 373"/>
              <a:gd name="T105" fmla="*/ 2147483647 h 417"/>
              <a:gd name="T106" fmla="*/ 2147483647 w 373"/>
              <a:gd name="T107" fmla="*/ 2147483647 h 417"/>
              <a:gd name="T108" fmla="*/ 2147483647 w 373"/>
              <a:gd name="T109" fmla="*/ 2147483647 h 417"/>
              <a:gd name="T110" fmla="*/ 2147483647 w 373"/>
              <a:gd name="T111" fmla="*/ 2147483647 h 417"/>
              <a:gd name="T112" fmla="*/ 2147483647 w 373"/>
              <a:gd name="T113" fmla="*/ 2147483647 h 4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3"/>
              <a:gd name="T172" fmla="*/ 0 h 417"/>
              <a:gd name="T173" fmla="*/ 373 w 373"/>
              <a:gd name="T174" fmla="*/ 417 h 4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3" h="417">
                <a:moveTo>
                  <a:pt x="343" y="173"/>
                </a:moveTo>
                <a:lnTo>
                  <a:pt x="337" y="175"/>
                </a:lnTo>
                <a:lnTo>
                  <a:pt x="339" y="179"/>
                </a:lnTo>
                <a:lnTo>
                  <a:pt x="328" y="196"/>
                </a:lnTo>
                <a:lnTo>
                  <a:pt x="328" y="199"/>
                </a:lnTo>
                <a:lnTo>
                  <a:pt x="328" y="205"/>
                </a:lnTo>
                <a:lnTo>
                  <a:pt x="330" y="207"/>
                </a:lnTo>
                <a:lnTo>
                  <a:pt x="328" y="205"/>
                </a:lnTo>
                <a:lnTo>
                  <a:pt x="326" y="209"/>
                </a:lnTo>
                <a:lnTo>
                  <a:pt x="330" y="212"/>
                </a:lnTo>
                <a:lnTo>
                  <a:pt x="332" y="212"/>
                </a:lnTo>
                <a:lnTo>
                  <a:pt x="339" y="205"/>
                </a:lnTo>
                <a:lnTo>
                  <a:pt x="343" y="203"/>
                </a:lnTo>
                <a:lnTo>
                  <a:pt x="345" y="196"/>
                </a:lnTo>
                <a:lnTo>
                  <a:pt x="354" y="181"/>
                </a:lnTo>
                <a:lnTo>
                  <a:pt x="356" y="181"/>
                </a:lnTo>
                <a:lnTo>
                  <a:pt x="356" y="186"/>
                </a:lnTo>
                <a:lnTo>
                  <a:pt x="363" y="177"/>
                </a:lnTo>
                <a:lnTo>
                  <a:pt x="369" y="186"/>
                </a:lnTo>
                <a:lnTo>
                  <a:pt x="373" y="186"/>
                </a:lnTo>
                <a:lnTo>
                  <a:pt x="371" y="196"/>
                </a:lnTo>
                <a:lnTo>
                  <a:pt x="363" y="209"/>
                </a:lnTo>
                <a:lnTo>
                  <a:pt x="360" y="229"/>
                </a:lnTo>
                <a:lnTo>
                  <a:pt x="363" y="244"/>
                </a:lnTo>
                <a:lnTo>
                  <a:pt x="356" y="253"/>
                </a:lnTo>
                <a:lnTo>
                  <a:pt x="354" y="272"/>
                </a:lnTo>
                <a:lnTo>
                  <a:pt x="356" y="291"/>
                </a:lnTo>
                <a:lnTo>
                  <a:pt x="352" y="304"/>
                </a:lnTo>
                <a:lnTo>
                  <a:pt x="352" y="311"/>
                </a:lnTo>
                <a:lnTo>
                  <a:pt x="345" y="322"/>
                </a:lnTo>
                <a:lnTo>
                  <a:pt x="348" y="337"/>
                </a:lnTo>
                <a:lnTo>
                  <a:pt x="352" y="350"/>
                </a:lnTo>
                <a:lnTo>
                  <a:pt x="348" y="354"/>
                </a:lnTo>
                <a:lnTo>
                  <a:pt x="354" y="358"/>
                </a:lnTo>
                <a:lnTo>
                  <a:pt x="356" y="371"/>
                </a:lnTo>
                <a:lnTo>
                  <a:pt x="360" y="376"/>
                </a:lnTo>
                <a:lnTo>
                  <a:pt x="358" y="386"/>
                </a:lnTo>
                <a:lnTo>
                  <a:pt x="358" y="404"/>
                </a:lnTo>
                <a:lnTo>
                  <a:pt x="330" y="406"/>
                </a:lnTo>
                <a:lnTo>
                  <a:pt x="326" y="406"/>
                </a:lnTo>
                <a:lnTo>
                  <a:pt x="296" y="408"/>
                </a:lnTo>
                <a:lnTo>
                  <a:pt x="294" y="408"/>
                </a:lnTo>
                <a:lnTo>
                  <a:pt x="281" y="408"/>
                </a:lnTo>
                <a:lnTo>
                  <a:pt x="250" y="410"/>
                </a:lnTo>
                <a:lnTo>
                  <a:pt x="248" y="410"/>
                </a:lnTo>
                <a:lnTo>
                  <a:pt x="218" y="410"/>
                </a:lnTo>
                <a:lnTo>
                  <a:pt x="214" y="414"/>
                </a:lnTo>
                <a:lnTo>
                  <a:pt x="179" y="414"/>
                </a:lnTo>
                <a:lnTo>
                  <a:pt x="164" y="417"/>
                </a:lnTo>
                <a:lnTo>
                  <a:pt x="164" y="414"/>
                </a:lnTo>
                <a:lnTo>
                  <a:pt x="164" y="410"/>
                </a:lnTo>
                <a:lnTo>
                  <a:pt x="162" y="408"/>
                </a:lnTo>
                <a:lnTo>
                  <a:pt x="160" y="404"/>
                </a:lnTo>
                <a:lnTo>
                  <a:pt x="158" y="401"/>
                </a:lnTo>
                <a:lnTo>
                  <a:pt x="147" y="401"/>
                </a:lnTo>
                <a:lnTo>
                  <a:pt x="145" y="401"/>
                </a:lnTo>
                <a:lnTo>
                  <a:pt x="140" y="399"/>
                </a:lnTo>
                <a:lnTo>
                  <a:pt x="134" y="393"/>
                </a:lnTo>
                <a:lnTo>
                  <a:pt x="132" y="391"/>
                </a:lnTo>
                <a:lnTo>
                  <a:pt x="132" y="384"/>
                </a:lnTo>
                <a:lnTo>
                  <a:pt x="127" y="378"/>
                </a:lnTo>
                <a:lnTo>
                  <a:pt x="127" y="371"/>
                </a:lnTo>
                <a:lnTo>
                  <a:pt x="125" y="363"/>
                </a:lnTo>
                <a:lnTo>
                  <a:pt x="125" y="356"/>
                </a:lnTo>
                <a:lnTo>
                  <a:pt x="132" y="345"/>
                </a:lnTo>
                <a:lnTo>
                  <a:pt x="132" y="343"/>
                </a:lnTo>
                <a:lnTo>
                  <a:pt x="129" y="341"/>
                </a:lnTo>
                <a:lnTo>
                  <a:pt x="123" y="339"/>
                </a:lnTo>
                <a:lnTo>
                  <a:pt x="123" y="337"/>
                </a:lnTo>
                <a:lnTo>
                  <a:pt x="119" y="330"/>
                </a:lnTo>
                <a:lnTo>
                  <a:pt x="119" y="328"/>
                </a:lnTo>
                <a:lnTo>
                  <a:pt x="119" y="324"/>
                </a:lnTo>
                <a:lnTo>
                  <a:pt x="116" y="319"/>
                </a:lnTo>
                <a:lnTo>
                  <a:pt x="116" y="317"/>
                </a:lnTo>
                <a:lnTo>
                  <a:pt x="116" y="309"/>
                </a:lnTo>
                <a:lnTo>
                  <a:pt x="116" y="304"/>
                </a:lnTo>
                <a:lnTo>
                  <a:pt x="116" y="296"/>
                </a:lnTo>
                <a:lnTo>
                  <a:pt x="112" y="291"/>
                </a:lnTo>
                <a:lnTo>
                  <a:pt x="108" y="285"/>
                </a:lnTo>
                <a:lnTo>
                  <a:pt x="104" y="278"/>
                </a:lnTo>
                <a:lnTo>
                  <a:pt x="97" y="276"/>
                </a:lnTo>
                <a:lnTo>
                  <a:pt x="95" y="276"/>
                </a:lnTo>
                <a:lnTo>
                  <a:pt x="93" y="274"/>
                </a:lnTo>
                <a:lnTo>
                  <a:pt x="86" y="274"/>
                </a:lnTo>
                <a:lnTo>
                  <a:pt x="80" y="268"/>
                </a:lnTo>
                <a:lnTo>
                  <a:pt x="75" y="261"/>
                </a:lnTo>
                <a:lnTo>
                  <a:pt x="73" y="257"/>
                </a:lnTo>
                <a:lnTo>
                  <a:pt x="69" y="255"/>
                </a:lnTo>
                <a:lnTo>
                  <a:pt x="69" y="248"/>
                </a:lnTo>
                <a:lnTo>
                  <a:pt x="67" y="248"/>
                </a:lnTo>
                <a:lnTo>
                  <a:pt x="65" y="246"/>
                </a:lnTo>
                <a:lnTo>
                  <a:pt x="58" y="242"/>
                </a:lnTo>
                <a:lnTo>
                  <a:pt x="50" y="240"/>
                </a:lnTo>
                <a:lnTo>
                  <a:pt x="47" y="240"/>
                </a:lnTo>
                <a:lnTo>
                  <a:pt x="43" y="235"/>
                </a:lnTo>
                <a:lnTo>
                  <a:pt x="43" y="229"/>
                </a:lnTo>
                <a:lnTo>
                  <a:pt x="41" y="229"/>
                </a:lnTo>
                <a:lnTo>
                  <a:pt x="28" y="227"/>
                </a:lnTo>
                <a:lnTo>
                  <a:pt x="21" y="224"/>
                </a:lnTo>
                <a:lnTo>
                  <a:pt x="19" y="222"/>
                </a:lnTo>
                <a:lnTo>
                  <a:pt x="13" y="214"/>
                </a:lnTo>
                <a:lnTo>
                  <a:pt x="9" y="212"/>
                </a:lnTo>
                <a:lnTo>
                  <a:pt x="11" y="205"/>
                </a:lnTo>
                <a:lnTo>
                  <a:pt x="11" y="203"/>
                </a:lnTo>
                <a:lnTo>
                  <a:pt x="11" y="196"/>
                </a:lnTo>
                <a:lnTo>
                  <a:pt x="11" y="194"/>
                </a:lnTo>
                <a:lnTo>
                  <a:pt x="11" y="190"/>
                </a:lnTo>
                <a:lnTo>
                  <a:pt x="11" y="188"/>
                </a:lnTo>
                <a:lnTo>
                  <a:pt x="9" y="181"/>
                </a:lnTo>
                <a:lnTo>
                  <a:pt x="11" y="177"/>
                </a:lnTo>
                <a:lnTo>
                  <a:pt x="11" y="175"/>
                </a:lnTo>
                <a:lnTo>
                  <a:pt x="11" y="173"/>
                </a:lnTo>
                <a:lnTo>
                  <a:pt x="11" y="171"/>
                </a:lnTo>
                <a:lnTo>
                  <a:pt x="11" y="160"/>
                </a:lnTo>
                <a:lnTo>
                  <a:pt x="13" y="160"/>
                </a:lnTo>
                <a:lnTo>
                  <a:pt x="15" y="155"/>
                </a:lnTo>
                <a:lnTo>
                  <a:pt x="17" y="153"/>
                </a:lnTo>
                <a:lnTo>
                  <a:pt x="17" y="147"/>
                </a:lnTo>
                <a:lnTo>
                  <a:pt x="15" y="145"/>
                </a:lnTo>
                <a:lnTo>
                  <a:pt x="11" y="138"/>
                </a:lnTo>
                <a:lnTo>
                  <a:pt x="9" y="134"/>
                </a:lnTo>
                <a:lnTo>
                  <a:pt x="2" y="134"/>
                </a:lnTo>
                <a:lnTo>
                  <a:pt x="0" y="134"/>
                </a:lnTo>
                <a:lnTo>
                  <a:pt x="0" y="127"/>
                </a:lnTo>
                <a:lnTo>
                  <a:pt x="2" y="123"/>
                </a:lnTo>
                <a:lnTo>
                  <a:pt x="2" y="121"/>
                </a:lnTo>
                <a:lnTo>
                  <a:pt x="9" y="117"/>
                </a:lnTo>
                <a:lnTo>
                  <a:pt x="9" y="110"/>
                </a:lnTo>
                <a:lnTo>
                  <a:pt x="11" y="110"/>
                </a:lnTo>
                <a:lnTo>
                  <a:pt x="11" y="106"/>
                </a:lnTo>
                <a:lnTo>
                  <a:pt x="13" y="104"/>
                </a:lnTo>
                <a:lnTo>
                  <a:pt x="19" y="99"/>
                </a:lnTo>
                <a:lnTo>
                  <a:pt x="21" y="95"/>
                </a:lnTo>
                <a:lnTo>
                  <a:pt x="28" y="95"/>
                </a:lnTo>
                <a:lnTo>
                  <a:pt x="30" y="93"/>
                </a:lnTo>
                <a:lnTo>
                  <a:pt x="32" y="93"/>
                </a:lnTo>
                <a:lnTo>
                  <a:pt x="34" y="93"/>
                </a:lnTo>
                <a:lnTo>
                  <a:pt x="34" y="88"/>
                </a:lnTo>
                <a:lnTo>
                  <a:pt x="37" y="88"/>
                </a:lnTo>
                <a:lnTo>
                  <a:pt x="37" y="80"/>
                </a:lnTo>
                <a:lnTo>
                  <a:pt x="37" y="56"/>
                </a:lnTo>
                <a:lnTo>
                  <a:pt x="34" y="32"/>
                </a:lnTo>
                <a:lnTo>
                  <a:pt x="41" y="32"/>
                </a:lnTo>
                <a:lnTo>
                  <a:pt x="47" y="24"/>
                </a:lnTo>
                <a:lnTo>
                  <a:pt x="54" y="30"/>
                </a:lnTo>
                <a:lnTo>
                  <a:pt x="60" y="30"/>
                </a:lnTo>
                <a:lnTo>
                  <a:pt x="82" y="19"/>
                </a:lnTo>
                <a:lnTo>
                  <a:pt x="127" y="0"/>
                </a:lnTo>
                <a:lnTo>
                  <a:pt x="132" y="2"/>
                </a:lnTo>
                <a:lnTo>
                  <a:pt x="132" y="6"/>
                </a:lnTo>
                <a:lnTo>
                  <a:pt x="125" y="35"/>
                </a:lnTo>
                <a:lnTo>
                  <a:pt x="136" y="28"/>
                </a:lnTo>
                <a:lnTo>
                  <a:pt x="149" y="32"/>
                </a:lnTo>
                <a:lnTo>
                  <a:pt x="158" y="35"/>
                </a:lnTo>
                <a:lnTo>
                  <a:pt x="160" y="39"/>
                </a:lnTo>
                <a:lnTo>
                  <a:pt x="164" y="35"/>
                </a:lnTo>
                <a:lnTo>
                  <a:pt x="164" y="39"/>
                </a:lnTo>
                <a:lnTo>
                  <a:pt x="166" y="39"/>
                </a:lnTo>
                <a:lnTo>
                  <a:pt x="166" y="41"/>
                </a:lnTo>
                <a:lnTo>
                  <a:pt x="173" y="41"/>
                </a:lnTo>
                <a:lnTo>
                  <a:pt x="175" y="45"/>
                </a:lnTo>
                <a:lnTo>
                  <a:pt x="177" y="50"/>
                </a:lnTo>
                <a:lnTo>
                  <a:pt x="177" y="52"/>
                </a:lnTo>
                <a:lnTo>
                  <a:pt x="179" y="56"/>
                </a:lnTo>
                <a:lnTo>
                  <a:pt x="190" y="58"/>
                </a:lnTo>
                <a:lnTo>
                  <a:pt x="244" y="67"/>
                </a:lnTo>
                <a:lnTo>
                  <a:pt x="255" y="73"/>
                </a:lnTo>
                <a:lnTo>
                  <a:pt x="257" y="76"/>
                </a:lnTo>
                <a:lnTo>
                  <a:pt x="265" y="78"/>
                </a:lnTo>
                <a:lnTo>
                  <a:pt x="272" y="78"/>
                </a:lnTo>
                <a:lnTo>
                  <a:pt x="274" y="78"/>
                </a:lnTo>
                <a:lnTo>
                  <a:pt x="276" y="80"/>
                </a:lnTo>
                <a:lnTo>
                  <a:pt x="278" y="80"/>
                </a:lnTo>
                <a:lnTo>
                  <a:pt x="278" y="78"/>
                </a:lnTo>
                <a:lnTo>
                  <a:pt x="281" y="78"/>
                </a:lnTo>
                <a:lnTo>
                  <a:pt x="283" y="78"/>
                </a:lnTo>
                <a:lnTo>
                  <a:pt x="287" y="78"/>
                </a:lnTo>
                <a:lnTo>
                  <a:pt x="287" y="80"/>
                </a:lnTo>
                <a:lnTo>
                  <a:pt x="289" y="80"/>
                </a:lnTo>
                <a:lnTo>
                  <a:pt x="291" y="80"/>
                </a:lnTo>
                <a:lnTo>
                  <a:pt x="294" y="80"/>
                </a:lnTo>
                <a:lnTo>
                  <a:pt x="296" y="82"/>
                </a:lnTo>
                <a:lnTo>
                  <a:pt x="298" y="82"/>
                </a:lnTo>
                <a:lnTo>
                  <a:pt x="302" y="80"/>
                </a:lnTo>
                <a:lnTo>
                  <a:pt x="304" y="82"/>
                </a:lnTo>
                <a:lnTo>
                  <a:pt x="306" y="82"/>
                </a:lnTo>
                <a:lnTo>
                  <a:pt x="309" y="82"/>
                </a:lnTo>
                <a:lnTo>
                  <a:pt x="311" y="84"/>
                </a:lnTo>
                <a:lnTo>
                  <a:pt x="311" y="88"/>
                </a:lnTo>
                <a:lnTo>
                  <a:pt x="313" y="88"/>
                </a:lnTo>
                <a:lnTo>
                  <a:pt x="311" y="93"/>
                </a:lnTo>
                <a:lnTo>
                  <a:pt x="311" y="95"/>
                </a:lnTo>
                <a:lnTo>
                  <a:pt x="313" y="97"/>
                </a:lnTo>
                <a:lnTo>
                  <a:pt x="315" y="97"/>
                </a:lnTo>
                <a:lnTo>
                  <a:pt x="322" y="95"/>
                </a:lnTo>
                <a:lnTo>
                  <a:pt x="322" y="97"/>
                </a:lnTo>
                <a:lnTo>
                  <a:pt x="328" y="99"/>
                </a:lnTo>
                <a:lnTo>
                  <a:pt x="330" y="104"/>
                </a:lnTo>
                <a:lnTo>
                  <a:pt x="332" y="104"/>
                </a:lnTo>
                <a:lnTo>
                  <a:pt x="337" y="106"/>
                </a:lnTo>
                <a:lnTo>
                  <a:pt x="332" y="106"/>
                </a:lnTo>
                <a:lnTo>
                  <a:pt x="332" y="108"/>
                </a:lnTo>
                <a:lnTo>
                  <a:pt x="330" y="108"/>
                </a:lnTo>
                <a:lnTo>
                  <a:pt x="337" y="112"/>
                </a:lnTo>
                <a:lnTo>
                  <a:pt x="337" y="114"/>
                </a:lnTo>
                <a:lnTo>
                  <a:pt x="332" y="114"/>
                </a:lnTo>
                <a:lnTo>
                  <a:pt x="332" y="117"/>
                </a:lnTo>
                <a:lnTo>
                  <a:pt x="337" y="123"/>
                </a:lnTo>
                <a:lnTo>
                  <a:pt x="332" y="125"/>
                </a:lnTo>
                <a:lnTo>
                  <a:pt x="330" y="127"/>
                </a:lnTo>
                <a:lnTo>
                  <a:pt x="332" y="129"/>
                </a:lnTo>
                <a:lnTo>
                  <a:pt x="330" y="134"/>
                </a:lnTo>
                <a:lnTo>
                  <a:pt x="332" y="138"/>
                </a:lnTo>
                <a:lnTo>
                  <a:pt x="332" y="134"/>
                </a:lnTo>
                <a:lnTo>
                  <a:pt x="339" y="134"/>
                </a:lnTo>
                <a:lnTo>
                  <a:pt x="343" y="132"/>
                </a:lnTo>
                <a:lnTo>
                  <a:pt x="345" y="134"/>
                </a:lnTo>
                <a:lnTo>
                  <a:pt x="343" y="142"/>
                </a:lnTo>
                <a:lnTo>
                  <a:pt x="343" y="145"/>
                </a:lnTo>
                <a:lnTo>
                  <a:pt x="343" y="147"/>
                </a:lnTo>
                <a:lnTo>
                  <a:pt x="341" y="149"/>
                </a:lnTo>
                <a:lnTo>
                  <a:pt x="341" y="153"/>
                </a:lnTo>
                <a:lnTo>
                  <a:pt x="345" y="155"/>
                </a:lnTo>
                <a:lnTo>
                  <a:pt x="345" y="158"/>
                </a:lnTo>
                <a:lnTo>
                  <a:pt x="354" y="160"/>
                </a:lnTo>
                <a:lnTo>
                  <a:pt x="352" y="162"/>
                </a:lnTo>
                <a:lnTo>
                  <a:pt x="352" y="166"/>
                </a:lnTo>
                <a:lnTo>
                  <a:pt x="343" y="173"/>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191" name="Freeform 24">
            <a:extLst>
              <a:ext uri="{FF2B5EF4-FFF2-40B4-BE49-F238E27FC236}">
                <a16:creationId xmlns:a16="http://schemas.microsoft.com/office/drawing/2014/main" id="{C95396E2-08D1-4E21-8FCB-4F47AB36FCC0}"/>
              </a:ext>
            </a:extLst>
          </p:cNvPr>
          <p:cNvSpPr>
            <a:spLocks/>
          </p:cNvSpPr>
          <p:nvPr>
            <p:custDataLst>
              <p:tags r:id="rId15"/>
            </p:custDataLst>
          </p:nvPr>
        </p:nvSpPr>
        <p:spPr bwMode="auto">
          <a:xfrm>
            <a:off x="7258114" y="2527185"/>
            <a:ext cx="52608" cy="112408"/>
          </a:xfrm>
          <a:custGeom>
            <a:avLst/>
            <a:gdLst>
              <a:gd name="T0" fmla="*/ 2147483647 w 26"/>
              <a:gd name="T1" fmla="*/ 2147483647 h 52"/>
              <a:gd name="T2" fmla="*/ 2147483647 w 26"/>
              <a:gd name="T3" fmla="*/ 0 h 52"/>
              <a:gd name="T4" fmla="*/ 2147483647 w 26"/>
              <a:gd name="T5" fmla="*/ 2147483647 h 52"/>
              <a:gd name="T6" fmla="*/ 2147483647 w 26"/>
              <a:gd name="T7" fmla="*/ 2147483647 h 52"/>
              <a:gd name="T8" fmla="*/ 2147483647 w 26"/>
              <a:gd name="T9" fmla="*/ 2147483647 h 52"/>
              <a:gd name="T10" fmla="*/ 2147483647 w 26"/>
              <a:gd name="T11" fmla="*/ 2147483647 h 52"/>
              <a:gd name="T12" fmla="*/ 2147483647 w 26"/>
              <a:gd name="T13" fmla="*/ 2147483647 h 52"/>
              <a:gd name="T14" fmla="*/ 2147483647 w 26"/>
              <a:gd name="T15" fmla="*/ 2147483647 h 52"/>
              <a:gd name="T16" fmla="*/ 2147483647 w 26"/>
              <a:gd name="T17" fmla="*/ 2147483647 h 52"/>
              <a:gd name="T18" fmla="*/ 2147483647 w 26"/>
              <a:gd name="T19" fmla="*/ 2147483647 h 52"/>
              <a:gd name="T20" fmla="*/ 2147483647 w 26"/>
              <a:gd name="T21" fmla="*/ 2147483647 h 52"/>
              <a:gd name="T22" fmla="*/ 2147483647 w 26"/>
              <a:gd name="T23" fmla="*/ 2147483647 h 52"/>
              <a:gd name="T24" fmla="*/ 2147483647 w 26"/>
              <a:gd name="T25" fmla="*/ 2147483647 h 52"/>
              <a:gd name="T26" fmla="*/ 2147483647 w 26"/>
              <a:gd name="T27" fmla="*/ 2147483647 h 52"/>
              <a:gd name="T28" fmla="*/ 2147483647 w 26"/>
              <a:gd name="T29" fmla="*/ 2147483647 h 52"/>
              <a:gd name="T30" fmla="*/ 0 w 26"/>
              <a:gd name="T31" fmla="*/ 2147483647 h 52"/>
              <a:gd name="T32" fmla="*/ 2147483647 w 26"/>
              <a:gd name="T33" fmla="*/ 2147483647 h 52"/>
              <a:gd name="T34" fmla="*/ 2147483647 w 26"/>
              <a:gd name="T35" fmla="*/ 2147483647 h 52"/>
              <a:gd name="T36" fmla="*/ 2147483647 w 26"/>
              <a:gd name="T37" fmla="*/ 2147483647 h 52"/>
              <a:gd name="T38" fmla="*/ 2147483647 w 26"/>
              <a:gd name="T39" fmla="*/ 2147483647 h 52"/>
              <a:gd name="T40" fmla="*/ 2147483647 w 26"/>
              <a:gd name="T41" fmla="*/ 2147483647 h 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52"/>
              <a:gd name="T65" fmla="*/ 26 w 26"/>
              <a:gd name="T66" fmla="*/ 52 h 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52">
                <a:moveTo>
                  <a:pt x="21" y="4"/>
                </a:moveTo>
                <a:lnTo>
                  <a:pt x="26" y="0"/>
                </a:lnTo>
                <a:lnTo>
                  <a:pt x="26" y="8"/>
                </a:lnTo>
                <a:lnTo>
                  <a:pt x="21" y="6"/>
                </a:lnTo>
                <a:lnTo>
                  <a:pt x="24" y="15"/>
                </a:lnTo>
                <a:lnTo>
                  <a:pt x="21" y="15"/>
                </a:lnTo>
                <a:lnTo>
                  <a:pt x="24" y="21"/>
                </a:lnTo>
                <a:lnTo>
                  <a:pt x="21" y="21"/>
                </a:lnTo>
                <a:lnTo>
                  <a:pt x="21" y="26"/>
                </a:lnTo>
                <a:lnTo>
                  <a:pt x="19" y="26"/>
                </a:lnTo>
                <a:lnTo>
                  <a:pt x="15" y="32"/>
                </a:lnTo>
                <a:lnTo>
                  <a:pt x="15" y="39"/>
                </a:lnTo>
                <a:lnTo>
                  <a:pt x="13" y="43"/>
                </a:lnTo>
                <a:lnTo>
                  <a:pt x="8" y="52"/>
                </a:lnTo>
                <a:lnTo>
                  <a:pt x="4" y="47"/>
                </a:lnTo>
                <a:lnTo>
                  <a:pt x="0" y="41"/>
                </a:lnTo>
                <a:lnTo>
                  <a:pt x="4" y="30"/>
                </a:lnTo>
                <a:lnTo>
                  <a:pt x="8" y="26"/>
                </a:lnTo>
                <a:lnTo>
                  <a:pt x="11" y="15"/>
                </a:lnTo>
                <a:lnTo>
                  <a:pt x="13" y="15"/>
                </a:lnTo>
                <a:lnTo>
                  <a:pt x="21" y="4"/>
                </a:lnTo>
              </a:path>
            </a:pathLst>
          </a:custGeom>
          <a:noFill/>
          <a:ln w="6350">
            <a:solidFill>
              <a:srgbClr val="404040"/>
            </a:solidFill>
            <a:round/>
            <a:headEnd/>
            <a:tailEnd/>
          </a:ln>
        </p:spPr>
        <p:txBody>
          <a:bodyPr/>
          <a:lstStyle/>
          <a:p>
            <a:endParaRPr lang="en-US" dirty="0">
              <a:solidFill>
                <a:prstClr val="black"/>
              </a:solidFill>
            </a:endParaRPr>
          </a:p>
        </p:txBody>
      </p:sp>
      <p:sp>
        <p:nvSpPr>
          <p:cNvPr id="192" name="Freeform 25">
            <a:extLst>
              <a:ext uri="{FF2B5EF4-FFF2-40B4-BE49-F238E27FC236}">
                <a16:creationId xmlns:a16="http://schemas.microsoft.com/office/drawing/2014/main" id="{BBDDB0FC-47B2-463F-9EAF-8BB1A5AA08C3}"/>
              </a:ext>
            </a:extLst>
          </p:cNvPr>
          <p:cNvSpPr>
            <a:spLocks/>
          </p:cNvSpPr>
          <p:nvPr>
            <p:custDataLst>
              <p:tags r:id="rId16"/>
            </p:custDataLst>
          </p:nvPr>
        </p:nvSpPr>
        <p:spPr bwMode="auto">
          <a:xfrm>
            <a:off x="3180992" y="1528482"/>
            <a:ext cx="896530" cy="1554263"/>
          </a:xfrm>
          <a:custGeom>
            <a:avLst/>
            <a:gdLst>
              <a:gd name="T0" fmla="*/ 2147483647 w 443"/>
              <a:gd name="T1" fmla="*/ 2147483647 h 719"/>
              <a:gd name="T2" fmla="*/ 2147483647 w 443"/>
              <a:gd name="T3" fmla="*/ 2147483647 h 719"/>
              <a:gd name="T4" fmla="*/ 2147483647 w 443"/>
              <a:gd name="T5" fmla="*/ 2147483647 h 719"/>
              <a:gd name="T6" fmla="*/ 2147483647 w 443"/>
              <a:gd name="T7" fmla="*/ 2147483647 h 719"/>
              <a:gd name="T8" fmla="*/ 2147483647 w 443"/>
              <a:gd name="T9" fmla="*/ 2147483647 h 719"/>
              <a:gd name="T10" fmla="*/ 2147483647 w 443"/>
              <a:gd name="T11" fmla="*/ 2147483647 h 719"/>
              <a:gd name="T12" fmla="*/ 2147483647 w 443"/>
              <a:gd name="T13" fmla="*/ 2147483647 h 719"/>
              <a:gd name="T14" fmla="*/ 2147483647 w 443"/>
              <a:gd name="T15" fmla="*/ 2147483647 h 719"/>
              <a:gd name="T16" fmla="*/ 2147483647 w 443"/>
              <a:gd name="T17" fmla="*/ 2147483647 h 719"/>
              <a:gd name="T18" fmla="*/ 2147483647 w 443"/>
              <a:gd name="T19" fmla="*/ 2147483647 h 719"/>
              <a:gd name="T20" fmla="*/ 2147483647 w 443"/>
              <a:gd name="T21" fmla="*/ 2147483647 h 719"/>
              <a:gd name="T22" fmla="*/ 2147483647 w 443"/>
              <a:gd name="T23" fmla="*/ 2147483647 h 719"/>
              <a:gd name="T24" fmla="*/ 2147483647 w 443"/>
              <a:gd name="T25" fmla="*/ 2147483647 h 719"/>
              <a:gd name="T26" fmla="*/ 2147483647 w 443"/>
              <a:gd name="T27" fmla="*/ 2147483647 h 719"/>
              <a:gd name="T28" fmla="*/ 2147483647 w 443"/>
              <a:gd name="T29" fmla="*/ 2147483647 h 719"/>
              <a:gd name="T30" fmla="*/ 2147483647 w 443"/>
              <a:gd name="T31" fmla="*/ 2147483647 h 719"/>
              <a:gd name="T32" fmla="*/ 2147483647 w 443"/>
              <a:gd name="T33" fmla="*/ 2147483647 h 719"/>
              <a:gd name="T34" fmla="*/ 2147483647 w 443"/>
              <a:gd name="T35" fmla="*/ 2147483647 h 719"/>
              <a:gd name="T36" fmla="*/ 2147483647 w 443"/>
              <a:gd name="T37" fmla="*/ 2147483647 h 719"/>
              <a:gd name="T38" fmla="*/ 2147483647 w 443"/>
              <a:gd name="T39" fmla="*/ 2147483647 h 719"/>
              <a:gd name="T40" fmla="*/ 2147483647 w 443"/>
              <a:gd name="T41" fmla="*/ 2147483647 h 719"/>
              <a:gd name="T42" fmla="*/ 2147483647 w 443"/>
              <a:gd name="T43" fmla="*/ 2147483647 h 719"/>
              <a:gd name="T44" fmla="*/ 2147483647 w 443"/>
              <a:gd name="T45" fmla="*/ 2147483647 h 719"/>
              <a:gd name="T46" fmla="*/ 2147483647 w 443"/>
              <a:gd name="T47" fmla="*/ 2147483647 h 719"/>
              <a:gd name="T48" fmla="*/ 2147483647 w 443"/>
              <a:gd name="T49" fmla="*/ 2147483647 h 719"/>
              <a:gd name="T50" fmla="*/ 2147483647 w 443"/>
              <a:gd name="T51" fmla="*/ 2147483647 h 719"/>
              <a:gd name="T52" fmla="*/ 2147483647 w 443"/>
              <a:gd name="T53" fmla="*/ 2147483647 h 719"/>
              <a:gd name="T54" fmla="*/ 2147483647 w 443"/>
              <a:gd name="T55" fmla="*/ 2147483647 h 719"/>
              <a:gd name="T56" fmla="*/ 2147483647 w 443"/>
              <a:gd name="T57" fmla="*/ 2147483647 h 719"/>
              <a:gd name="T58" fmla="*/ 2147483647 w 443"/>
              <a:gd name="T59" fmla="*/ 2147483647 h 719"/>
              <a:gd name="T60" fmla="*/ 2147483647 w 443"/>
              <a:gd name="T61" fmla="*/ 2147483647 h 719"/>
              <a:gd name="T62" fmla="*/ 2147483647 w 443"/>
              <a:gd name="T63" fmla="*/ 2147483647 h 719"/>
              <a:gd name="T64" fmla="*/ 2147483647 w 443"/>
              <a:gd name="T65" fmla="*/ 2147483647 h 719"/>
              <a:gd name="T66" fmla="*/ 2147483647 w 443"/>
              <a:gd name="T67" fmla="*/ 2147483647 h 719"/>
              <a:gd name="T68" fmla="*/ 2147483647 w 443"/>
              <a:gd name="T69" fmla="*/ 2147483647 h 719"/>
              <a:gd name="T70" fmla="*/ 2147483647 w 443"/>
              <a:gd name="T71" fmla="*/ 2147483647 h 719"/>
              <a:gd name="T72" fmla="*/ 2147483647 w 443"/>
              <a:gd name="T73" fmla="*/ 2147483647 h 719"/>
              <a:gd name="T74" fmla="*/ 2147483647 w 443"/>
              <a:gd name="T75" fmla="*/ 2147483647 h 719"/>
              <a:gd name="T76" fmla="*/ 2147483647 w 443"/>
              <a:gd name="T77" fmla="*/ 2147483647 h 719"/>
              <a:gd name="T78" fmla="*/ 2147483647 w 443"/>
              <a:gd name="T79" fmla="*/ 2147483647 h 719"/>
              <a:gd name="T80" fmla="*/ 2147483647 w 443"/>
              <a:gd name="T81" fmla="*/ 2147483647 h 719"/>
              <a:gd name="T82" fmla="*/ 2147483647 w 443"/>
              <a:gd name="T83" fmla="*/ 2147483647 h 719"/>
              <a:gd name="T84" fmla="*/ 2147483647 w 443"/>
              <a:gd name="T85" fmla="*/ 2147483647 h 719"/>
              <a:gd name="T86" fmla="*/ 2147483647 w 443"/>
              <a:gd name="T87" fmla="*/ 2147483647 h 719"/>
              <a:gd name="T88" fmla="*/ 2147483647 w 443"/>
              <a:gd name="T89" fmla="*/ 2147483647 h 719"/>
              <a:gd name="T90" fmla="*/ 2147483647 w 443"/>
              <a:gd name="T91" fmla="*/ 2147483647 h 719"/>
              <a:gd name="T92" fmla="*/ 2147483647 w 443"/>
              <a:gd name="T93" fmla="*/ 2147483647 h 719"/>
              <a:gd name="T94" fmla="*/ 2147483647 w 443"/>
              <a:gd name="T95" fmla="*/ 2147483647 h 719"/>
              <a:gd name="T96" fmla="*/ 2147483647 w 443"/>
              <a:gd name="T97" fmla="*/ 2147483647 h 719"/>
              <a:gd name="T98" fmla="*/ 2147483647 w 443"/>
              <a:gd name="T99" fmla="*/ 2147483647 h 719"/>
              <a:gd name="T100" fmla="*/ 2147483647 w 443"/>
              <a:gd name="T101" fmla="*/ 2147483647 h 719"/>
              <a:gd name="T102" fmla="*/ 2147483647 w 443"/>
              <a:gd name="T103" fmla="*/ 2147483647 h 719"/>
              <a:gd name="T104" fmla="*/ 2147483647 w 443"/>
              <a:gd name="T105" fmla="*/ 2147483647 h 719"/>
              <a:gd name="T106" fmla="*/ 2147483647 w 443"/>
              <a:gd name="T107" fmla="*/ 2147483647 h 7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3"/>
              <a:gd name="T163" fmla="*/ 0 h 719"/>
              <a:gd name="T164" fmla="*/ 443 w 443"/>
              <a:gd name="T165" fmla="*/ 719 h 7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3" h="719">
                <a:moveTo>
                  <a:pt x="35" y="486"/>
                </a:moveTo>
                <a:lnTo>
                  <a:pt x="35" y="481"/>
                </a:lnTo>
                <a:lnTo>
                  <a:pt x="35" y="475"/>
                </a:lnTo>
                <a:lnTo>
                  <a:pt x="39" y="473"/>
                </a:lnTo>
                <a:lnTo>
                  <a:pt x="39" y="470"/>
                </a:lnTo>
                <a:lnTo>
                  <a:pt x="41" y="470"/>
                </a:lnTo>
                <a:lnTo>
                  <a:pt x="43" y="470"/>
                </a:lnTo>
                <a:lnTo>
                  <a:pt x="43" y="466"/>
                </a:lnTo>
                <a:lnTo>
                  <a:pt x="46" y="460"/>
                </a:lnTo>
                <a:lnTo>
                  <a:pt x="48" y="457"/>
                </a:lnTo>
                <a:lnTo>
                  <a:pt x="46" y="451"/>
                </a:lnTo>
                <a:lnTo>
                  <a:pt x="48" y="451"/>
                </a:lnTo>
                <a:lnTo>
                  <a:pt x="54" y="445"/>
                </a:lnTo>
                <a:lnTo>
                  <a:pt x="54" y="442"/>
                </a:lnTo>
                <a:lnTo>
                  <a:pt x="48" y="440"/>
                </a:lnTo>
                <a:lnTo>
                  <a:pt x="50" y="438"/>
                </a:lnTo>
                <a:lnTo>
                  <a:pt x="48" y="436"/>
                </a:lnTo>
                <a:lnTo>
                  <a:pt x="46" y="434"/>
                </a:lnTo>
                <a:lnTo>
                  <a:pt x="46" y="436"/>
                </a:lnTo>
                <a:lnTo>
                  <a:pt x="43" y="434"/>
                </a:lnTo>
                <a:lnTo>
                  <a:pt x="43" y="432"/>
                </a:lnTo>
                <a:lnTo>
                  <a:pt x="41" y="432"/>
                </a:lnTo>
                <a:lnTo>
                  <a:pt x="39" y="434"/>
                </a:lnTo>
                <a:lnTo>
                  <a:pt x="39" y="432"/>
                </a:lnTo>
                <a:lnTo>
                  <a:pt x="35" y="427"/>
                </a:lnTo>
                <a:lnTo>
                  <a:pt x="35" y="425"/>
                </a:lnTo>
                <a:lnTo>
                  <a:pt x="39" y="423"/>
                </a:lnTo>
                <a:lnTo>
                  <a:pt x="35" y="419"/>
                </a:lnTo>
                <a:lnTo>
                  <a:pt x="39" y="416"/>
                </a:lnTo>
                <a:lnTo>
                  <a:pt x="39" y="410"/>
                </a:lnTo>
                <a:lnTo>
                  <a:pt x="41" y="410"/>
                </a:lnTo>
                <a:lnTo>
                  <a:pt x="41" y="408"/>
                </a:lnTo>
                <a:lnTo>
                  <a:pt x="46" y="406"/>
                </a:lnTo>
                <a:lnTo>
                  <a:pt x="46" y="404"/>
                </a:lnTo>
                <a:lnTo>
                  <a:pt x="54" y="393"/>
                </a:lnTo>
                <a:lnTo>
                  <a:pt x="56" y="388"/>
                </a:lnTo>
                <a:lnTo>
                  <a:pt x="63" y="388"/>
                </a:lnTo>
                <a:lnTo>
                  <a:pt x="65" y="384"/>
                </a:lnTo>
                <a:lnTo>
                  <a:pt x="67" y="380"/>
                </a:lnTo>
                <a:lnTo>
                  <a:pt x="72" y="380"/>
                </a:lnTo>
                <a:lnTo>
                  <a:pt x="74" y="375"/>
                </a:lnTo>
                <a:lnTo>
                  <a:pt x="74" y="373"/>
                </a:lnTo>
                <a:lnTo>
                  <a:pt x="74" y="371"/>
                </a:lnTo>
                <a:lnTo>
                  <a:pt x="74" y="369"/>
                </a:lnTo>
                <a:lnTo>
                  <a:pt x="74" y="367"/>
                </a:lnTo>
                <a:lnTo>
                  <a:pt x="78" y="363"/>
                </a:lnTo>
                <a:lnTo>
                  <a:pt x="80" y="360"/>
                </a:lnTo>
                <a:lnTo>
                  <a:pt x="82" y="358"/>
                </a:lnTo>
                <a:lnTo>
                  <a:pt x="91" y="345"/>
                </a:lnTo>
                <a:lnTo>
                  <a:pt x="93" y="341"/>
                </a:lnTo>
                <a:lnTo>
                  <a:pt x="100" y="330"/>
                </a:lnTo>
                <a:lnTo>
                  <a:pt x="104" y="328"/>
                </a:lnTo>
                <a:lnTo>
                  <a:pt x="108" y="321"/>
                </a:lnTo>
                <a:lnTo>
                  <a:pt x="110" y="319"/>
                </a:lnTo>
                <a:lnTo>
                  <a:pt x="108" y="311"/>
                </a:lnTo>
                <a:lnTo>
                  <a:pt x="108" y="309"/>
                </a:lnTo>
                <a:lnTo>
                  <a:pt x="108" y="304"/>
                </a:lnTo>
                <a:lnTo>
                  <a:pt x="104" y="298"/>
                </a:lnTo>
                <a:lnTo>
                  <a:pt x="100" y="296"/>
                </a:lnTo>
                <a:lnTo>
                  <a:pt x="95" y="293"/>
                </a:lnTo>
                <a:lnTo>
                  <a:pt x="95" y="291"/>
                </a:lnTo>
                <a:lnTo>
                  <a:pt x="93" y="287"/>
                </a:lnTo>
                <a:lnTo>
                  <a:pt x="91" y="278"/>
                </a:lnTo>
                <a:lnTo>
                  <a:pt x="91" y="276"/>
                </a:lnTo>
                <a:lnTo>
                  <a:pt x="89" y="270"/>
                </a:lnTo>
                <a:lnTo>
                  <a:pt x="89" y="265"/>
                </a:lnTo>
                <a:lnTo>
                  <a:pt x="93" y="261"/>
                </a:lnTo>
                <a:lnTo>
                  <a:pt x="91" y="257"/>
                </a:lnTo>
                <a:lnTo>
                  <a:pt x="91" y="252"/>
                </a:lnTo>
                <a:lnTo>
                  <a:pt x="91" y="246"/>
                </a:lnTo>
                <a:lnTo>
                  <a:pt x="91" y="244"/>
                </a:lnTo>
                <a:lnTo>
                  <a:pt x="89" y="242"/>
                </a:lnTo>
                <a:lnTo>
                  <a:pt x="91" y="239"/>
                </a:lnTo>
                <a:lnTo>
                  <a:pt x="91" y="233"/>
                </a:lnTo>
                <a:lnTo>
                  <a:pt x="93" y="224"/>
                </a:lnTo>
                <a:lnTo>
                  <a:pt x="106" y="173"/>
                </a:lnTo>
                <a:lnTo>
                  <a:pt x="108" y="160"/>
                </a:lnTo>
                <a:lnTo>
                  <a:pt x="110" y="149"/>
                </a:lnTo>
                <a:lnTo>
                  <a:pt x="123" y="95"/>
                </a:lnTo>
                <a:lnTo>
                  <a:pt x="126" y="88"/>
                </a:lnTo>
                <a:lnTo>
                  <a:pt x="141" y="15"/>
                </a:lnTo>
                <a:lnTo>
                  <a:pt x="145" y="0"/>
                </a:lnTo>
                <a:lnTo>
                  <a:pt x="203" y="13"/>
                </a:lnTo>
                <a:lnTo>
                  <a:pt x="195" y="60"/>
                </a:lnTo>
                <a:lnTo>
                  <a:pt x="188" y="84"/>
                </a:lnTo>
                <a:lnTo>
                  <a:pt x="186" y="108"/>
                </a:lnTo>
                <a:lnTo>
                  <a:pt x="186" y="110"/>
                </a:lnTo>
                <a:lnTo>
                  <a:pt x="188" y="112"/>
                </a:lnTo>
                <a:lnTo>
                  <a:pt x="190" y="121"/>
                </a:lnTo>
                <a:lnTo>
                  <a:pt x="190" y="123"/>
                </a:lnTo>
                <a:lnTo>
                  <a:pt x="192" y="123"/>
                </a:lnTo>
                <a:lnTo>
                  <a:pt x="192" y="125"/>
                </a:lnTo>
                <a:lnTo>
                  <a:pt x="192" y="129"/>
                </a:lnTo>
                <a:lnTo>
                  <a:pt x="195" y="132"/>
                </a:lnTo>
                <a:lnTo>
                  <a:pt x="195" y="134"/>
                </a:lnTo>
                <a:lnTo>
                  <a:pt x="197" y="138"/>
                </a:lnTo>
                <a:lnTo>
                  <a:pt x="197" y="142"/>
                </a:lnTo>
                <a:lnTo>
                  <a:pt x="199" y="144"/>
                </a:lnTo>
                <a:lnTo>
                  <a:pt x="199" y="147"/>
                </a:lnTo>
                <a:lnTo>
                  <a:pt x="195" y="151"/>
                </a:lnTo>
                <a:lnTo>
                  <a:pt x="197" y="155"/>
                </a:lnTo>
                <a:lnTo>
                  <a:pt x="197" y="157"/>
                </a:lnTo>
                <a:lnTo>
                  <a:pt x="199" y="160"/>
                </a:lnTo>
                <a:lnTo>
                  <a:pt x="197" y="162"/>
                </a:lnTo>
                <a:lnTo>
                  <a:pt x="192" y="160"/>
                </a:lnTo>
                <a:lnTo>
                  <a:pt x="192" y="162"/>
                </a:lnTo>
                <a:lnTo>
                  <a:pt x="197" y="164"/>
                </a:lnTo>
                <a:lnTo>
                  <a:pt x="197" y="166"/>
                </a:lnTo>
                <a:lnTo>
                  <a:pt x="199" y="170"/>
                </a:lnTo>
                <a:lnTo>
                  <a:pt x="203" y="173"/>
                </a:lnTo>
                <a:lnTo>
                  <a:pt x="205" y="177"/>
                </a:lnTo>
                <a:lnTo>
                  <a:pt x="205" y="179"/>
                </a:lnTo>
                <a:lnTo>
                  <a:pt x="210" y="179"/>
                </a:lnTo>
                <a:lnTo>
                  <a:pt x="210" y="181"/>
                </a:lnTo>
                <a:lnTo>
                  <a:pt x="214" y="181"/>
                </a:lnTo>
                <a:lnTo>
                  <a:pt x="214" y="183"/>
                </a:lnTo>
                <a:lnTo>
                  <a:pt x="214" y="190"/>
                </a:lnTo>
                <a:lnTo>
                  <a:pt x="223" y="196"/>
                </a:lnTo>
                <a:lnTo>
                  <a:pt x="223" y="198"/>
                </a:lnTo>
                <a:lnTo>
                  <a:pt x="225" y="203"/>
                </a:lnTo>
                <a:lnTo>
                  <a:pt x="227" y="207"/>
                </a:lnTo>
                <a:lnTo>
                  <a:pt x="227" y="211"/>
                </a:lnTo>
                <a:lnTo>
                  <a:pt x="227" y="214"/>
                </a:lnTo>
                <a:lnTo>
                  <a:pt x="229" y="214"/>
                </a:lnTo>
                <a:lnTo>
                  <a:pt x="231" y="216"/>
                </a:lnTo>
                <a:lnTo>
                  <a:pt x="236" y="220"/>
                </a:lnTo>
                <a:lnTo>
                  <a:pt x="231" y="222"/>
                </a:lnTo>
                <a:lnTo>
                  <a:pt x="231" y="224"/>
                </a:lnTo>
                <a:lnTo>
                  <a:pt x="231" y="229"/>
                </a:lnTo>
                <a:lnTo>
                  <a:pt x="236" y="231"/>
                </a:lnTo>
                <a:lnTo>
                  <a:pt x="238" y="233"/>
                </a:lnTo>
                <a:lnTo>
                  <a:pt x="240" y="233"/>
                </a:lnTo>
                <a:lnTo>
                  <a:pt x="240" y="237"/>
                </a:lnTo>
                <a:lnTo>
                  <a:pt x="240" y="242"/>
                </a:lnTo>
                <a:lnTo>
                  <a:pt x="242" y="242"/>
                </a:lnTo>
                <a:lnTo>
                  <a:pt x="244" y="239"/>
                </a:lnTo>
                <a:lnTo>
                  <a:pt x="246" y="239"/>
                </a:lnTo>
                <a:lnTo>
                  <a:pt x="251" y="244"/>
                </a:lnTo>
                <a:lnTo>
                  <a:pt x="246" y="244"/>
                </a:lnTo>
                <a:lnTo>
                  <a:pt x="246" y="246"/>
                </a:lnTo>
                <a:lnTo>
                  <a:pt x="251" y="248"/>
                </a:lnTo>
                <a:lnTo>
                  <a:pt x="255" y="248"/>
                </a:lnTo>
                <a:lnTo>
                  <a:pt x="257" y="252"/>
                </a:lnTo>
                <a:lnTo>
                  <a:pt x="259" y="248"/>
                </a:lnTo>
                <a:lnTo>
                  <a:pt x="264" y="248"/>
                </a:lnTo>
                <a:lnTo>
                  <a:pt x="268" y="252"/>
                </a:lnTo>
                <a:lnTo>
                  <a:pt x="268" y="255"/>
                </a:lnTo>
                <a:lnTo>
                  <a:pt x="264" y="257"/>
                </a:lnTo>
                <a:lnTo>
                  <a:pt x="262" y="263"/>
                </a:lnTo>
                <a:lnTo>
                  <a:pt x="259" y="263"/>
                </a:lnTo>
                <a:lnTo>
                  <a:pt x="259" y="272"/>
                </a:lnTo>
                <a:lnTo>
                  <a:pt x="257" y="274"/>
                </a:lnTo>
                <a:lnTo>
                  <a:pt x="255" y="285"/>
                </a:lnTo>
                <a:lnTo>
                  <a:pt x="251" y="287"/>
                </a:lnTo>
                <a:lnTo>
                  <a:pt x="253" y="289"/>
                </a:lnTo>
                <a:lnTo>
                  <a:pt x="253" y="293"/>
                </a:lnTo>
                <a:lnTo>
                  <a:pt x="251" y="293"/>
                </a:lnTo>
                <a:lnTo>
                  <a:pt x="246" y="293"/>
                </a:lnTo>
                <a:lnTo>
                  <a:pt x="244" y="296"/>
                </a:lnTo>
                <a:lnTo>
                  <a:pt x="246" y="298"/>
                </a:lnTo>
                <a:lnTo>
                  <a:pt x="251" y="302"/>
                </a:lnTo>
                <a:lnTo>
                  <a:pt x="246" y="304"/>
                </a:lnTo>
                <a:lnTo>
                  <a:pt x="244" y="306"/>
                </a:lnTo>
                <a:lnTo>
                  <a:pt x="246" y="309"/>
                </a:lnTo>
                <a:lnTo>
                  <a:pt x="244" y="309"/>
                </a:lnTo>
                <a:lnTo>
                  <a:pt x="251" y="311"/>
                </a:lnTo>
                <a:lnTo>
                  <a:pt x="251" y="313"/>
                </a:lnTo>
                <a:lnTo>
                  <a:pt x="246" y="317"/>
                </a:lnTo>
                <a:lnTo>
                  <a:pt x="246" y="319"/>
                </a:lnTo>
                <a:lnTo>
                  <a:pt x="251" y="321"/>
                </a:lnTo>
                <a:lnTo>
                  <a:pt x="246" y="324"/>
                </a:lnTo>
                <a:lnTo>
                  <a:pt x="244" y="324"/>
                </a:lnTo>
                <a:lnTo>
                  <a:pt x="242" y="324"/>
                </a:lnTo>
                <a:lnTo>
                  <a:pt x="240" y="326"/>
                </a:lnTo>
                <a:lnTo>
                  <a:pt x="236" y="328"/>
                </a:lnTo>
                <a:lnTo>
                  <a:pt x="238" y="330"/>
                </a:lnTo>
                <a:lnTo>
                  <a:pt x="238" y="334"/>
                </a:lnTo>
                <a:lnTo>
                  <a:pt x="240" y="337"/>
                </a:lnTo>
                <a:lnTo>
                  <a:pt x="238" y="339"/>
                </a:lnTo>
                <a:lnTo>
                  <a:pt x="238" y="341"/>
                </a:lnTo>
                <a:lnTo>
                  <a:pt x="231" y="343"/>
                </a:lnTo>
                <a:lnTo>
                  <a:pt x="236" y="345"/>
                </a:lnTo>
                <a:lnTo>
                  <a:pt x="231" y="347"/>
                </a:lnTo>
                <a:lnTo>
                  <a:pt x="236" y="347"/>
                </a:lnTo>
                <a:lnTo>
                  <a:pt x="238" y="352"/>
                </a:lnTo>
                <a:lnTo>
                  <a:pt x="240" y="352"/>
                </a:lnTo>
                <a:lnTo>
                  <a:pt x="240" y="354"/>
                </a:lnTo>
                <a:lnTo>
                  <a:pt x="240" y="356"/>
                </a:lnTo>
                <a:lnTo>
                  <a:pt x="242" y="358"/>
                </a:lnTo>
                <a:lnTo>
                  <a:pt x="244" y="360"/>
                </a:lnTo>
                <a:lnTo>
                  <a:pt x="251" y="358"/>
                </a:lnTo>
                <a:lnTo>
                  <a:pt x="253" y="358"/>
                </a:lnTo>
                <a:lnTo>
                  <a:pt x="253" y="354"/>
                </a:lnTo>
                <a:lnTo>
                  <a:pt x="255" y="356"/>
                </a:lnTo>
                <a:lnTo>
                  <a:pt x="257" y="356"/>
                </a:lnTo>
                <a:lnTo>
                  <a:pt x="259" y="354"/>
                </a:lnTo>
                <a:lnTo>
                  <a:pt x="262" y="354"/>
                </a:lnTo>
                <a:lnTo>
                  <a:pt x="264" y="352"/>
                </a:lnTo>
                <a:lnTo>
                  <a:pt x="268" y="347"/>
                </a:lnTo>
                <a:lnTo>
                  <a:pt x="270" y="347"/>
                </a:lnTo>
                <a:lnTo>
                  <a:pt x="270" y="345"/>
                </a:lnTo>
                <a:lnTo>
                  <a:pt x="270" y="343"/>
                </a:lnTo>
                <a:lnTo>
                  <a:pt x="272" y="343"/>
                </a:lnTo>
                <a:lnTo>
                  <a:pt x="272" y="345"/>
                </a:lnTo>
                <a:lnTo>
                  <a:pt x="275" y="345"/>
                </a:lnTo>
                <a:lnTo>
                  <a:pt x="275" y="347"/>
                </a:lnTo>
                <a:lnTo>
                  <a:pt x="277" y="347"/>
                </a:lnTo>
                <a:lnTo>
                  <a:pt x="277" y="352"/>
                </a:lnTo>
                <a:lnTo>
                  <a:pt x="279" y="354"/>
                </a:lnTo>
                <a:lnTo>
                  <a:pt x="283" y="354"/>
                </a:lnTo>
                <a:lnTo>
                  <a:pt x="283" y="356"/>
                </a:lnTo>
                <a:lnTo>
                  <a:pt x="279" y="360"/>
                </a:lnTo>
                <a:lnTo>
                  <a:pt x="283" y="360"/>
                </a:lnTo>
                <a:lnTo>
                  <a:pt x="283" y="363"/>
                </a:lnTo>
                <a:lnTo>
                  <a:pt x="283" y="367"/>
                </a:lnTo>
                <a:lnTo>
                  <a:pt x="279" y="369"/>
                </a:lnTo>
                <a:lnTo>
                  <a:pt x="279" y="371"/>
                </a:lnTo>
                <a:lnTo>
                  <a:pt x="283" y="375"/>
                </a:lnTo>
                <a:lnTo>
                  <a:pt x="283" y="380"/>
                </a:lnTo>
                <a:lnTo>
                  <a:pt x="285" y="386"/>
                </a:lnTo>
                <a:lnTo>
                  <a:pt x="285" y="393"/>
                </a:lnTo>
                <a:lnTo>
                  <a:pt x="287" y="395"/>
                </a:lnTo>
                <a:lnTo>
                  <a:pt x="287" y="399"/>
                </a:lnTo>
                <a:lnTo>
                  <a:pt x="290" y="401"/>
                </a:lnTo>
                <a:lnTo>
                  <a:pt x="290" y="404"/>
                </a:lnTo>
                <a:lnTo>
                  <a:pt x="292" y="404"/>
                </a:lnTo>
                <a:lnTo>
                  <a:pt x="292" y="406"/>
                </a:lnTo>
                <a:lnTo>
                  <a:pt x="292" y="408"/>
                </a:lnTo>
                <a:lnTo>
                  <a:pt x="294" y="410"/>
                </a:lnTo>
                <a:lnTo>
                  <a:pt x="294" y="412"/>
                </a:lnTo>
                <a:lnTo>
                  <a:pt x="294" y="419"/>
                </a:lnTo>
                <a:lnTo>
                  <a:pt x="292" y="419"/>
                </a:lnTo>
                <a:lnTo>
                  <a:pt x="290" y="421"/>
                </a:lnTo>
                <a:lnTo>
                  <a:pt x="292" y="427"/>
                </a:lnTo>
                <a:lnTo>
                  <a:pt x="294" y="432"/>
                </a:lnTo>
                <a:lnTo>
                  <a:pt x="296" y="434"/>
                </a:lnTo>
                <a:lnTo>
                  <a:pt x="296" y="436"/>
                </a:lnTo>
                <a:lnTo>
                  <a:pt x="300" y="436"/>
                </a:lnTo>
                <a:lnTo>
                  <a:pt x="305" y="434"/>
                </a:lnTo>
                <a:lnTo>
                  <a:pt x="311" y="440"/>
                </a:lnTo>
                <a:lnTo>
                  <a:pt x="311" y="442"/>
                </a:lnTo>
                <a:lnTo>
                  <a:pt x="311" y="445"/>
                </a:lnTo>
                <a:lnTo>
                  <a:pt x="313" y="449"/>
                </a:lnTo>
                <a:lnTo>
                  <a:pt x="313" y="453"/>
                </a:lnTo>
                <a:lnTo>
                  <a:pt x="311" y="455"/>
                </a:lnTo>
                <a:lnTo>
                  <a:pt x="313" y="460"/>
                </a:lnTo>
                <a:lnTo>
                  <a:pt x="313" y="462"/>
                </a:lnTo>
                <a:lnTo>
                  <a:pt x="313" y="466"/>
                </a:lnTo>
                <a:lnTo>
                  <a:pt x="313" y="470"/>
                </a:lnTo>
                <a:lnTo>
                  <a:pt x="318" y="475"/>
                </a:lnTo>
                <a:lnTo>
                  <a:pt x="322" y="475"/>
                </a:lnTo>
                <a:lnTo>
                  <a:pt x="322" y="477"/>
                </a:lnTo>
                <a:lnTo>
                  <a:pt x="324" y="481"/>
                </a:lnTo>
                <a:lnTo>
                  <a:pt x="326" y="477"/>
                </a:lnTo>
                <a:lnTo>
                  <a:pt x="326" y="475"/>
                </a:lnTo>
                <a:lnTo>
                  <a:pt x="328" y="470"/>
                </a:lnTo>
                <a:lnTo>
                  <a:pt x="333" y="470"/>
                </a:lnTo>
                <a:lnTo>
                  <a:pt x="335" y="468"/>
                </a:lnTo>
                <a:lnTo>
                  <a:pt x="339" y="470"/>
                </a:lnTo>
                <a:lnTo>
                  <a:pt x="344" y="473"/>
                </a:lnTo>
                <a:lnTo>
                  <a:pt x="346" y="475"/>
                </a:lnTo>
                <a:lnTo>
                  <a:pt x="352" y="475"/>
                </a:lnTo>
                <a:lnTo>
                  <a:pt x="352" y="477"/>
                </a:lnTo>
                <a:lnTo>
                  <a:pt x="357" y="477"/>
                </a:lnTo>
                <a:lnTo>
                  <a:pt x="359" y="473"/>
                </a:lnTo>
                <a:lnTo>
                  <a:pt x="359" y="470"/>
                </a:lnTo>
                <a:lnTo>
                  <a:pt x="365" y="470"/>
                </a:lnTo>
                <a:lnTo>
                  <a:pt x="367" y="468"/>
                </a:lnTo>
                <a:lnTo>
                  <a:pt x="367" y="470"/>
                </a:lnTo>
                <a:lnTo>
                  <a:pt x="370" y="470"/>
                </a:lnTo>
                <a:lnTo>
                  <a:pt x="374" y="473"/>
                </a:lnTo>
                <a:lnTo>
                  <a:pt x="378" y="473"/>
                </a:lnTo>
                <a:lnTo>
                  <a:pt x="378" y="475"/>
                </a:lnTo>
                <a:lnTo>
                  <a:pt x="382" y="473"/>
                </a:lnTo>
                <a:lnTo>
                  <a:pt x="385" y="475"/>
                </a:lnTo>
                <a:lnTo>
                  <a:pt x="387" y="473"/>
                </a:lnTo>
                <a:lnTo>
                  <a:pt x="391" y="473"/>
                </a:lnTo>
                <a:lnTo>
                  <a:pt x="393" y="477"/>
                </a:lnTo>
                <a:lnTo>
                  <a:pt x="398" y="477"/>
                </a:lnTo>
                <a:lnTo>
                  <a:pt x="402" y="477"/>
                </a:lnTo>
                <a:lnTo>
                  <a:pt x="404" y="475"/>
                </a:lnTo>
                <a:lnTo>
                  <a:pt x="408" y="477"/>
                </a:lnTo>
                <a:lnTo>
                  <a:pt x="411" y="477"/>
                </a:lnTo>
                <a:lnTo>
                  <a:pt x="417" y="481"/>
                </a:lnTo>
                <a:lnTo>
                  <a:pt x="417" y="477"/>
                </a:lnTo>
                <a:lnTo>
                  <a:pt x="415" y="473"/>
                </a:lnTo>
                <a:lnTo>
                  <a:pt x="417" y="470"/>
                </a:lnTo>
                <a:lnTo>
                  <a:pt x="419" y="470"/>
                </a:lnTo>
                <a:lnTo>
                  <a:pt x="419" y="468"/>
                </a:lnTo>
                <a:lnTo>
                  <a:pt x="419" y="466"/>
                </a:lnTo>
                <a:lnTo>
                  <a:pt x="419" y="462"/>
                </a:lnTo>
                <a:lnTo>
                  <a:pt x="421" y="462"/>
                </a:lnTo>
                <a:lnTo>
                  <a:pt x="423" y="466"/>
                </a:lnTo>
                <a:lnTo>
                  <a:pt x="426" y="460"/>
                </a:lnTo>
                <a:lnTo>
                  <a:pt x="428" y="462"/>
                </a:lnTo>
                <a:lnTo>
                  <a:pt x="428" y="466"/>
                </a:lnTo>
                <a:lnTo>
                  <a:pt x="432" y="468"/>
                </a:lnTo>
                <a:lnTo>
                  <a:pt x="432" y="473"/>
                </a:lnTo>
                <a:lnTo>
                  <a:pt x="434" y="473"/>
                </a:lnTo>
                <a:lnTo>
                  <a:pt x="434" y="475"/>
                </a:lnTo>
                <a:lnTo>
                  <a:pt x="434" y="477"/>
                </a:lnTo>
                <a:lnTo>
                  <a:pt x="436" y="481"/>
                </a:lnTo>
                <a:lnTo>
                  <a:pt x="436" y="483"/>
                </a:lnTo>
                <a:lnTo>
                  <a:pt x="439" y="483"/>
                </a:lnTo>
                <a:lnTo>
                  <a:pt x="439" y="486"/>
                </a:lnTo>
                <a:lnTo>
                  <a:pt x="441" y="488"/>
                </a:lnTo>
                <a:lnTo>
                  <a:pt x="443" y="490"/>
                </a:lnTo>
                <a:lnTo>
                  <a:pt x="436" y="535"/>
                </a:lnTo>
                <a:lnTo>
                  <a:pt x="428" y="576"/>
                </a:lnTo>
                <a:lnTo>
                  <a:pt x="426" y="600"/>
                </a:lnTo>
                <a:lnTo>
                  <a:pt x="421" y="624"/>
                </a:lnTo>
                <a:lnTo>
                  <a:pt x="415" y="671"/>
                </a:lnTo>
                <a:lnTo>
                  <a:pt x="406" y="719"/>
                </a:lnTo>
                <a:lnTo>
                  <a:pt x="376" y="714"/>
                </a:lnTo>
                <a:lnTo>
                  <a:pt x="335" y="706"/>
                </a:lnTo>
                <a:lnTo>
                  <a:pt x="333" y="706"/>
                </a:lnTo>
                <a:lnTo>
                  <a:pt x="275" y="695"/>
                </a:lnTo>
                <a:lnTo>
                  <a:pt x="203" y="682"/>
                </a:lnTo>
                <a:lnTo>
                  <a:pt x="188" y="680"/>
                </a:lnTo>
                <a:lnTo>
                  <a:pt x="136" y="669"/>
                </a:lnTo>
                <a:lnTo>
                  <a:pt x="74" y="656"/>
                </a:lnTo>
                <a:lnTo>
                  <a:pt x="2" y="639"/>
                </a:lnTo>
                <a:lnTo>
                  <a:pt x="0" y="639"/>
                </a:lnTo>
                <a:lnTo>
                  <a:pt x="35" y="486"/>
                </a:lnTo>
                <a:close/>
              </a:path>
            </a:pathLst>
          </a:custGeom>
          <a:solidFill>
            <a:schemeClr val="bg1"/>
          </a:solidFill>
          <a:ln w="9525">
            <a:noFill/>
            <a:round/>
            <a:headEnd/>
            <a:tailEnd/>
          </a:ln>
        </p:spPr>
        <p:txBody>
          <a:bodyPr/>
          <a:lstStyle/>
          <a:p>
            <a:endParaRPr lang="en-US" dirty="0">
              <a:solidFill>
                <a:prstClr val="black"/>
              </a:solidFill>
            </a:endParaRPr>
          </a:p>
        </p:txBody>
      </p:sp>
      <p:sp>
        <p:nvSpPr>
          <p:cNvPr id="193" name="Freeform 26">
            <a:extLst>
              <a:ext uri="{FF2B5EF4-FFF2-40B4-BE49-F238E27FC236}">
                <a16:creationId xmlns:a16="http://schemas.microsoft.com/office/drawing/2014/main" id="{E1780C93-9E76-4EF6-AEF4-195DEEBA6F8D}"/>
              </a:ext>
            </a:extLst>
          </p:cNvPr>
          <p:cNvSpPr>
            <a:spLocks/>
          </p:cNvSpPr>
          <p:nvPr>
            <p:custDataLst>
              <p:tags r:id="rId17"/>
            </p:custDataLst>
          </p:nvPr>
        </p:nvSpPr>
        <p:spPr bwMode="auto">
          <a:xfrm>
            <a:off x="3180992" y="1528482"/>
            <a:ext cx="896530" cy="1554263"/>
          </a:xfrm>
          <a:custGeom>
            <a:avLst/>
            <a:gdLst>
              <a:gd name="T0" fmla="*/ 2147483647 w 443"/>
              <a:gd name="T1" fmla="*/ 2147483647 h 719"/>
              <a:gd name="T2" fmla="*/ 2147483647 w 443"/>
              <a:gd name="T3" fmla="*/ 2147483647 h 719"/>
              <a:gd name="T4" fmla="*/ 2147483647 w 443"/>
              <a:gd name="T5" fmla="*/ 2147483647 h 719"/>
              <a:gd name="T6" fmla="*/ 2147483647 w 443"/>
              <a:gd name="T7" fmla="*/ 2147483647 h 719"/>
              <a:gd name="T8" fmla="*/ 2147483647 w 443"/>
              <a:gd name="T9" fmla="*/ 2147483647 h 719"/>
              <a:gd name="T10" fmla="*/ 2147483647 w 443"/>
              <a:gd name="T11" fmla="*/ 2147483647 h 719"/>
              <a:gd name="T12" fmla="*/ 2147483647 w 443"/>
              <a:gd name="T13" fmla="*/ 2147483647 h 719"/>
              <a:gd name="T14" fmla="*/ 2147483647 w 443"/>
              <a:gd name="T15" fmla="*/ 2147483647 h 719"/>
              <a:gd name="T16" fmla="*/ 2147483647 w 443"/>
              <a:gd name="T17" fmla="*/ 2147483647 h 719"/>
              <a:gd name="T18" fmla="*/ 2147483647 w 443"/>
              <a:gd name="T19" fmla="*/ 2147483647 h 719"/>
              <a:gd name="T20" fmla="*/ 2147483647 w 443"/>
              <a:gd name="T21" fmla="*/ 2147483647 h 719"/>
              <a:gd name="T22" fmla="*/ 2147483647 w 443"/>
              <a:gd name="T23" fmla="*/ 2147483647 h 719"/>
              <a:gd name="T24" fmla="*/ 2147483647 w 443"/>
              <a:gd name="T25" fmla="*/ 2147483647 h 719"/>
              <a:gd name="T26" fmla="*/ 2147483647 w 443"/>
              <a:gd name="T27" fmla="*/ 2147483647 h 719"/>
              <a:gd name="T28" fmla="*/ 2147483647 w 443"/>
              <a:gd name="T29" fmla="*/ 2147483647 h 719"/>
              <a:gd name="T30" fmla="*/ 2147483647 w 443"/>
              <a:gd name="T31" fmla="*/ 2147483647 h 719"/>
              <a:gd name="T32" fmla="*/ 2147483647 w 443"/>
              <a:gd name="T33" fmla="*/ 2147483647 h 719"/>
              <a:gd name="T34" fmla="*/ 2147483647 w 443"/>
              <a:gd name="T35" fmla="*/ 2147483647 h 719"/>
              <a:gd name="T36" fmla="*/ 2147483647 w 443"/>
              <a:gd name="T37" fmla="*/ 2147483647 h 719"/>
              <a:gd name="T38" fmla="*/ 2147483647 w 443"/>
              <a:gd name="T39" fmla="*/ 2147483647 h 719"/>
              <a:gd name="T40" fmla="*/ 2147483647 w 443"/>
              <a:gd name="T41" fmla="*/ 2147483647 h 719"/>
              <a:gd name="T42" fmla="*/ 2147483647 w 443"/>
              <a:gd name="T43" fmla="*/ 2147483647 h 719"/>
              <a:gd name="T44" fmla="*/ 2147483647 w 443"/>
              <a:gd name="T45" fmla="*/ 2147483647 h 719"/>
              <a:gd name="T46" fmla="*/ 2147483647 w 443"/>
              <a:gd name="T47" fmla="*/ 2147483647 h 719"/>
              <a:gd name="T48" fmla="*/ 2147483647 w 443"/>
              <a:gd name="T49" fmla="*/ 2147483647 h 719"/>
              <a:gd name="T50" fmla="*/ 2147483647 w 443"/>
              <a:gd name="T51" fmla="*/ 2147483647 h 719"/>
              <a:gd name="T52" fmla="*/ 2147483647 w 443"/>
              <a:gd name="T53" fmla="*/ 2147483647 h 719"/>
              <a:gd name="T54" fmla="*/ 2147483647 w 443"/>
              <a:gd name="T55" fmla="*/ 2147483647 h 719"/>
              <a:gd name="T56" fmla="*/ 2147483647 w 443"/>
              <a:gd name="T57" fmla="*/ 2147483647 h 719"/>
              <a:gd name="T58" fmla="*/ 2147483647 w 443"/>
              <a:gd name="T59" fmla="*/ 2147483647 h 719"/>
              <a:gd name="T60" fmla="*/ 2147483647 w 443"/>
              <a:gd name="T61" fmla="*/ 2147483647 h 719"/>
              <a:gd name="T62" fmla="*/ 2147483647 w 443"/>
              <a:gd name="T63" fmla="*/ 2147483647 h 719"/>
              <a:gd name="T64" fmla="*/ 2147483647 w 443"/>
              <a:gd name="T65" fmla="*/ 2147483647 h 719"/>
              <a:gd name="T66" fmla="*/ 2147483647 w 443"/>
              <a:gd name="T67" fmla="*/ 2147483647 h 719"/>
              <a:gd name="T68" fmla="*/ 2147483647 w 443"/>
              <a:gd name="T69" fmla="*/ 2147483647 h 719"/>
              <a:gd name="T70" fmla="*/ 2147483647 w 443"/>
              <a:gd name="T71" fmla="*/ 2147483647 h 719"/>
              <a:gd name="T72" fmla="*/ 2147483647 w 443"/>
              <a:gd name="T73" fmla="*/ 2147483647 h 719"/>
              <a:gd name="T74" fmla="*/ 2147483647 w 443"/>
              <a:gd name="T75" fmla="*/ 2147483647 h 719"/>
              <a:gd name="T76" fmla="*/ 2147483647 w 443"/>
              <a:gd name="T77" fmla="*/ 2147483647 h 719"/>
              <a:gd name="T78" fmla="*/ 2147483647 w 443"/>
              <a:gd name="T79" fmla="*/ 2147483647 h 719"/>
              <a:gd name="T80" fmla="*/ 2147483647 w 443"/>
              <a:gd name="T81" fmla="*/ 2147483647 h 719"/>
              <a:gd name="T82" fmla="*/ 2147483647 w 443"/>
              <a:gd name="T83" fmla="*/ 2147483647 h 719"/>
              <a:gd name="T84" fmla="*/ 2147483647 w 443"/>
              <a:gd name="T85" fmla="*/ 2147483647 h 719"/>
              <a:gd name="T86" fmla="*/ 2147483647 w 443"/>
              <a:gd name="T87" fmla="*/ 2147483647 h 719"/>
              <a:gd name="T88" fmla="*/ 2147483647 w 443"/>
              <a:gd name="T89" fmla="*/ 2147483647 h 719"/>
              <a:gd name="T90" fmla="*/ 2147483647 w 443"/>
              <a:gd name="T91" fmla="*/ 2147483647 h 719"/>
              <a:gd name="T92" fmla="*/ 2147483647 w 443"/>
              <a:gd name="T93" fmla="*/ 2147483647 h 719"/>
              <a:gd name="T94" fmla="*/ 2147483647 w 443"/>
              <a:gd name="T95" fmla="*/ 2147483647 h 719"/>
              <a:gd name="T96" fmla="*/ 2147483647 w 443"/>
              <a:gd name="T97" fmla="*/ 2147483647 h 719"/>
              <a:gd name="T98" fmla="*/ 2147483647 w 443"/>
              <a:gd name="T99" fmla="*/ 2147483647 h 719"/>
              <a:gd name="T100" fmla="*/ 2147483647 w 443"/>
              <a:gd name="T101" fmla="*/ 2147483647 h 719"/>
              <a:gd name="T102" fmla="*/ 2147483647 w 443"/>
              <a:gd name="T103" fmla="*/ 2147483647 h 719"/>
              <a:gd name="T104" fmla="*/ 2147483647 w 443"/>
              <a:gd name="T105" fmla="*/ 2147483647 h 719"/>
              <a:gd name="T106" fmla="*/ 2147483647 w 443"/>
              <a:gd name="T107" fmla="*/ 2147483647 h 7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3"/>
              <a:gd name="T163" fmla="*/ 0 h 719"/>
              <a:gd name="T164" fmla="*/ 443 w 443"/>
              <a:gd name="T165" fmla="*/ 719 h 7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3" h="719">
                <a:moveTo>
                  <a:pt x="35" y="486"/>
                </a:moveTo>
                <a:lnTo>
                  <a:pt x="35" y="481"/>
                </a:lnTo>
                <a:lnTo>
                  <a:pt x="35" y="475"/>
                </a:lnTo>
                <a:lnTo>
                  <a:pt x="39" y="473"/>
                </a:lnTo>
                <a:lnTo>
                  <a:pt x="39" y="470"/>
                </a:lnTo>
                <a:lnTo>
                  <a:pt x="41" y="470"/>
                </a:lnTo>
                <a:lnTo>
                  <a:pt x="43" y="470"/>
                </a:lnTo>
                <a:lnTo>
                  <a:pt x="43" y="466"/>
                </a:lnTo>
                <a:lnTo>
                  <a:pt x="46" y="460"/>
                </a:lnTo>
                <a:lnTo>
                  <a:pt x="48" y="457"/>
                </a:lnTo>
                <a:lnTo>
                  <a:pt x="46" y="451"/>
                </a:lnTo>
                <a:lnTo>
                  <a:pt x="48" y="451"/>
                </a:lnTo>
                <a:lnTo>
                  <a:pt x="54" y="445"/>
                </a:lnTo>
                <a:lnTo>
                  <a:pt x="54" y="442"/>
                </a:lnTo>
                <a:lnTo>
                  <a:pt x="48" y="440"/>
                </a:lnTo>
                <a:lnTo>
                  <a:pt x="50" y="438"/>
                </a:lnTo>
                <a:lnTo>
                  <a:pt x="48" y="436"/>
                </a:lnTo>
                <a:lnTo>
                  <a:pt x="46" y="434"/>
                </a:lnTo>
                <a:lnTo>
                  <a:pt x="46" y="436"/>
                </a:lnTo>
                <a:lnTo>
                  <a:pt x="43" y="434"/>
                </a:lnTo>
                <a:lnTo>
                  <a:pt x="43" y="432"/>
                </a:lnTo>
                <a:lnTo>
                  <a:pt x="41" y="432"/>
                </a:lnTo>
                <a:lnTo>
                  <a:pt x="39" y="434"/>
                </a:lnTo>
                <a:lnTo>
                  <a:pt x="39" y="432"/>
                </a:lnTo>
                <a:lnTo>
                  <a:pt x="35" y="427"/>
                </a:lnTo>
                <a:lnTo>
                  <a:pt x="35" y="425"/>
                </a:lnTo>
                <a:lnTo>
                  <a:pt x="39" y="423"/>
                </a:lnTo>
                <a:lnTo>
                  <a:pt x="35" y="419"/>
                </a:lnTo>
                <a:lnTo>
                  <a:pt x="39" y="416"/>
                </a:lnTo>
                <a:lnTo>
                  <a:pt x="39" y="410"/>
                </a:lnTo>
                <a:lnTo>
                  <a:pt x="41" y="410"/>
                </a:lnTo>
                <a:lnTo>
                  <a:pt x="41" y="408"/>
                </a:lnTo>
                <a:lnTo>
                  <a:pt x="46" y="406"/>
                </a:lnTo>
                <a:lnTo>
                  <a:pt x="46" y="404"/>
                </a:lnTo>
                <a:lnTo>
                  <a:pt x="54" y="393"/>
                </a:lnTo>
                <a:lnTo>
                  <a:pt x="56" y="388"/>
                </a:lnTo>
                <a:lnTo>
                  <a:pt x="63" y="388"/>
                </a:lnTo>
                <a:lnTo>
                  <a:pt x="65" y="384"/>
                </a:lnTo>
                <a:lnTo>
                  <a:pt x="67" y="380"/>
                </a:lnTo>
                <a:lnTo>
                  <a:pt x="72" y="380"/>
                </a:lnTo>
                <a:lnTo>
                  <a:pt x="74" y="375"/>
                </a:lnTo>
                <a:lnTo>
                  <a:pt x="74" y="373"/>
                </a:lnTo>
                <a:lnTo>
                  <a:pt x="74" y="371"/>
                </a:lnTo>
                <a:lnTo>
                  <a:pt x="74" y="369"/>
                </a:lnTo>
                <a:lnTo>
                  <a:pt x="74" y="367"/>
                </a:lnTo>
                <a:lnTo>
                  <a:pt x="78" y="363"/>
                </a:lnTo>
                <a:lnTo>
                  <a:pt x="80" y="360"/>
                </a:lnTo>
                <a:lnTo>
                  <a:pt x="82" y="358"/>
                </a:lnTo>
                <a:lnTo>
                  <a:pt x="91" y="345"/>
                </a:lnTo>
                <a:lnTo>
                  <a:pt x="93" y="341"/>
                </a:lnTo>
                <a:lnTo>
                  <a:pt x="100" y="330"/>
                </a:lnTo>
                <a:lnTo>
                  <a:pt x="104" y="328"/>
                </a:lnTo>
                <a:lnTo>
                  <a:pt x="108" y="321"/>
                </a:lnTo>
                <a:lnTo>
                  <a:pt x="110" y="319"/>
                </a:lnTo>
                <a:lnTo>
                  <a:pt x="108" y="311"/>
                </a:lnTo>
                <a:lnTo>
                  <a:pt x="108" y="309"/>
                </a:lnTo>
                <a:lnTo>
                  <a:pt x="108" y="304"/>
                </a:lnTo>
                <a:lnTo>
                  <a:pt x="104" y="298"/>
                </a:lnTo>
                <a:lnTo>
                  <a:pt x="100" y="296"/>
                </a:lnTo>
                <a:lnTo>
                  <a:pt x="95" y="293"/>
                </a:lnTo>
                <a:lnTo>
                  <a:pt x="95" y="291"/>
                </a:lnTo>
                <a:lnTo>
                  <a:pt x="93" y="287"/>
                </a:lnTo>
                <a:lnTo>
                  <a:pt x="91" y="278"/>
                </a:lnTo>
                <a:lnTo>
                  <a:pt x="91" y="276"/>
                </a:lnTo>
                <a:lnTo>
                  <a:pt x="89" y="270"/>
                </a:lnTo>
                <a:lnTo>
                  <a:pt x="89" y="265"/>
                </a:lnTo>
                <a:lnTo>
                  <a:pt x="93" y="261"/>
                </a:lnTo>
                <a:lnTo>
                  <a:pt x="91" y="257"/>
                </a:lnTo>
                <a:lnTo>
                  <a:pt x="91" y="252"/>
                </a:lnTo>
                <a:lnTo>
                  <a:pt x="91" y="246"/>
                </a:lnTo>
                <a:lnTo>
                  <a:pt x="91" y="244"/>
                </a:lnTo>
                <a:lnTo>
                  <a:pt x="89" y="242"/>
                </a:lnTo>
                <a:lnTo>
                  <a:pt x="91" y="239"/>
                </a:lnTo>
                <a:lnTo>
                  <a:pt x="91" y="233"/>
                </a:lnTo>
                <a:lnTo>
                  <a:pt x="93" y="224"/>
                </a:lnTo>
                <a:lnTo>
                  <a:pt x="106" y="173"/>
                </a:lnTo>
                <a:lnTo>
                  <a:pt x="108" y="160"/>
                </a:lnTo>
                <a:lnTo>
                  <a:pt x="110" y="149"/>
                </a:lnTo>
                <a:lnTo>
                  <a:pt x="123" y="95"/>
                </a:lnTo>
                <a:lnTo>
                  <a:pt x="126" y="88"/>
                </a:lnTo>
                <a:lnTo>
                  <a:pt x="141" y="15"/>
                </a:lnTo>
                <a:lnTo>
                  <a:pt x="145" y="0"/>
                </a:lnTo>
                <a:lnTo>
                  <a:pt x="203" y="13"/>
                </a:lnTo>
                <a:lnTo>
                  <a:pt x="195" y="60"/>
                </a:lnTo>
                <a:lnTo>
                  <a:pt x="188" y="84"/>
                </a:lnTo>
                <a:lnTo>
                  <a:pt x="186" y="108"/>
                </a:lnTo>
                <a:lnTo>
                  <a:pt x="186" y="110"/>
                </a:lnTo>
                <a:lnTo>
                  <a:pt x="188" y="112"/>
                </a:lnTo>
                <a:lnTo>
                  <a:pt x="190" y="121"/>
                </a:lnTo>
                <a:lnTo>
                  <a:pt x="190" y="123"/>
                </a:lnTo>
                <a:lnTo>
                  <a:pt x="192" y="123"/>
                </a:lnTo>
                <a:lnTo>
                  <a:pt x="192" y="125"/>
                </a:lnTo>
                <a:lnTo>
                  <a:pt x="192" y="129"/>
                </a:lnTo>
                <a:lnTo>
                  <a:pt x="195" y="132"/>
                </a:lnTo>
                <a:lnTo>
                  <a:pt x="195" y="134"/>
                </a:lnTo>
                <a:lnTo>
                  <a:pt x="197" y="138"/>
                </a:lnTo>
                <a:lnTo>
                  <a:pt x="197" y="142"/>
                </a:lnTo>
                <a:lnTo>
                  <a:pt x="199" y="144"/>
                </a:lnTo>
                <a:lnTo>
                  <a:pt x="199" y="147"/>
                </a:lnTo>
                <a:lnTo>
                  <a:pt x="195" y="151"/>
                </a:lnTo>
                <a:lnTo>
                  <a:pt x="197" y="155"/>
                </a:lnTo>
                <a:lnTo>
                  <a:pt x="197" y="157"/>
                </a:lnTo>
                <a:lnTo>
                  <a:pt x="199" y="160"/>
                </a:lnTo>
                <a:lnTo>
                  <a:pt x="197" y="162"/>
                </a:lnTo>
                <a:lnTo>
                  <a:pt x="192" y="160"/>
                </a:lnTo>
                <a:lnTo>
                  <a:pt x="192" y="162"/>
                </a:lnTo>
                <a:lnTo>
                  <a:pt x="197" y="164"/>
                </a:lnTo>
                <a:lnTo>
                  <a:pt x="197" y="166"/>
                </a:lnTo>
                <a:lnTo>
                  <a:pt x="199" y="170"/>
                </a:lnTo>
                <a:lnTo>
                  <a:pt x="203" y="173"/>
                </a:lnTo>
                <a:lnTo>
                  <a:pt x="205" y="177"/>
                </a:lnTo>
                <a:lnTo>
                  <a:pt x="205" y="179"/>
                </a:lnTo>
                <a:lnTo>
                  <a:pt x="210" y="179"/>
                </a:lnTo>
                <a:lnTo>
                  <a:pt x="210" y="181"/>
                </a:lnTo>
                <a:lnTo>
                  <a:pt x="214" y="181"/>
                </a:lnTo>
                <a:lnTo>
                  <a:pt x="214" y="183"/>
                </a:lnTo>
                <a:lnTo>
                  <a:pt x="214" y="190"/>
                </a:lnTo>
                <a:lnTo>
                  <a:pt x="223" y="196"/>
                </a:lnTo>
                <a:lnTo>
                  <a:pt x="223" y="198"/>
                </a:lnTo>
                <a:lnTo>
                  <a:pt x="225" y="203"/>
                </a:lnTo>
                <a:lnTo>
                  <a:pt x="227" y="207"/>
                </a:lnTo>
                <a:lnTo>
                  <a:pt x="227" y="211"/>
                </a:lnTo>
                <a:lnTo>
                  <a:pt x="227" y="214"/>
                </a:lnTo>
                <a:lnTo>
                  <a:pt x="229" y="214"/>
                </a:lnTo>
                <a:lnTo>
                  <a:pt x="231" y="216"/>
                </a:lnTo>
                <a:lnTo>
                  <a:pt x="236" y="220"/>
                </a:lnTo>
                <a:lnTo>
                  <a:pt x="231" y="222"/>
                </a:lnTo>
                <a:lnTo>
                  <a:pt x="231" y="224"/>
                </a:lnTo>
                <a:lnTo>
                  <a:pt x="231" y="229"/>
                </a:lnTo>
                <a:lnTo>
                  <a:pt x="236" y="231"/>
                </a:lnTo>
                <a:lnTo>
                  <a:pt x="238" y="233"/>
                </a:lnTo>
                <a:lnTo>
                  <a:pt x="240" y="233"/>
                </a:lnTo>
                <a:lnTo>
                  <a:pt x="240" y="237"/>
                </a:lnTo>
                <a:lnTo>
                  <a:pt x="240" y="242"/>
                </a:lnTo>
                <a:lnTo>
                  <a:pt x="242" y="242"/>
                </a:lnTo>
                <a:lnTo>
                  <a:pt x="244" y="239"/>
                </a:lnTo>
                <a:lnTo>
                  <a:pt x="246" y="239"/>
                </a:lnTo>
                <a:lnTo>
                  <a:pt x="251" y="244"/>
                </a:lnTo>
                <a:lnTo>
                  <a:pt x="246" y="244"/>
                </a:lnTo>
                <a:lnTo>
                  <a:pt x="246" y="246"/>
                </a:lnTo>
                <a:lnTo>
                  <a:pt x="251" y="248"/>
                </a:lnTo>
                <a:lnTo>
                  <a:pt x="255" y="248"/>
                </a:lnTo>
                <a:lnTo>
                  <a:pt x="257" y="252"/>
                </a:lnTo>
                <a:lnTo>
                  <a:pt x="259" y="248"/>
                </a:lnTo>
                <a:lnTo>
                  <a:pt x="264" y="248"/>
                </a:lnTo>
                <a:lnTo>
                  <a:pt x="268" y="252"/>
                </a:lnTo>
                <a:lnTo>
                  <a:pt x="268" y="255"/>
                </a:lnTo>
                <a:lnTo>
                  <a:pt x="264" y="257"/>
                </a:lnTo>
                <a:lnTo>
                  <a:pt x="262" y="263"/>
                </a:lnTo>
                <a:lnTo>
                  <a:pt x="259" y="263"/>
                </a:lnTo>
                <a:lnTo>
                  <a:pt x="259" y="272"/>
                </a:lnTo>
                <a:lnTo>
                  <a:pt x="257" y="274"/>
                </a:lnTo>
                <a:lnTo>
                  <a:pt x="255" y="285"/>
                </a:lnTo>
                <a:lnTo>
                  <a:pt x="251" y="287"/>
                </a:lnTo>
                <a:lnTo>
                  <a:pt x="253" y="289"/>
                </a:lnTo>
                <a:lnTo>
                  <a:pt x="253" y="293"/>
                </a:lnTo>
                <a:lnTo>
                  <a:pt x="251" y="293"/>
                </a:lnTo>
                <a:lnTo>
                  <a:pt x="246" y="293"/>
                </a:lnTo>
                <a:lnTo>
                  <a:pt x="244" y="296"/>
                </a:lnTo>
                <a:lnTo>
                  <a:pt x="246" y="298"/>
                </a:lnTo>
                <a:lnTo>
                  <a:pt x="251" y="302"/>
                </a:lnTo>
                <a:lnTo>
                  <a:pt x="246" y="304"/>
                </a:lnTo>
                <a:lnTo>
                  <a:pt x="244" y="306"/>
                </a:lnTo>
                <a:lnTo>
                  <a:pt x="246" y="309"/>
                </a:lnTo>
                <a:lnTo>
                  <a:pt x="244" y="309"/>
                </a:lnTo>
                <a:lnTo>
                  <a:pt x="251" y="311"/>
                </a:lnTo>
                <a:lnTo>
                  <a:pt x="251" y="313"/>
                </a:lnTo>
                <a:lnTo>
                  <a:pt x="246" y="317"/>
                </a:lnTo>
                <a:lnTo>
                  <a:pt x="246" y="319"/>
                </a:lnTo>
                <a:lnTo>
                  <a:pt x="251" y="321"/>
                </a:lnTo>
                <a:lnTo>
                  <a:pt x="246" y="324"/>
                </a:lnTo>
                <a:lnTo>
                  <a:pt x="244" y="324"/>
                </a:lnTo>
                <a:lnTo>
                  <a:pt x="242" y="324"/>
                </a:lnTo>
                <a:lnTo>
                  <a:pt x="240" y="326"/>
                </a:lnTo>
                <a:lnTo>
                  <a:pt x="236" y="328"/>
                </a:lnTo>
                <a:lnTo>
                  <a:pt x="238" y="330"/>
                </a:lnTo>
                <a:lnTo>
                  <a:pt x="238" y="334"/>
                </a:lnTo>
                <a:lnTo>
                  <a:pt x="240" y="337"/>
                </a:lnTo>
                <a:lnTo>
                  <a:pt x="238" y="339"/>
                </a:lnTo>
                <a:lnTo>
                  <a:pt x="238" y="341"/>
                </a:lnTo>
                <a:lnTo>
                  <a:pt x="231" y="343"/>
                </a:lnTo>
                <a:lnTo>
                  <a:pt x="236" y="345"/>
                </a:lnTo>
                <a:lnTo>
                  <a:pt x="231" y="347"/>
                </a:lnTo>
                <a:lnTo>
                  <a:pt x="236" y="347"/>
                </a:lnTo>
                <a:lnTo>
                  <a:pt x="238" y="352"/>
                </a:lnTo>
                <a:lnTo>
                  <a:pt x="240" y="352"/>
                </a:lnTo>
                <a:lnTo>
                  <a:pt x="240" y="354"/>
                </a:lnTo>
                <a:lnTo>
                  <a:pt x="240" y="356"/>
                </a:lnTo>
                <a:lnTo>
                  <a:pt x="242" y="358"/>
                </a:lnTo>
                <a:lnTo>
                  <a:pt x="244" y="360"/>
                </a:lnTo>
                <a:lnTo>
                  <a:pt x="251" y="358"/>
                </a:lnTo>
                <a:lnTo>
                  <a:pt x="253" y="358"/>
                </a:lnTo>
                <a:lnTo>
                  <a:pt x="253" y="354"/>
                </a:lnTo>
                <a:lnTo>
                  <a:pt x="255" y="356"/>
                </a:lnTo>
                <a:lnTo>
                  <a:pt x="257" y="356"/>
                </a:lnTo>
                <a:lnTo>
                  <a:pt x="259" y="354"/>
                </a:lnTo>
                <a:lnTo>
                  <a:pt x="262" y="354"/>
                </a:lnTo>
                <a:lnTo>
                  <a:pt x="264" y="352"/>
                </a:lnTo>
                <a:lnTo>
                  <a:pt x="268" y="347"/>
                </a:lnTo>
                <a:lnTo>
                  <a:pt x="270" y="347"/>
                </a:lnTo>
                <a:lnTo>
                  <a:pt x="270" y="345"/>
                </a:lnTo>
                <a:lnTo>
                  <a:pt x="270" y="343"/>
                </a:lnTo>
                <a:lnTo>
                  <a:pt x="272" y="343"/>
                </a:lnTo>
                <a:lnTo>
                  <a:pt x="272" y="345"/>
                </a:lnTo>
                <a:lnTo>
                  <a:pt x="275" y="345"/>
                </a:lnTo>
                <a:lnTo>
                  <a:pt x="275" y="347"/>
                </a:lnTo>
                <a:lnTo>
                  <a:pt x="277" y="347"/>
                </a:lnTo>
                <a:lnTo>
                  <a:pt x="277" y="352"/>
                </a:lnTo>
                <a:lnTo>
                  <a:pt x="279" y="354"/>
                </a:lnTo>
                <a:lnTo>
                  <a:pt x="283" y="354"/>
                </a:lnTo>
                <a:lnTo>
                  <a:pt x="283" y="356"/>
                </a:lnTo>
                <a:lnTo>
                  <a:pt x="279" y="360"/>
                </a:lnTo>
                <a:lnTo>
                  <a:pt x="283" y="360"/>
                </a:lnTo>
                <a:lnTo>
                  <a:pt x="283" y="363"/>
                </a:lnTo>
                <a:lnTo>
                  <a:pt x="283" y="367"/>
                </a:lnTo>
                <a:lnTo>
                  <a:pt x="279" y="369"/>
                </a:lnTo>
                <a:lnTo>
                  <a:pt x="279" y="371"/>
                </a:lnTo>
                <a:lnTo>
                  <a:pt x="283" y="375"/>
                </a:lnTo>
                <a:lnTo>
                  <a:pt x="283" y="380"/>
                </a:lnTo>
                <a:lnTo>
                  <a:pt x="285" y="386"/>
                </a:lnTo>
                <a:lnTo>
                  <a:pt x="285" y="393"/>
                </a:lnTo>
                <a:lnTo>
                  <a:pt x="287" y="395"/>
                </a:lnTo>
                <a:lnTo>
                  <a:pt x="287" y="399"/>
                </a:lnTo>
                <a:lnTo>
                  <a:pt x="290" y="401"/>
                </a:lnTo>
                <a:lnTo>
                  <a:pt x="290" y="404"/>
                </a:lnTo>
                <a:lnTo>
                  <a:pt x="292" y="404"/>
                </a:lnTo>
                <a:lnTo>
                  <a:pt x="292" y="406"/>
                </a:lnTo>
                <a:lnTo>
                  <a:pt x="292" y="408"/>
                </a:lnTo>
                <a:lnTo>
                  <a:pt x="294" y="410"/>
                </a:lnTo>
                <a:lnTo>
                  <a:pt x="294" y="412"/>
                </a:lnTo>
                <a:lnTo>
                  <a:pt x="294" y="419"/>
                </a:lnTo>
                <a:lnTo>
                  <a:pt x="292" y="419"/>
                </a:lnTo>
                <a:lnTo>
                  <a:pt x="290" y="421"/>
                </a:lnTo>
                <a:lnTo>
                  <a:pt x="292" y="427"/>
                </a:lnTo>
                <a:lnTo>
                  <a:pt x="294" y="432"/>
                </a:lnTo>
                <a:lnTo>
                  <a:pt x="296" y="434"/>
                </a:lnTo>
                <a:lnTo>
                  <a:pt x="296" y="436"/>
                </a:lnTo>
                <a:lnTo>
                  <a:pt x="300" y="436"/>
                </a:lnTo>
                <a:lnTo>
                  <a:pt x="305" y="434"/>
                </a:lnTo>
                <a:lnTo>
                  <a:pt x="311" y="440"/>
                </a:lnTo>
                <a:lnTo>
                  <a:pt x="311" y="442"/>
                </a:lnTo>
                <a:lnTo>
                  <a:pt x="311" y="445"/>
                </a:lnTo>
                <a:lnTo>
                  <a:pt x="313" y="449"/>
                </a:lnTo>
                <a:lnTo>
                  <a:pt x="313" y="453"/>
                </a:lnTo>
                <a:lnTo>
                  <a:pt x="311" y="455"/>
                </a:lnTo>
                <a:lnTo>
                  <a:pt x="313" y="460"/>
                </a:lnTo>
                <a:lnTo>
                  <a:pt x="313" y="462"/>
                </a:lnTo>
                <a:lnTo>
                  <a:pt x="313" y="466"/>
                </a:lnTo>
                <a:lnTo>
                  <a:pt x="313" y="470"/>
                </a:lnTo>
                <a:lnTo>
                  <a:pt x="318" y="475"/>
                </a:lnTo>
                <a:lnTo>
                  <a:pt x="322" y="475"/>
                </a:lnTo>
                <a:lnTo>
                  <a:pt x="322" y="477"/>
                </a:lnTo>
                <a:lnTo>
                  <a:pt x="324" y="481"/>
                </a:lnTo>
                <a:lnTo>
                  <a:pt x="326" y="477"/>
                </a:lnTo>
                <a:lnTo>
                  <a:pt x="326" y="475"/>
                </a:lnTo>
                <a:lnTo>
                  <a:pt x="328" y="470"/>
                </a:lnTo>
                <a:lnTo>
                  <a:pt x="333" y="470"/>
                </a:lnTo>
                <a:lnTo>
                  <a:pt x="335" y="468"/>
                </a:lnTo>
                <a:lnTo>
                  <a:pt x="339" y="470"/>
                </a:lnTo>
                <a:lnTo>
                  <a:pt x="344" y="473"/>
                </a:lnTo>
                <a:lnTo>
                  <a:pt x="346" y="475"/>
                </a:lnTo>
                <a:lnTo>
                  <a:pt x="352" y="475"/>
                </a:lnTo>
                <a:lnTo>
                  <a:pt x="352" y="477"/>
                </a:lnTo>
                <a:lnTo>
                  <a:pt x="357" y="477"/>
                </a:lnTo>
                <a:lnTo>
                  <a:pt x="359" y="473"/>
                </a:lnTo>
                <a:lnTo>
                  <a:pt x="359" y="470"/>
                </a:lnTo>
                <a:lnTo>
                  <a:pt x="365" y="470"/>
                </a:lnTo>
                <a:lnTo>
                  <a:pt x="367" y="468"/>
                </a:lnTo>
                <a:lnTo>
                  <a:pt x="367" y="470"/>
                </a:lnTo>
                <a:lnTo>
                  <a:pt x="370" y="470"/>
                </a:lnTo>
                <a:lnTo>
                  <a:pt x="374" y="473"/>
                </a:lnTo>
                <a:lnTo>
                  <a:pt x="378" y="473"/>
                </a:lnTo>
                <a:lnTo>
                  <a:pt x="378" y="475"/>
                </a:lnTo>
                <a:lnTo>
                  <a:pt x="382" y="473"/>
                </a:lnTo>
                <a:lnTo>
                  <a:pt x="385" y="475"/>
                </a:lnTo>
                <a:lnTo>
                  <a:pt x="387" y="473"/>
                </a:lnTo>
                <a:lnTo>
                  <a:pt x="391" y="473"/>
                </a:lnTo>
                <a:lnTo>
                  <a:pt x="393" y="477"/>
                </a:lnTo>
                <a:lnTo>
                  <a:pt x="398" y="477"/>
                </a:lnTo>
                <a:lnTo>
                  <a:pt x="402" y="477"/>
                </a:lnTo>
                <a:lnTo>
                  <a:pt x="404" y="475"/>
                </a:lnTo>
                <a:lnTo>
                  <a:pt x="408" y="477"/>
                </a:lnTo>
                <a:lnTo>
                  <a:pt x="411" y="477"/>
                </a:lnTo>
                <a:lnTo>
                  <a:pt x="417" y="481"/>
                </a:lnTo>
                <a:lnTo>
                  <a:pt x="417" y="477"/>
                </a:lnTo>
                <a:lnTo>
                  <a:pt x="415" y="473"/>
                </a:lnTo>
                <a:lnTo>
                  <a:pt x="417" y="470"/>
                </a:lnTo>
                <a:lnTo>
                  <a:pt x="419" y="470"/>
                </a:lnTo>
                <a:lnTo>
                  <a:pt x="419" y="468"/>
                </a:lnTo>
                <a:lnTo>
                  <a:pt x="419" y="466"/>
                </a:lnTo>
                <a:lnTo>
                  <a:pt x="419" y="462"/>
                </a:lnTo>
                <a:lnTo>
                  <a:pt x="421" y="462"/>
                </a:lnTo>
                <a:lnTo>
                  <a:pt x="423" y="466"/>
                </a:lnTo>
                <a:lnTo>
                  <a:pt x="426" y="460"/>
                </a:lnTo>
                <a:lnTo>
                  <a:pt x="428" y="462"/>
                </a:lnTo>
                <a:lnTo>
                  <a:pt x="428" y="466"/>
                </a:lnTo>
                <a:lnTo>
                  <a:pt x="432" y="468"/>
                </a:lnTo>
                <a:lnTo>
                  <a:pt x="432" y="473"/>
                </a:lnTo>
                <a:lnTo>
                  <a:pt x="434" y="473"/>
                </a:lnTo>
                <a:lnTo>
                  <a:pt x="434" y="475"/>
                </a:lnTo>
                <a:lnTo>
                  <a:pt x="434" y="477"/>
                </a:lnTo>
                <a:lnTo>
                  <a:pt x="436" y="481"/>
                </a:lnTo>
                <a:lnTo>
                  <a:pt x="436" y="483"/>
                </a:lnTo>
                <a:lnTo>
                  <a:pt x="439" y="483"/>
                </a:lnTo>
                <a:lnTo>
                  <a:pt x="439" y="486"/>
                </a:lnTo>
                <a:lnTo>
                  <a:pt x="441" y="488"/>
                </a:lnTo>
                <a:lnTo>
                  <a:pt x="443" y="490"/>
                </a:lnTo>
                <a:lnTo>
                  <a:pt x="436" y="535"/>
                </a:lnTo>
                <a:lnTo>
                  <a:pt x="428" y="576"/>
                </a:lnTo>
                <a:lnTo>
                  <a:pt x="426" y="600"/>
                </a:lnTo>
                <a:lnTo>
                  <a:pt x="421" y="624"/>
                </a:lnTo>
                <a:lnTo>
                  <a:pt x="415" y="671"/>
                </a:lnTo>
                <a:lnTo>
                  <a:pt x="406" y="719"/>
                </a:lnTo>
                <a:lnTo>
                  <a:pt x="376" y="714"/>
                </a:lnTo>
                <a:lnTo>
                  <a:pt x="335" y="706"/>
                </a:lnTo>
                <a:lnTo>
                  <a:pt x="333" y="706"/>
                </a:lnTo>
                <a:lnTo>
                  <a:pt x="275" y="695"/>
                </a:lnTo>
                <a:lnTo>
                  <a:pt x="203" y="682"/>
                </a:lnTo>
                <a:lnTo>
                  <a:pt x="188" y="680"/>
                </a:lnTo>
                <a:lnTo>
                  <a:pt x="136" y="669"/>
                </a:lnTo>
                <a:lnTo>
                  <a:pt x="74" y="656"/>
                </a:lnTo>
                <a:lnTo>
                  <a:pt x="2" y="639"/>
                </a:lnTo>
                <a:lnTo>
                  <a:pt x="0" y="639"/>
                </a:lnTo>
                <a:lnTo>
                  <a:pt x="35" y="486"/>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194" name="Freeform 27">
            <a:extLst>
              <a:ext uri="{FF2B5EF4-FFF2-40B4-BE49-F238E27FC236}">
                <a16:creationId xmlns:a16="http://schemas.microsoft.com/office/drawing/2014/main" id="{2760B5BB-65BB-4399-904A-34DF779823D2}"/>
              </a:ext>
            </a:extLst>
          </p:cNvPr>
          <p:cNvSpPr>
            <a:spLocks/>
          </p:cNvSpPr>
          <p:nvPr>
            <p:custDataLst>
              <p:tags r:id="rId18"/>
            </p:custDataLst>
          </p:nvPr>
        </p:nvSpPr>
        <p:spPr bwMode="auto">
          <a:xfrm>
            <a:off x="9119124" y="2196465"/>
            <a:ext cx="252080" cy="508001"/>
          </a:xfrm>
          <a:custGeom>
            <a:avLst/>
            <a:gdLst>
              <a:gd name="T0" fmla="*/ 2147483647 w 125"/>
              <a:gd name="T1" fmla="*/ 2147483647 h 235"/>
              <a:gd name="T2" fmla="*/ 2147483647 w 125"/>
              <a:gd name="T3" fmla="*/ 2147483647 h 235"/>
              <a:gd name="T4" fmla="*/ 2147483647 w 125"/>
              <a:gd name="T5" fmla="*/ 2147483647 h 235"/>
              <a:gd name="T6" fmla="*/ 2147483647 w 125"/>
              <a:gd name="T7" fmla="*/ 2147483647 h 235"/>
              <a:gd name="T8" fmla="*/ 2147483647 w 125"/>
              <a:gd name="T9" fmla="*/ 2147483647 h 235"/>
              <a:gd name="T10" fmla="*/ 2147483647 w 125"/>
              <a:gd name="T11" fmla="*/ 2147483647 h 235"/>
              <a:gd name="T12" fmla="*/ 2147483647 w 125"/>
              <a:gd name="T13" fmla="*/ 2147483647 h 235"/>
              <a:gd name="T14" fmla="*/ 2147483647 w 125"/>
              <a:gd name="T15" fmla="*/ 2147483647 h 235"/>
              <a:gd name="T16" fmla="*/ 2147483647 w 125"/>
              <a:gd name="T17" fmla="*/ 2147483647 h 235"/>
              <a:gd name="T18" fmla="*/ 2147483647 w 125"/>
              <a:gd name="T19" fmla="*/ 2147483647 h 235"/>
              <a:gd name="T20" fmla="*/ 2147483647 w 125"/>
              <a:gd name="T21" fmla="*/ 2147483647 h 235"/>
              <a:gd name="T22" fmla="*/ 2147483647 w 125"/>
              <a:gd name="T23" fmla="*/ 2147483647 h 235"/>
              <a:gd name="T24" fmla="*/ 2147483647 w 125"/>
              <a:gd name="T25" fmla="*/ 2147483647 h 235"/>
              <a:gd name="T26" fmla="*/ 2147483647 w 125"/>
              <a:gd name="T27" fmla="*/ 2147483647 h 235"/>
              <a:gd name="T28" fmla="*/ 2147483647 w 125"/>
              <a:gd name="T29" fmla="*/ 2147483647 h 235"/>
              <a:gd name="T30" fmla="*/ 2147483647 w 125"/>
              <a:gd name="T31" fmla="*/ 2147483647 h 235"/>
              <a:gd name="T32" fmla="*/ 2147483647 w 125"/>
              <a:gd name="T33" fmla="*/ 2147483647 h 235"/>
              <a:gd name="T34" fmla="*/ 2147483647 w 125"/>
              <a:gd name="T35" fmla="*/ 2147483647 h 235"/>
              <a:gd name="T36" fmla="*/ 2147483647 w 125"/>
              <a:gd name="T37" fmla="*/ 2147483647 h 235"/>
              <a:gd name="T38" fmla="*/ 2147483647 w 125"/>
              <a:gd name="T39" fmla="*/ 2147483647 h 235"/>
              <a:gd name="T40" fmla="*/ 2147483647 w 125"/>
              <a:gd name="T41" fmla="*/ 2147483647 h 235"/>
              <a:gd name="T42" fmla="*/ 0 w 125"/>
              <a:gd name="T43" fmla="*/ 2147483647 h 235"/>
              <a:gd name="T44" fmla="*/ 2147483647 w 125"/>
              <a:gd name="T45" fmla="*/ 2147483647 h 235"/>
              <a:gd name="T46" fmla="*/ 2147483647 w 125"/>
              <a:gd name="T47" fmla="*/ 2147483647 h 235"/>
              <a:gd name="T48" fmla="*/ 2147483647 w 125"/>
              <a:gd name="T49" fmla="*/ 2147483647 h 235"/>
              <a:gd name="T50" fmla="*/ 2147483647 w 125"/>
              <a:gd name="T51" fmla="*/ 2147483647 h 235"/>
              <a:gd name="T52" fmla="*/ 2147483647 w 125"/>
              <a:gd name="T53" fmla="*/ 2147483647 h 235"/>
              <a:gd name="T54" fmla="*/ 2147483647 w 125"/>
              <a:gd name="T55" fmla="*/ 2147483647 h 235"/>
              <a:gd name="T56" fmla="*/ 2147483647 w 125"/>
              <a:gd name="T57" fmla="*/ 2147483647 h 235"/>
              <a:gd name="T58" fmla="*/ 2147483647 w 125"/>
              <a:gd name="T59" fmla="*/ 2147483647 h 235"/>
              <a:gd name="T60" fmla="*/ 2147483647 w 125"/>
              <a:gd name="T61" fmla="*/ 2147483647 h 235"/>
              <a:gd name="T62" fmla="*/ 2147483647 w 125"/>
              <a:gd name="T63" fmla="*/ 2147483647 h 235"/>
              <a:gd name="T64" fmla="*/ 2147483647 w 125"/>
              <a:gd name="T65" fmla="*/ 2147483647 h 235"/>
              <a:gd name="T66" fmla="*/ 2147483647 w 125"/>
              <a:gd name="T67" fmla="*/ 2147483647 h 235"/>
              <a:gd name="T68" fmla="*/ 2147483647 w 125"/>
              <a:gd name="T69" fmla="*/ 2147483647 h 235"/>
              <a:gd name="T70" fmla="*/ 2147483647 w 125"/>
              <a:gd name="T71" fmla="*/ 2147483647 h 235"/>
              <a:gd name="T72" fmla="*/ 2147483647 w 125"/>
              <a:gd name="T73" fmla="*/ 2147483647 h 235"/>
              <a:gd name="T74" fmla="*/ 2147483647 w 125"/>
              <a:gd name="T75" fmla="*/ 2147483647 h 235"/>
              <a:gd name="T76" fmla="*/ 2147483647 w 125"/>
              <a:gd name="T77" fmla="*/ 2147483647 h 235"/>
              <a:gd name="T78" fmla="*/ 2147483647 w 125"/>
              <a:gd name="T79" fmla="*/ 2147483647 h 235"/>
              <a:gd name="T80" fmla="*/ 2147483647 w 125"/>
              <a:gd name="T81" fmla="*/ 2147483647 h 235"/>
              <a:gd name="T82" fmla="*/ 2147483647 w 125"/>
              <a:gd name="T83" fmla="*/ 2147483647 h 235"/>
              <a:gd name="T84" fmla="*/ 2147483647 w 125"/>
              <a:gd name="T85" fmla="*/ 2147483647 h 235"/>
              <a:gd name="T86" fmla="*/ 2147483647 w 125"/>
              <a:gd name="T87" fmla="*/ 2147483647 h 235"/>
              <a:gd name="T88" fmla="*/ 2147483647 w 125"/>
              <a:gd name="T89" fmla="*/ 2147483647 h 235"/>
              <a:gd name="T90" fmla="*/ 2147483647 w 125"/>
              <a:gd name="T91" fmla="*/ 2147483647 h 235"/>
              <a:gd name="T92" fmla="*/ 2147483647 w 125"/>
              <a:gd name="T93" fmla="*/ 2147483647 h 235"/>
              <a:gd name="T94" fmla="*/ 2147483647 w 125"/>
              <a:gd name="T95" fmla="*/ 2147483647 h 235"/>
              <a:gd name="T96" fmla="*/ 2147483647 w 125"/>
              <a:gd name="T97" fmla="*/ 2147483647 h 235"/>
              <a:gd name="T98" fmla="*/ 2147483647 w 125"/>
              <a:gd name="T99" fmla="*/ 2147483647 h 235"/>
              <a:gd name="T100" fmla="*/ 2147483647 w 125"/>
              <a:gd name="T101" fmla="*/ 2147483647 h 235"/>
              <a:gd name="T102" fmla="*/ 2147483647 w 125"/>
              <a:gd name="T103" fmla="*/ 2147483647 h 235"/>
              <a:gd name="T104" fmla="*/ 2147483647 w 125"/>
              <a:gd name="T105" fmla="*/ 2147483647 h 235"/>
              <a:gd name="T106" fmla="*/ 2147483647 w 125"/>
              <a:gd name="T107" fmla="*/ 2147483647 h 235"/>
              <a:gd name="T108" fmla="*/ 2147483647 w 125"/>
              <a:gd name="T109" fmla="*/ 2147483647 h 235"/>
              <a:gd name="T110" fmla="*/ 2147483647 w 125"/>
              <a:gd name="T111" fmla="*/ 2147483647 h 235"/>
              <a:gd name="T112" fmla="*/ 2147483647 w 125"/>
              <a:gd name="T113" fmla="*/ 2147483647 h 235"/>
              <a:gd name="T114" fmla="*/ 2147483647 w 125"/>
              <a:gd name="T115" fmla="*/ 2147483647 h 235"/>
              <a:gd name="T116" fmla="*/ 2147483647 w 125"/>
              <a:gd name="T117" fmla="*/ 2147483647 h 235"/>
              <a:gd name="T118" fmla="*/ 2147483647 w 125"/>
              <a:gd name="T119" fmla="*/ 2147483647 h 235"/>
              <a:gd name="T120" fmla="*/ 2147483647 w 125"/>
              <a:gd name="T121" fmla="*/ 2147483647 h 2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5"/>
              <a:gd name="T184" fmla="*/ 0 h 235"/>
              <a:gd name="T185" fmla="*/ 125 w 125"/>
              <a:gd name="T186" fmla="*/ 235 h 23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5" h="235">
                <a:moveTo>
                  <a:pt x="56" y="235"/>
                </a:moveTo>
                <a:lnTo>
                  <a:pt x="54" y="235"/>
                </a:lnTo>
                <a:lnTo>
                  <a:pt x="51" y="231"/>
                </a:lnTo>
                <a:lnTo>
                  <a:pt x="51" y="228"/>
                </a:lnTo>
                <a:lnTo>
                  <a:pt x="49" y="218"/>
                </a:lnTo>
                <a:lnTo>
                  <a:pt x="43" y="183"/>
                </a:lnTo>
                <a:lnTo>
                  <a:pt x="38" y="166"/>
                </a:lnTo>
                <a:lnTo>
                  <a:pt x="36" y="161"/>
                </a:lnTo>
                <a:lnTo>
                  <a:pt x="34" y="161"/>
                </a:lnTo>
                <a:lnTo>
                  <a:pt x="34" y="159"/>
                </a:lnTo>
                <a:lnTo>
                  <a:pt x="34" y="157"/>
                </a:lnTo>
                <a:lnTo>
                  <a:pt x="28" y="159"/>
                </a:lnTo>
                <a:lnTo>
                  <a:pt x="28" y="164"/>
                </a:lnTo>
                <a:lnTo>
                  <a:pt x="26" y="161"/>
                </a:lnTo>
                <a:lnTo>
                  <a:pt x="23" y="157"/>
                </a:lnTo>
                <a:lnTo>
                  <a:pt x="26" y="148"/>
                </a:lnTo>
                <a:lnTo>
                  <a:pt x="26" y="144"/>
                </a:lnTo>
                <a:lnTo>
                  <a:pt x="23" y="142"/>
                </a:lnTo>
                <a:lnTo>
                  <a:pt x="21" y="133"/>
                </a:lnTo>
                <a:lnTo>
                  <a:pt x="19" y="131"/>
                </a:lnTo>
                <a:lnTo>
                  <a:pt x="17" y="125"/>
                </a:lnTo>
                <a:lnTo>
                  <a:pt x="17" y="123"/>
                </a:lnTo>
                <a:lnTo>
                  <a:pt x="13" y="118"/>
                </a:lnTo>
                <a:lnTo>
                  <a:pt x="13" y="114"/>
                </a:lnTo>
                <a:lnTo>
                  <a:pt x="13" y="112"/>
                </a:lnTo>
                <a:lnTo>
                  <a:pt x="17" y="107"/>
                </a:lnTo>
                <a:lnTo>
                  <a:pt x="13" y="103"/>
                </a:lnTo>
                <a:lnTo>
                  <a:pt x="19" y="99"/>
                </a:lnTo>
                <a:lnTo>
                  <a:pt x="13" y="90"/>
                </a:lnTo>
                <a:lnTo>
                  <a:pt x="17" y="84"/>
                </a:lnTo>
                <a:lnTo>
                  <a:pt x="17" y="82"/>
                </a:lnTo>
                <a:lnTo>
                  <a:pt x="8" y="75"/>
                </a:lnTo>
                <a:lnTo>
                  <a:pt x="8" y="71"/>
                </a:lnTo>
                <a:lnTo>
                  <a:pt x="6" y="71"/>
                </a:lnTo>
                <a:lnTo>
                  <a:pt x="6" y="66"/>
                </a:lnTo>
                <a:lnTo>
                  <a:pt x="6" y="64"/>
                </a:lnTo>
                <a:lnTo>
                  <a:pt x="4" y="64"/>
                </a:lnTo>
                <a:lnTo>
                  <a:pt x="6" y="62"/>
                </a:lnTo>
                <a:lnTo>
                  <a:pt x="4" y="58"/>
                </a:lnTo>
                <a:lnTo>
                  <a:pt x="4" y="49"/>
                </a:lnTo>
                <a:lnTo>
                  <a:pt x="2" y="49"/>
                </a:lnTo>
                <a:lnTo>
                  <a:pt x="2" y="47"/>
                </a:lnTo>
                <a:lnTo>
                  <a:pt x="2" y="36"/>
                </a:lnTo>
                <a:lnTo>
                  <a:pt x="0" y="34"/>
                </a:lnTo>
                <a:lnTo>
                  <a:pt x="0" y="32"/>
                </a:lnTo>
                <a:lnTo>
                  <a:pt x="8" y="30"/>
                </a:lnTo>
                <a:lnTo>
                  <a:pt x="51" y="19"/>
                </a:lnTo>
                <a:lnTo>
                  <a:pt x="90" y="8"/>
                </a:lnTo>
                <a:lnTo>
                  <a:pt x="118" y="0"/>
                </a:lnTo>
                <a:lnTo>
                  <a:pt x="116" y="4"/>
                </a:lnTo>
                <a:lnTo>
                  <a:pt x="118" y="8"/>
                </a:lnTo>
                <a:lnTo>
                  <a:pt x="121" y="10"/>
                </a:lnTo>
                <a:lnTo>
                  <a:pt x="118" y="19"/>
                </a:lnTo>
                <a:lnTo>
                  <a:pt x="118" y="21"/>
                </a:lnTo>
                <a:lnTo>
                  <a:pt x="116" y="28"/>
                </a:lnTo>
                <a:lnTo>
                  <a:pt x="118" y="32"/>
                </a:lnTo>
                <a:lnTo>
                  <a:pt x="121" y="34"/>
                </a:lnTo>
                <a:lnTo>
                  <a:pt x="123" y="34"/>
                </a:lnTo>
                <a:lnTo>
                  <a:pt x="123" y="38"/>
                </a:lnTo>
                <a:lnTo>
                  <a:pt x="125" y="38"/>
                </a:lnTo>
                <a:lnTo>
                  <a:pt x="123" y="45"/>
                </a:lnTo>
                <a:lnTo>
                  <a:pt x="123" y="47"/>
                </a:lnTo>
                <a:lnTo>
                  <a:pt x="123" y="49"/>
                </a:lnTo>
                <a:lnTo>
                  <a:pt x="123" y="51"/>
                </a:lnTo>
                <a:lnTo>
                  <a:pt x="121" y="51"/>
                </a:lnTo>
                <a:lnTo>
                  <a:pt x="121" y="54"/>
                </a:lnTo>
                <a:lnTo>
                  <a:pt x="121" y="58"/>
                </a:lnTo>
                <a:lnTo>
                  <a:pt x="116" y="62"/>
                </a:lnTo>
                <a:lnTo>
                  <a:pt x="114" y="62"/>
                </a:lnTo>
                <a:lnTo>
                  <a:pt x="114" y="66"/>
                </a:lnTo>
                <a:lnTo>
                  <a:pt x="110" y="66"/>
                </a:lnTo>
                <a:lnTo>
                  <a:pt x="105" y="69"/>
                </a:lnTo>
                <a:lnTo>
                  <a:pt x="101" y="71"/>
                </a:lnTo>
                <a:lnTo>
                  <a:pt x="101" y="75"/>
                </a:lnTo>
                <a:lnTo>
                  <a:pt x="99" y="77"/>
                </a:lnTo>
                <a:lnTo>
                  <a:pt x="101" y="79"/>
                </a:lnTo>
                <a:lnTo>
                  <a:pt x="101" y="84"/>
                </a:lnTo>
                <a:lnTo>
                  <a:pt x="103" y="86"/>
                </a:lnTo>
                <a:lnTo>
                  <a:pt x="103" y="90"/>
                </a:lnTo>
                <a:lnTo>
                  <a:pt x="103" y="92"/>
                </a:lnTo>
                <a:lnTo>
                  <a:pt x="105" y="92"/>
                </a:lnTo>
                <a:lnTo>
                  <a:pt x="105" y="95"/>
                </a:lnTo>
                <a:lnTo>
                  <a:pt x="103" y="99"/>
                </a:lnTo>
                <a:lnTo>
                  <a:pt x="103" y="101"/>
                </a:lnTo>
                <a:lnTo>
                  <a:pt x="103" y="103"/>
                </a:lnTo>
                <a:lnTo>
                  <a:pt x="103" y="107"/>
                </a:lnTo>
                <a:lnTo>
                  <a:pt x="103" y="110"/>
                </a:lnTo>
                <a:lnTo>
                  <a:pt x="103" y="112"/>
                </a:lnTo>
                <a:lnTo>
                  <a:pt x="101" y="114"/>
                </a:lnTo>
                <a:lnTo>
                  <a:pt x="101" y="123"/>
                </a:lnTo>
                <a:lnTo>
                  <a:pt x="101" y="127"/>
                </a:lnTo>
                <a:lnTo>
                  <a:pt x="99" y="129"/>
                </a:lnTo>
                <a:lnTo>
                  <a:pt x="95" y="133"/>
                </a:lnTo>
                <a:lnTo>
                  <a:pt x="95" y="144"/>
                </a:lnTo>
                <a:lnTo>
                  <a:pt x="95" y="146"/>
                </a:lnTo>
                <a:lnTo>
                  <a:pt x="95" y="151"/>
                </a:lnTo>
                <a:lnTo>
                  <a:pt x="95" y="153"/>
                </a:lnTo>
                <a:lnTo>
                  <a:pt x="95" y="161"/>
                </a:lnTo>
                <a:lnTo>
                  <a:pt x="95" y="164"/>
                </a:lnTo>
                <a:lnTo>
                  <a:pt x="99" y="166"/>
                </a:lnTo>
                <a:lnTo>
                  <a:pt x="99" y="168"/>
                </a:lnTo>
                <a:lnTo>
                  <a:pt x="99" y="172"/>
                </a:lnTo>
                <a:lnTo>
                  <a:pt x="99" y="179"/>
                </a:lnTo>
                <a:lnTo>
                  <a:pt x="99" y="183"/>
                </a:lnTo>
                <a:lnTo>
                  <a:pt x="101" y="190"/>
                </a:lnTo>
                <a:lnTo>
                  <a:pt x="101" y="192"/>
                </a:lnTo>
                <a:lnTo>
                  <a:pt x="101" y="194"/>
                </a:lnTo>
                <a:lnTo>
                  <a:pt x="103" y="198"/>
                </a:lnTo>
                <a:lnTo>
                  <a:pt x="101" y="200"/>
                </a:lnTo>
                <a:lnTo>
                  <a:pt x="101" y="205"/>
                </a:lnTo>
                <a:lnTo>
                  <a:pt x="99" y="205"/>
                </a:lnTo>
                <a:lnTo>
                  <a:pt x="101" y="209"/>
                </a:lnTo>
                <a:lnTo>
                  <a:pt x="99" y="213"/>
                </a:lnTo>
                <a:lnTo>
                  <a:pt x="101" y="218"/>
                </a:lnTo>
                <a:lnTo>
                  <a:pt x="103" y="218"/>
                </a:lnTo>
                <a:lnTo>
                  <a:pt x="103" y="222"/>
                </a:lnTo>
                <a:lnTo>
                  <a:pt x="105" y="222"/>
                </a:lnTo>
                <a:lnTo>
                  <a:pt x="108" y="222"/>
                </a:lnTo>
                <a:lnTo>
                  <a:pt x="108" y="224"/>
                </a:lnTo>
                <a:lnTo>
                  <a:pt x="77" y="231"/>
                </a:lnTo>
                <a:lnTo>
                  <a:pt x="71" y="231"/>
                </a:lnTo>
                <a:lnTo>
                  <a:pt x="56" y="235"/>
                </a:lnTo>
                <a:close/>
              </a:path>
            </a:pathLst>
          </a:custGeom>
          <a:solidFill>
            <a:schemeClr val="bg1"/>
          </a:solidFill>
          <a:ln w="9525">
            <a:noFill/>
            <a:round/>
            <a:headEnd/>
            <a:tailEnd/>
          </a:ln>
        </p:spPr>
        <p:txBody>
          <a:bodyPr/>
          <a:lstStyle/>
          <a:p>
            <a:endParaRPr lang="en-US" dirty="0">
              <a:solidFill>
                <a:prstClr val="black"/>
              </a:solidFill>
            </a:endParaRPr>
          </a:p>
        </p:txBody>
      </p:sp>
      <p:sp>
        <p:nvSpPr>
          <p:cNvPr id="195" name="Freeform 28">
            <a:extLst>
              <a:ext uri="{FF2B5EF4-FFF2-40B4-BE49-F238E27FC236}">
                <a16:creationId xmlns:a16="http://schemas.microsoft.com/office/drawing/2014/main" id="{0EDF3528-87B2-4DAC-8040-B3DB61AE6179}"/>
              </a:ext>
            </a:extLst>
          </p:cNvPr>
          <p:cNvSpPr>
            <a:spLocks/>
          </p:cNvSpPr>
          <p:nvPr>
            <p:custDataLst>
              <p:tags r:id="rId19"/>
            </p:custDataLst>
          </p:nvPr>
        </p:nvSpPr>
        <p:spPr bwMode="auto">
          <a:xfrm>
            <a:off x="9119124" y="2196465"/>
            <a:ext cx="252080" cy="508001"/>
          </a:xfrm>
          <a:custGeom>
            <a:avLst/>
            <a:gdLst>
              <a:gd name="T0" fmla="*/ 2147483647 w 125"/>
              <a:gd name="T1" fmla="*/ 2147483647 h 235"/>
              <a:gd name="T2" fmla="*/ 2147483647 w 125"/>
              <a:gd name="T3" fmla="*/ 2147483647 h 235"/>
              <a:gd name="T4" fmla="*/ 2147483647 w 125"/>
              <a:gd name="T5" fmla="*/ 2147483647 h 235"/>
              <a:gd name="T6" fmla="*/ 2147483647 w 125"/>
              <a:gd name="T7" fmla="*/ 2147483647 h 235"/>
              <a:gd name="T8" fmla="*/ 2147483647 w 125"/>
              <a:gd name="T9" fmla="*/ 2147483647 h 235"/>
              <a:gd name="T10" fmla="*/ 2147483647 w 125"/>
              <a:gd name="T11" fmla="*/ 2147483647 h 235"/>
              <a:gd name="T12" fmla="*/ 2147483647 w 125"/>
              <a:gd name="T13" fmla="*/ 2147483647 h 235"/>
              <a:gd name="T14" fmla="*/ 2147483647 w 125"/>
              <a:gd name="T15" fmla="*/ 2147483647 h 235"/>
              <a:gd name="T16" fmla="*/ 2147483647 w 125"/>
              <a:gd name="T17" fmla="*/ 2147483647 h 235"/>
              <a:gd name="T18" fmla="*/ 2147483647 w 125"/>
              <a:gd name="T19" fmla="*/ 2147483647 h 235"/>
              <a:gd name="T20" fmla="*/ 2147483647 w 125"/>
              <a:gd name="T21" fmla="*/ 2147483647 h 235"/>
              <a:gd name="T22" fmla="*/ 2147483647 w 125"/>
              <a:gd name="T23" fmla="*/ 2147483647 h 235"/>
              <a:gd name="T24" fmla="*/ 2147483647 w 125"/>
              <a:gd name="T25" fmla="*/ 2147483647 h 235"/>
              <a:gd name="T26" fmla="*/ 2147483647 w 125"/>
              <a:gd name="T27" fmla="*/ 2147483647 h 235"/>
              <a:gd name="T28" fmla="*/ 2147483647 w 125"/>
              <a:gd name="T29" fmla="*/ 2147483647 h 235"/>
              <a:gd name="T30" fmla="*/ 2147483647 w 125"/>
              <a:gd name="T31" fmla="*/ 2147483647 h 235"/>
              <a:gd name="T32" fmla="*/ 2147483647 w 125"/>
              <a:gd name="T33" fmla="*/ 2147483647 h 235"/>
              <a:gd name="T34" fmla="*/ 2147483647 w 125"/>
              <a:gd name="T35" fmla="*/ 2147483647 h 235"/>
              <a:gd name="T36" fmla="*/ 2147483647 w 125"/>
              <a:gd name="T37" fmla="*/ 2147483647 h 235"/>
              <a:gd name="T38" fmla="*/ 2147483647 w 125"/>
              <a:gd name="T39" fmla="*/ 2147483647 h 235"/>
              <a:gd name="T40" fmla="*/ 2147483647 w 125"/>
              <a:gd name="T41" fmla="*/ 2147483647 h 235"/>
              <a:gd name="T42" fmla="*/ 0 w 125"/>
              <a:gd name="T43" fmla="*/ 2147483647 h 235"/>
              <a:gd name="T44" fmla="*/ 2147483647 w 125"/>
              <a:gd name="T45" fmla="*/ 2147483647 h 235"/>
              <a:gd name="T46" fmla="*/ 2147483647 w 125"/>
              <a:gd name="T47" fmla="*/ 2147483647 h 235"/>
              <a:gd name="T48" fmla="*/ 2147483647 w 125"/>
              <a:gd name="T49" fmla="*/ 2147483647 h 235"/>
              <a:gd name="T50" fmla="*/ 2147483647 w 125"/>
              <a:gd name="T51" fmla="*/ 2147483647 h 235"/>
              <a:gd name="T52" fmla="*/ 2147483647 w 125"/>
              <a:gd name="T53" fmla="*/ 2147483647 h 235"/>
              <a:gd name="T54" fmla="*/ 2147483647 w 125"/>
              <a:gd name="T55" fmla="*/ 2147483647 h 235"/>
              <a:gd name="T56" fmla="*/ 2147483647 w 125"/>
              <a:gd name="T57" fmla="*/ 2147483647 h 235"/>
              <a:gd name="T58" fmla="*/ 2147483647 w 125"/>
              <a:gd name="T59" fmla="*/ 2147483647 h 235"/>
              <a:gd name="T60" fmla="*/ 2147483647 w 125"/>
              <a:gd name="T61" fmla="*/ 2147483647 h 235"/>
              <a:gd name="T62" fmla="*/ 2147483647 w 125"/>
              <a:gd name="T63" fmla="*/ 2147483647 h 235"/>
              <a:gd name="T64" fmla="*/ 2147483647 w 125"/>
              <a:gd name="T65" fmla="*/ 2147483647 h 235"/>
              <a:gd name="T66" fmla="*/ 2147483647 w 125"/>
              <a:gd name="T67" fmla="*/ 2147483647 h 235"/>
              <a:gd name="T68" fmla="*/ 2147483647 w 125"/>
              <a:gd name="T69" fmla="*/ 2147483647 h 235"/>
              <a:gd name="T70" fmla="*/ 2147483647 w 125"/>
              <a:gd name="T71" fmla="*/ 2147483647 h 235"/>
              <a:gd name="T72" fmla="*/ 2147483647 w 125"/>
              <a:gd name="T73" fmla="*/ 2147483647 h 235"/>
              <a:gd name="T74" fmla="*/ 2147483647 w 125"/>
              <a:gd name="T75" fmla="*/ 2147483647 h 235"/>
              <a:gd name="T76" fmla="*/ 2147483647 w 125"/>
              <a:gd name="T77" fmla="*/ 2147483647 h 235"/>
              <a:gd name="T78" fmla="*/ 2147483647 w 125"/>
              <a:gd name="T79" fmla="*/ 2147483647 h 235"/>
              <a:gd name="T80" fmla="*/ 2147483647 w 125"/>
              <a:gd name="T81" fmla="*/ 2147483647 h 235"/>
              <a:gd name="T82" fmla="*/ 2147483647 w 125"/>
              <a:gd name="T83" fmla="*/ 2147483647 h 235"/>
              <a:gd name="T84" fmla="*/ 2147483647 w 125"/>
              <a:gd name="T85" fmla="*/ 2147483647 h 235"/>
              <a:gd name="T86" fmla="*/ 2147483647 w 125"/>
              <a:gd name="T87" fmla="*/ 2147483647 h 235"/>
              <a:gd name="T88" fmla="*/ 2147483647 w 125"/>
              <a:gd name="T89" fmla="*/ 2147483647 h 235"/>
              <a:gd name="T90" fmla="*/ 2147483647 w 125"/>
              <a:gd name="T91" fmla="*/ 2147483647 h 235"/>
              <a:gd name="T92" fmla="*/ 2147483647 w 125"/>
              <a:gd name="T93" fmla="*/ 2147483647 h 235"/>
              <a:gd name="T94" fmla="*/ 2147483647 w 125"/>
              <a:gd name="T95" fmla="*/ 2147483647 h 235"/>
              <a:gd name="T96" fmla="*/ 2147483647 w 125"/>
              <a:gd name="T97" fmla="*/ 2147483647 h 235"/>
              <a:gd name="T98" fmla="*/ 2147483647 w 125"/>
              <a:gd name="T99" fmla="*/ 2147483647 h 235"/>
              <a:gd name="T100" fmla="*/ 2147483647 w 125"/>
              <a:gd name="T101" fmla="*/ 2147483647 h 235"/>
              <a:gd name="T102" fmla="*/ 2147483647 w 125"/>
              <a:gd name="T103" fmla="*/ 2147483647 h 235"/>
              <a:gd name="T104" fmla="*/ 2147483647 w 125"/>
              <a:gd name="T105" fmla="*/ 2147483647 h 235"/>
              <a:gd name="T106" fmla="*/ 2147483647 w 125"/>
              <a:gd name="T107" fmla="*/ 2147483647 h 235"/>
              <a:gd name="T108" fmla="*/ 2147483647 w 125"/>
              <a:gd name="T109" fmla="*/ 2147483647 h 235"/>
              <a:gd name="T110" fmla="*/ 2147483647 w 125"/>
              <a:gd name="T111" fmla="*/ 2147483647 h 235"/>
              <a:gd name="T112" fmla="*/ 2147483647 w 125"/>
              <a:gd name="T113" fmla="*/ 2147483647 h 235"/>
              <a:gd name="T114" fmla="*/ 2147483647 w 125"/>
              <a:gd name="T115" fmla="*/ 2147483647 h 235"/>
              <a:gd name="T116" fmla="*/ 2147483647 w 125"/>
              <a:gd name="T117" fmla="*/ 2147483647 h 235"/>
              <a:gd name="T118" fmla="*/ 2147483647 w 125"/>
              <a:gd name="T119" fmla="*/ 2147483647 h 235"/>
              <a:gd name="T120" fmla="*/ 2147483647 w 125"/>
              <a:gd name="T121" fmla="*/ 2147483647 h 2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5"/>
              <a:gd name="T184" fmla="*/ 0 h 235"/>
              <a:gd name="T185" fmla="*/ 125 w 125"/>
              <a:gd name="T186" fmla="*/ 235 h 23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5" h="235">
                <a:moveTo>
                  <a:pt x="56" y="235"/>
                </a:moveTo>
                <a:lnTo>
                  <a:pt x="54" y="235"/>
                </a:lnTo>
                <a:lnTo>
                  <a:pt x="51" y="231"/>
                </a:lnTo>
                <a:lnTo>
                  <a:pt x="51" y="228"/>
                </a:lnTo>
                <a:lnTo>
                  <a:pt x="49" y="218"/>
                </a:lnTo>
                <a:lnTo>
                  <a:pt x="43" y="183"/>
                </a:lnTo>
                <a:lnTo>
                  <a:pt x="38" y="166"/>
                </a:lnTo>
                <a:lnTo>
                  <a:pt x="36" y="161"/>
                </a:lnTo>
                <a:lnTo>
                  <a:pt x="34" y="161"/>
                </a:lnTo>
                <a:lnTo>
                  <a:pt x="34" y="159"/>
                </a:lnTo>
                <a:lnTo>
                  <a:pt x="34" y="157"/>
                </a:lnTo>
                <a:lnTo>
                  <a:pt x="28" y="159"/>
                </a:lnTo>
                <a:lnTo>
                  <a:pt x="28" y="164"/>
                </a:lnTo>
                <a:lnTo>
                  <a:pt x="26" y="161"/>
                </a:lnTo>
                <a:lnTo>
                  <a:pt x="23" y="157"/>
                </a:lnTo>
                <a:lnTo>
                  <a:pt x="26" y="148"/>
                </a:lnTo>
                <a:lnTo>
                  <a:pt x="26" y="144"/>
                </a:lnTo>
                <a:lnTo>
                  <a:pt x="23" y="142"/>
                </a:lnTo>
                <a:lnTo>
                  <a:pt x="21" y="133"/>
                </a:lnTo>
                <a:lnTo>
                  <a:pt x="19" y="131"/>
                </a:lnTo>
                <a:lnTo>
                  <a:pt x="17" y="125"/>
                </a:lnTo>
                <a:lnTo>
                  <a:pt x="17" y="123"/>
                </a:lnTo>
                <a:lnTo>
                  <a:pt x="13" y="118"/>
                </a:lnTo>
                <a:lnTo>
                  <a:pt x="13" y="114"/>
                </a:lnTo>
                <a:lnTo>
                  <a:pt x="13" y="112"/>
                </a:lnTo>
                <a:lnTo>
                  <a:pt x="17" y="107"/>
                </a:lnTo>
                <a:lnTo>
                  <a:pt x="13" y="103"/>
                </a:lnTo>
                <a:lnTo>
                  <a:pt x="19" y="99"/>
                </a:lnTo>
                <a:lnTo>
                  <a:pt x="13" y="90"/>
                </a:lnTo>
                <a:lnTo>
                  <a:pt x="17" y="84"/>
                </a:lnTo>
                <a:lnTo>
                  <a:pt x="17" y="82"/>
                </a:lnTo>
                <a:lnTo>
                  <a:pt x="8" y="75"/>
                </a:lnTo>
                <a:lnTo>
                  <a:pt x="8" y="71"/>
                </a:lnTo>
                <a:lnTo>
                  <a:pt x="6" y="71"/>
                </a:lnTo>
                <a:lnTo>
                  <a:pt x="6" y="66"/>
                </a:lnTo>
                <a:lnTo>
                  <a:pt x="6" y="64"/>
                </a:lnTo>
                <a:lnTo>
                  <a:pt x="4" y="64"/>
                </a:lnTo>
                <a:lnTo>
                  <a:pt x="6" y="62"/>
                </a:lnTo>
                <a:lnTo>
                  <a:pt x="4" y="58"/>
                </a:lnTo>
                <a:lnTo>
                  <a:pt x="4" y="49"/>
                </a:lnTo>
                <a:lnTo>
                  <a:pt x="2" y="49"/>
                </a:lnTo>
                <a:lnTo>
                  <a:pt x="2" y="47"/>
                </a:lnTo>
                <a:lnTo>
                  <a:pt x="2" y="36"/>
                </a:lnTo>
                <a:lnTo>
                  <a:pt x="0" y="34"/>
                </a:lnTo>
                <a:lnTo>
                  <a:pt x="0" y="32"/>
                </a:lnTo>
                <a:lnTo>
                  <a:pt x="8" y="30"/>
                </a:lnTo>
                <a:lnTo>
                  <a:pt x="51" y="19"/>
                </a:lnTo>
                <a:lnTo>
                  <a:pt x="90" y="8"/>
                </a:lnTo>
                <a:lnTo>
                  <a:pt x="118" y="0"/>
                </a:lnTo>
                <a:lnTo>
                  <a:pt x="116" y="4"/>
                </a:lnTo>
                <a:lnTo>
                  <a:pt x="118" y="8"/>
                </a:lnTo>
                <a:lnTo>
                  <a:pt x="121" y="10"/>
                </a:lnTo>
                <a:lnTo>
                  <a:pt x="118" y="19"/>
                </a:lnTo>
                <a:lnTo>
                  <a:pt x="118" y="21"/>
                </a:lnTo>
                <a:lnTo>
                  <a:pt x="116" y="28"/>
                </a:lnTo>
                <a:lnTo>
                  <a:pt x="118" y="32"/>
                </a:lnTo>
                <a:lnTo>
                  <a:pt x="121" y="34"/>
                </a:lnTo>
                <a:lnTo>
                  <a:pt x="123" y="34"/>
                </a:lnTo>
                <a:lnTo>
                  <a:pt x="123" y="38"/>
                </a:lnTo>
                <a:lnTo>
                  <a:pt x="125" y="38"/>
                </a:lnTo>
                <a:lnTo>
                  <a:pt x="123" y="45"/>
                </a:lnTo>
                <a:lnTo>
                  <a:pt x="123" y="47"/>
                </a:lnTo>
                <a:lnTo>
                  <a:pt x="123" y="49"/>
                </a:lnTo>
                <a:lnTo>
                  <a:pt x="123" y="51"/>
                </a:lnTo>
                <a:lnTo>
                  <a:pt x="121" y="51"/>
                </a:lnTo>
                <a:lnTo>
                  <a:pt x="121" y="54"/>
                </a:lnTo>
                <a:lnTo>
                  <a:pt x="121" y="58"/>
                </a:lnTo>
                <a:lnTo>
                  <a:pt x="116" y="62"/>
                </a:lnTo>
                <a:lnTo>
                  <a:pt x="114" y="62"/>
                </a:lnTo>
                <a:lnTo>
                  <a:pt x="114" y="66"/>
                </a:lnTo>
                <a:lnTo>
                  <a:pt x="110" y="66"/>
                </a:lnTo>
                <a:lnTo>
                  <a:pt x="105" y="69"/>
                </a:lnTo>
                <a:lnTo>
                  <a:pt x="101" y="71"/>
                </a:lnTo>
                <a:lnTo>
                  <a:pt x="101" y="75"/>
                </a:lnTo>
                <a:lnTo>
                  <a:pt x="99" y="77"/>
                </a:lnTo>
                <a:lnTo>
                  <a:pt x="101" y="79"/>
                </a:lnTo>
                <a:lnTo>
                  <a:pt x="101" y="84"/>
                </a:lnTo>
                <a:lnTo>
                  <a:pt x="103" y="86"/>
                </a:lnTo>
                <a:lnTo>
                  <a:pt x="103" y="90"/>
                </a:lnTo>
                <a:lnTo>
                  <a:pt x="103" y="92"/>
                </a:lnTo>
                <a:lnTo>
                  <a:pt x="105" y="92"/>
                </a:lnTo>
                <a:lnTo>
                  <a:pt x="105" y="95"/>
                </a:lnTo>
                <a:lnTo>
                  <a:pt x="103" y="99"/>
                </a:lnTo>
                <a:lnTo>
                  <a:pt x="103" y="101"/>
                </a:lnTo>
                <a:lnTo>
                  <a:pt x="103" y="103"/>
                </a:lnTo>
                <a:lnTo>
                  <a:pt x="103" y="107"/>
                </a:lnTo>
                <a:lnTo>
                  <a:pt x="103" y="110"/>
                </a:lnTo>
                <a:lnTo>
                  <a:pt x="103" y="112"/>
                </a:lnTo>
                <a:lnTo>
                  <a:pt x="101" y="114"/>
                </a:lnTo>
                <a:lnTo>
                  <a:pt x="101" y="123"/>
                </a:lnTo>
                <a:lnTo>
                  <a:pt x="101" y="127"/>
                </a:lnTo>
                <a:lnTo>
                  <a:pt x="99" y="129"/>
                </a:lnTo>
                <a:lnTo>
                  <a:pt x="95" y="133"/>
                </a:lnTo>
                <a:lnTo>
                  <a:pt x="95" y="144"/>
                </a:lnTo>
                <a:lnTo>
                  <a:pt x="95" y="146"/>
                </a:lnTo>
                <a:lnTo>
                  <a:pt x="95" y="151"/>
                </a:lnTo>
                <a:lnTo>
                  <a:pt x="95" y="153"/>
                </a:lnTo>
                <a:lnTo>
                  <a:pt x="95" y="161"/>
                </a:lnTo>
                <a:lnTo>
                  <a:pt x="95" y="164"/>
                </a:lnTo>
                <a:lnTo>
                  <a:pt x="99" y="166"/>
                </a:lnTo>
                <a:lnTo>
                  <a:pt x="99" y="168"/>
                </a:lnTo>
                <a:lnTo>
                  <a:pt x="99" y="172"/>
                </a:lnTo>
                <a:lnTo>
                  <a:pt x="99" y="179"/>
                </a:lnTo>
                <a:lnTo>
                  <a:pt x="99" y="183"/>
                </a:lnTo>
                <a:lnTo>
                  <a:pt x="101" y="190"/>
                </a:lnTo>
                <a:lnTo>
                  <a:pt x="101" y="192"/>
                </a:lnTo>
                <a:lnTo>
                  <a:pt x="101" y="194"/>
                </a:lnTo>
                <a:lnTo>
                  <a:pt x="103" y="198"/>
                </a:lnTo>
                <a:lnTo>
                  <a:pt x="101" y="200"/>
                </a:lnTo>
                <a:lnTo>
                  <a:pt x="101" y="205"/>
                </a:lnTo>
                <a:lnTo>
                  <a:pt x="99" y="205"/>
                </a:lnTo>
                <a:lnTo>
                  <a:pt x="101" y="209"/>
                </a:lnTo>
                <a:lnTo>
                  <a:pt x="99" y="213"/>
                </a:lnTo>
                <a:lnTo>
                  <a:pt x="101" y="218"/>
                </a:lnTo>
                <a:lnTo>
                  <a:pt x="103" y="218"/>
                </a:lnTo>
                <a:lnTo>
                  <a:pt x="103" y="222"/>
                </a:lnTo>
                <a:lnTo>
                  <a:pt x="105" y="222"/>
                </a:lnTo>
                <a:lnTo>
                  <a:pt x="108" y="222"/>
                </a:lnTo>
                <a:lnTo>
                  <a:pt x="108" y="224"/>
                </a:lnTo>
                <a:lnTo>
                  <a:pt x="77" y="231"/>
                </a:lnTo>
                <a:lnTo>
                  <a:pt x="71" y="231"/>
                </a:lnTo>
                <a:lnTo>
                  <a:pt x="56" y="235"/>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196" name="Freeform 29">
            <a:extLst>
              <a:ext uri="{FF2B5EF4-FFF2-40B4-BE49-F238E27FC236}">
                <a16:creationId xmlns:a16="http://schemas.microsoft.com/office/drawing/2014/main" id="{787EFD9C-C921-4702-984E-94F733B0B5E0}"/>
              </a:ext>
            </a:extLst>
          </p:cNvPr>
          <p:cNvSpPr>
            <a:spLocks/>
          </p:cNvSpPr>
          <p:nvPr>
            <p:custDataLst>
              <p:tags r:id="rId20"/>
            </p:custDataLst>
          </p:nvPr>
        </p:nvSpPr>
        <p:spPr bwMode="auto">
          <a:xfrm>
            <a:off x="5949494" y="1766269"/>
            <a:ext cx="984208" cy="1195420"/>
          </a:xfrm>
          <a:custGeom>
            <a:avLst/>
            <a:gdLst>
              <a:gd name="T0" fmla="*/ 2147483647 w 486"/>
              <a:gd name="T1" fmla="*/ 2147483647 h 553"/>
              <a:gd name="T2" fmla="*/ 2147483647 w 486"/>
              <a:gd name="T3" fmla="*/ 2147483647 h 553"/>
              <a:gd name="T4" fmla="*/ 2147483647 w 486"/>
              <a:gd name="T5" fmla="*/ 2147483647 h 553"/>
              <a:gd name="T6" fmla="*/ 2147483647 w 486"/>
              <a:gd name="T7" fmla="*/ 2147483647 h 553"/>
              <a:gd name="T8" fmla="*/ 2147483647 w 486"/>
              <a:gd name="T9" fmla="*/ 2147483647 h 553"/>
              <a:gd name="T10" fmla="*/ 2147483647 w 486"/>
              <a:gd name="T11" fmla="*/ 2147483647 h 553"/>
              <a:gd name="T12" fmla="*/ 2147483647 w 486"/>
              <a:gd name="T13" fmla="*/ 2147483647 h 553"/>
              <a:gd name="T14" fmla="*/ 2147483647 w 486"/>
              <a:gd name="T15" fmla="*/ 2147483647 h 553"/>
              <a:gd name="T16" fmla="*/ 2147483647 w 486"/>
              <a:gd name="T17" fmla="*/ 2147483647 h 553"/>
              <a:gd name="T18" fmla="*/ 2147483647 w 486"/>
              <a:gd name="T19" fmla="*/ 2147483647 h 553"/>
              <a:gd name="T20" fmla="*/ 2147483647 w 486"/>
              <a:gd name="T21" fmla="*/ 2147483647 h 553"/>
              <a:gd name="T22" fmla="*/ 2147483647 w 486"/>
              <a:gd name="T23" fmla="*/ 2147483647 h 553"/>
              <a:gd name="T24" fmla="*/ 2147483647 w 486"/>
              <a:gd name="T25" fmla="*/ 2147483647 h 553"/>
              <a:gd name="T26" fmla="*/ 2147483647 w 486"/>
              <a:gd name="T27" fmla="*/ 2147483647 h 553"/>
              <a:gd name="T28" fmla="*/ 2147483647 w 486"/>
              <a:gd name="T29" fmla="*/ 2147483647 h 553"/>
              <a:gd name="T30" fmla="*/ 2147483647 w 486"/>
              <a:gd name="T31" fmla="*/ 2147483647 h 553"/>
              <a:gd name="T32" fmla="*/ 2147483647 w 486"/>
              <a:gd name="T33" fmla="*/ 2147483647 h 553"/>
              <a:gd name="T34" fmla="*/ 2147483647 w 486"/>
              <a:gd name="T35" fmla="*/ 2147483647 h 553"/>
              <a:gd name="T36" fmla="*/ 2147483647 w 486"/>
              <a:gd name="T37" fmla="*/ 2147483647 h 553"/>
              <a:gd name="T38" fmla="*/ 2147483647 w 486"/>
              <a:gd name="T39" fmla="*/ 2147483647 h 553"/>
              <a:gd name="T40" fmla="*/ 2147483647 w 486"/>
              <a:gd name="T41" fmla="*/ 2147483647 h 553"/>
              <a:gd name="T42" fmla="*/ 2147483647 w 486"/>
              <a:gd name="T43" fmla="*/ 2147483647 h 553"/>
              <a:gd name="T44" fmla="*/ 2147483647 w 486"/>
              <a:gd name="T45" fmla="*/ 2147483647 h 553"/>
              <a:gd name="T46" fmla="*/ 2147483647 w 486"/>
              <a:gd name="T47" fmla="*/ 2147483647 h 553"/>
              <a:gd name="T48" fmla="*/ 2147483647 w 486"/>
              <a:gd name="T49" fmla="*/ 2147483647 h 553"/>
              <a:gd name="T50" fmla="*/ 2147483647 w 486"/>
              <a:gd name="T51" fmla="*/ 2147483647 h 553"/>
              <a:gd name="T52" fmla="*/ 2147483647 w 486"/>
              <a:gd name="T53" fmla="*/ 2147483647 h 553"/>
              <a:gd name="T54" fmla="*/ 2147483647 w 486"/>
              <a:gd name="T55" fmla="*/ 2147483647 h 553"/>
              <a:gd name="T56" fmla="*/ 2147483647 w 486"/>
              <a:gd name="T57" fmla="*/ 2147483647 h 553"/>
              <a:gd name="T58" fmla="*/ 2147483647 w 486"/>
              <a:gd name="T59" fmla="*/ 2147483647 h 553"/>
              <a:gd name="T60" fmla="*/ 2147483647 w 486"/>
              <a:gd name="T61" fmla="*/ 2147483647 h 553"/>
              <a:gd name="T62" fmla="*/ 2147483647 w 486"/>
              <a:gd name="T63" fmla="*/ 2147483647 h 553"/>
              <a:gd name="T64" fmla="*/ 2147483647 w 486"/>
              <a:gd name="T65" fmla="*/ 2147483647 h 553"/>
              <a:gd name="T66" fmla="*/ 2147483647 w 486"/>
              <a:gd name="T67" fmla="*/ 2147483647 h 553"/>
              <a:gd name="T68" fmla="*/ 2147483647 w 486"/>
              <a:gd name="T69" fmla="*/ 2147483647 h 553"/>
              <a:gd name="T70" fmla="*/ 2147483647 w 486"/>
              <a:gd name="T71" fmla="*/ 2147483647 h 553"/>
              <a:gd name="T72" fmla="*/ 2147483647 w 486"/>
              <a:gd name="T73" fmla="*/ 2147483647 h 553"/>
              <a:gd name="T74" fmla="*/ 2147483647 w 486"/>
              <a:gd name="T75" fmla="*/ 2147483647 h 553"/>
              <a:gd name="T76" fmla="*/ 2147483647 w 486"/>
              <a:gd name="T77" fmla="*/ 2147483647 h 553"/>
              <a:gd name="T78" fmla="*/ 2147483647 w 486"/>
              <a:gd name="T79" fmla="*/ 2147483647 h 553"/>
              <a:gd name="T80" fmla="*/ 2147483647 w 486"/>
              <a:gd name="T81" fmla="*/ 2147483647 h 553"/>
              <a:gd name="T82" fmla="*/ 2147483647 w 486"/>
              <a:gd name="T83" fmla="*/ 2147483647 h 553"/>
              <a:gd name="T84" fmla="*/ 2147483647 w 486"/>
              <a:gd name="T85" fmla="*/ 2147483647 h 553"/>
              <a:gd name="T86" fmla="*/ 2147483647 w 486"/>
              <a:gd name="T87" fmla="*/ 2147483647 h 553"/>
              <a:gd name="T88" fmla="*/ 2147483647 w 486"/>
              <a:gd name="T89" fmla="*/ 2147483647 h 553"/>
              <a:gd name="T90" fmla="*/ 2147483647 w 486"/>
              <a:gd name="T91" fmla="*/ 2147483647 h 553"/>
              <a:gd name="T92" fmla="*/ 2147483647 w 486"/>
              <a:gd name="T93" fmla="*/ 2147483647 h 553"/>
              <a:gd name="T94" fmla="*/ 2147483647 w 486"/>
              <a:gd name="T95" fmla="*/ 2147483647 h 553"/>
              <a:gd name="T96" fmla="*/ 2147483647 w 486"/>
              <a:gd name="T97" fmla="*/ 2147483647 h 553"/>
              <a:gd name="T98" fmla="*/ 2147483647 w 486"/>
              <a:gd name="T99" fmla="*/ 2147483647 h 553"/>
              <a:gd name="T100" fmla="*/ 2147483647 w 486"/>
              <a:gd name="T101" fmla="*/ 2147483647 h 553"/>
              <a:gd name="T102" fmla="*/ 2147483647 w 486"/>
              <a:gd name="T103" fmla="*/ 2147483647 h 553"/>
              <a:gd name="T104" fmla="*/ 2147483647 w 486"/>
              <a:gd name="T105" fmla="*/ 2147483647 h 553"/>
              <a:gd name="T106" fmla="*/ 2147483647 w 486"/>
              <a:gd name="T107" fmla="*/ 2147483647 h 553"/>
              <a:gd name="T108" fmla="*/ 2147483647 w 486"/>
              <a:gd name="T109" fmla="*/ 2147483647 h 5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86"/>
              <a:gd name="T166" fmla="*/ 0 h 553"/>
              <a:gd name="T167" fmla="*/ 486 w 486"/>
              <a:gd name="T168" fmla="*/ 553 h 5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86" h="553">
                <a:moveTo>
                  <a:pt x="365" y="544"/>
                </a:moveTo>
                <a:lnTo>
                  <a:pt x="344" y="544"/>
                </a:lnTo>
                <a:lnTo>
                  <a:pt x="315" y="546"/>
                </a:lnTo>
                <a:lnTo>
                  <a:pt x="311" y="546"/>
                </a:lnTo>
                <a:lnTo>
                  <a:pt x="279" y="546"/>
                </a:lnTo>
                <a:lnTo>
                  <a:pt x="277" y="546"/>
                </a:lnTo>
                <a:lnTo>
                  <a:pt x="246" y="548"/>
                </a:lnTo>
                <a:lnTo>
                  <a:pt x="236" y="548"/>
                </a:lnTo>
                <a:lnTo>
                  <a:pt x="214" y="548"/>
                </a:lnTo>
                <a:lnTo>
                  <a:pt x="197" y="548"/>
                </a:lnTo>
                <a:lnTo>
                  <a:pt x="182" y="548"/>
                </a:lnTo>
                <a:lnTo>
                  <a:pt x="154" y="548"/>
                </a:lnTo>
                <a:lnTo>
                  <a:pt x="149" y="548"/>
                </a:lnTo>
                <a:lnTo>
                  <a:pt x="117" y="548"/>
                </a:lnTo>
                <a:lnTo>
                  <a:pt x="112" y="553"/>
                </a:lnTo>
                <a:lnTo>
                  <a:pt x="84" y="553"/>
                </a:lnTo>
                <a:lnTo>
                  <a:pt x="71" y="553"/>
                </a:lnTo>
                <a:lnTo>
                  <a:pt x="46" y="553"/>
                </a:lnTo>
                <a:lnTo>
                  <a:pt x="46" y="518"/>
                </a:lnTo>
                <a:lnTo>
                  <a:pt x="46" y="486"/>
                </a:lnTo>
                <a:lnTo>
                  <a:pt x="48" y="453"/>
                </a:lnTo>
                <a:lnTo>
                  <a:pt x="48" y="445"/>
                </a:lnTo>
                <a:lnTo>
                  <a:pt x="48" y="430"/>
                </a:lnTo>
                <a:lnTo>
                  <a:pt x="48" y="412"/>
                </a:lnTo>
                <a:lnTo>
                  <a:pt x="48" y="384"/>
                </a:lnTo>
                <a:lnTo>
                  <a:pt x="48" y="382"/>
                </a:lnTo>
                <a:lnTo>
                  <a:pt x="46" y="380"/>
                </a:lnTo>
                <a:lnTo>
                  <a:pt x="43" y="376"/>
                </a:lnTo>
                <a:lnTo>
                  <a:pt x="37" y="373"/>
                </a:lnTo>
                <a:lnTo>
                  <a:pt x="30" y="373"/>
                </a:lnTo>
                <a:lnTo>
                  <a:pt x="28" y="367"/>
                </a:lnTo>
                <a:lnTo>
                  <a:pt x="24" y="363"/>
                </a:lnTo>
                <a:lnTo>
                  <a:pt x="20" y="356"/>
                </a:lnTo>
                <a:lnTo>
                  <a:pt x="20" y="352"/>
                </a:lnTo>
                <a:lnTo>
                  <a:pt x="22" y="350"/>
                </a:lnTo>
                <a:lnTo>
                  <a:pt x="33" y="341"/>
                </a:lnTo>
                <a:lnTo>
                  <a:pt x="37" y="335"/>
                </a:lnTo>
                <a:lnTo>
                  <a:pt x="37" y="332"/>
                </a:lnTo>
                <a:lnTo>
                  <a:pt x="39" y="324"/>
                </a:lnTo>
                <a:lnTo>
                  <a:pt x="39" y="322"/>
                </a:lnTo>
                <a:lnTo>
                  <a:pt x="39" y="315"/>
                </a:lnTo>
                <a:lnTo>
                  <a:pt x="39" y="309"/>
                </a:lnTo>
                <a:lnTo>
                  <a:pt x="39" y="300"/>
                </a:lnTo>
                <a:lnTo>
                  <a:pt x="37" y="298"/>
                </a:lnTo>
                <a:lnTo>
                  <a:pt x="37" y="296"/>
                </a:lnTo>
                <a:lnTo>
                  <a:pt x="37" y="294"/>
                </a:lnTo>
                <a:lnTo>
                  <a:pt x="37" y="285"/>
                </a:lnTo>
                <a:lnTo>
                  <a:pt x="37" y="283"/>
                </a:lnTo>
                <a:lnTo>
                  <a:pt x="35" y="283"/>
                </a:lnTo>
                <a:lnTo>
                  <a:pt x="33" y="278"/>
                </a:lnTo>
                <a:lnTo>
                  <a:pt x="30" y="276"/>
                </a:lnTo>
                <a:lnTo>
                  <a:pt x="30" y="274"/>
                </a:lnTo>
                <a:lnTo>
                  <a:pt x="28" y="270"/>
                </a:lnTo>
                <a:lnTo>
                  <a:pt x="28" y="261"/>
                </a:lnTo>
                <a:lnTo>
                  <a:pt x="24" y="259"/>
                </a:lnTo>
                <a:lnTo>
                  <a:pt x="24" y="253"/>
                </a:lnTo>
                <a:lnTo>
                  <a:pt x="24" y="250"/>
                </a:lnTo>
                <a:lnTo>
                  <a:pt x="24" y="246"/>
                </a:lnTo>
                <a:lnTo>
                  <a:pt x="24" y="242"/>
                </a:lnTo>
                <a:lnTo>
                  <a:pt x="28" y="237"/>
                </a:lnTo>
                <a:lnTo>
                  <a:pt x="28" y="235"/>
                </a:lnTo>
                <a:lnTo>
                  <a:pt x="28" y="231"/>
                </a:lnTo>
                <a:lnTo>
                  <a:pt x="28" y="229"/>
                </a:lnTo>
                <a:lnTo>
                  <a:pt x="24" y="229"/>
                </a:lnTo>
                <a:lnTo>
                  <a:pt x="24" y="227"/>
                </a:lnTo>
                <a:lnTo>
                  <a:pt x="22" y="224"/>
                </a:lnTo>
                <a:lnTo>
                  <a:pt x="22" y="220"/>
                </a:lnTo>
                <a:lnTo>
                  <a:pt x="22" y="218"/>
                </a:lnTo>
                <a:lnTo>
                  <a:pt x="22" y="216"/>
                </a:lnTo>
                <a:lnTo>
                  <a:pt x="24" y="214"/>
                </a:lnTo>
                <a:lnTo>
                  <a:pt x="22" y="209"/>
                </a:lnTo>
                <a:lnTo>
                  <a:pt x="22" y="207"/>
                </a:lnTo>
                <a:lnTo>
                  <a:pt x="22" y="201"/>
                </a:lnTo>
                <a:lnTo>
                  <a:pt x="22" y="199"/>
                </a:lnTo>
                <a:lnTo>
                  <a:pt x="22" y="196"/>
                </a:lnTo>
                <a:lnTo>
                  <a:pt x="22" y="194"/>
                </a:lnTo>
                <a:lnTo>
                  <a:pt x="22" y="192"/>
                </a:lnTo>
                <a:lnTo>
                  <a:pt x="22" y="188"/>
                </a:lnTo>
                <a:lnTo>
                  <a:pt x="22" y="186"/>
                </a:lnTo>
                <a:lnTo>
                  <a:pt x="22" y="183"/>
                </a:lnTo>
                <a:lnTo>
                  <a:pt x="20" y="183"/>
                </a:lnTo>
                <a:lnTo>
                  <a:pt x="22" y="181"/>
                </a:lnTo>
                <a:lnTo>
                  <a:pt x="20" y="179"/>
                </a:lnTo>
                <a:lnTo>
                  <a:pt x="22" y="177"/>
                </a:lnTo>
                <a:lnTo>
                  <a:pt x="22" y="175"/>
                </a:lnTo>
                <a:lnTo>
                  <a:pt x="22" y="170"/>
                </a:lnTo>
                <a:lnTo>
                  <a:pt x="22" y="166"/>
                </a:lnTo>
                <a:lnTo>
                  <a:pt x="20" y="166"/>
                </a:lnTo>
                <a:lnTo>
                  <a:pt x="20" y="160"/>
                </a:lnTo>
                <a:lnTo>
                  <a:pt x="17" y="155"/>
                </a:lnTo>
                <a:lnTo>
                  <a:pt x="17" y="151"/>
                </a:lnTo>
                <a:lnTo>
                  <a:pt x="15" y="149"/>
                </a:lnTo>
                <a:lnTo>
                  <a:pt x="15" y="147"/>
                </a:lnTo>
                <a:lnTo>
                  <a:pt x="13" y="142"/>
                </a:lnTo>
                <a:lnTo>
                  <a:pt x="13" y="136"/>
                </a:lnTo>
                <a:lnTo>
                  <a:pt x="11" y="134"/>
                </a:lnTo>
                <a:lnTo>
                  <a:pt x="11" y="123"/>
                </a:lnTo>
                <a:lnTo>
                  <a:pt x="7" y="121"/>
                </a:lnTo>
                <a:lnTo>
                  <a:pt x="7" y="119"/>
                </a:lnTo>
                <a:lnTo>
                  <a:pt x="5" y="119"/>
                </a:lnTo>
                <a:lnTo>
                  <a:pt x="5" y="117"/>
                </a:lnTo>
                <a:lnTo>
                  <a:pt x="5" y="114"/>
                </a:lnTo>
                <a:lnTo>
                  <a:pt x="5" y="112"/>
                </a:lnTo>
                <a:lnTo>
                  <a:pt x="5" y="110"/>
                </a:lnTo>
                <a:lnTo>
                  <a:pt x="7" y="110"/>
                </a:lnTo>
                <a:lnTo>
                  <a:pt x="5" y="110"/>
                </a:lnTo>
                <a:lnTo>
                  <a:pt x="7" y="106"/>
                </a:lnTo>
                <a:lnTo>
                  <a:pt x="5" y="106"/>
                </a:lnTo>
                <a:lnTo>
                  <a:pt x="5" y="104"/>
                </a:lnTo>
                <a:lnTo>
                  <a:pt x="7" y="104"/>
                </a:lnTo>
                <a:lnTo>
                  <a:pt x="7" y="101"/>
                </a:lnTo>
                <a:lnTo>
                  <a:pt x="5" y="101"/>
                </a:lnTo>
                <a:lnTo>
                  <a:pt x="7" y="101"/>
                </a:lnTo>
                <a:lnTo>
                  <a:pt x="5" y="101"/>
                </a:lnTo>
                <a:lnTo>
                  <a:pt x="5" y="99"/>
                </a:lnTo>
                <a:lnTo>
                  <a:pt x="7" y="99"/>
                </a:lnTo>
                <a:lnTo>
                  <a:pt x="5" y="99"/>
                </a:lnTo>
                <a:lnTo>
                  <a:pt x="5" y="95"/>
                </a:lnTo>
                <a:lnTo>
                  <a:pt x="2" y="93"/>
                </a:lnTo>
                <a:lnTo>
                  <a:pt x="5" y="93"/>
                </a:lnTo>
                <a:lnTo>
                  <a:pt x="5" y="88"/>
                </a:lnTo>
                <a:lnTo>
                  <a:pt x="5" y="86"/>
                </a:lnTo>
                <a:lnTo>
                  <a:pt x="5" y="82"/>
                </a:lnTo>
                <a:lnTo>
                  <a:pt x="5" y="80"/>
                </a:lnTo>
                <a:lnTo>
                  <a:pt x="2" y="78"/>
                </a:lnTo>
                <a:lnTo>
                  <a:pt x="5" y="78"/>
                </a:lnTo>
                <a:lnTo>
                  <a:pt x="2" y="78"/>
                </a:lnTo>
                <a:lnTo>
                  <a:pt x="5" y="73"/>
                </a:lnTo>
                <a:lnTo>
                  <a:pt x="5" y="71"/>
                </a:lnTo>
                <a:lnTo>
                  <a:pt x="5" y="69"/>
                </a:lnTo>
                <a:lnTo>
                  <a:pt x="7" y="69"/>
                </a:lnTo>
                <a:lnTo>
                  <a:pt x="7" y="67"/>
                </a:lnTo>
                <a:lnTo>
                  <a:pt x="7" y="65"/>
                </a:lnTo>
                <a:lnTo>
                  <a:pt x="7" y="63"/>
                </a:lnTo>
                <a:lnTo>
                  <a:pt x="5" y="63"/>
                </a:lnTo>
                <a:lnTo>
                  <a:pt x="5" y="60"/>
                </a:lnTo>
                <a:lnTo>
                  <a:pt x="5" y="56"/>
                </a:lnTo>
                <a:lnTo>
                  <a:pt x="2" y="54"/>
                </a:lnTo>
                <a:lnTo>
                  <a:pt x="2" y="52"/>
                </a:lnTo>
                <a:lnTo>
                  <a:pt x="2" y="50"/>
                </a:lnTo>
                <a:lnTo>
                  <a:pt x="2" y="47"/>
                </a:lnTo>
                <a:lnTo>
                  <a:pt x="0" y="41"/>
                </a:lnTo>
                <a:lnTo>
                  <a:pt x="0" y="34"/>
                </a:lnTo>
                <a:lnTo>
                  <a:pt x="52" y="34"/>
                </a:lnTo>
                <a:lnTo>
                  <a:pt x="121" y="34"/>
                </a:lnTo>
                <a:lnTo>
                  <a:pt x="130" y="34"/>
                </a:lnTo>
                <a:lnTo>
                  <a:pt x="130" y="0"/>
                </a:lnTo>
                <a:lnTo>
                  <a:pt x="149" y="4"/>
                </a:lnTo>
                <a:lnTo>
                  <a:pt x="160" y="47"/>
                </a:lnTo>
                <a:lnTo>
                  <a:pt x="160" y="56"/>
                </a:lnTo>
                <a:lnTo>
                  <a:pt x="166" y="63"/>
                </a:lnTo>
                <a:lnTo>
                  <a:pt x="175" y="63"/>
                </a:lnTo>
                <a:lnTo>
                  <a:pt x="184" y="63"/>
                </a:lnTo>
                <a:lnTo>
                  <a:pt x="186" y="67"/>
                </a:lnTo>
                <a:lnTo>
                  <a:pt x="212" y="69"/>
                </a:lnTo>
                <a:lnTo>
                  <a:pt x="214" y="80"/>
                </a:lnTo>
                <a:lnTo>
                  <a:pt x="216" y="80"/>
                </a:lnTo>
                <a:lnTo>
                  <a:pt x="233" y="78"/>
                </a:lnTo>
                <a:lnTo>
                  <a:pt x="236" y="78"/>
                </a:lnTo>
                <a:lnTo>
                  <a:pt x="236" y="71"/>
                </a:lnTo>
                <a:lnTo>
                  <a:pt x="246" y="67"/>
                </a:lnTo>
                <a:lnTo>
                  <a:pt x="259" y="67"/>
                </a:lnTo>
                <a:lnTo>
                  <a:pt x="268" y="67"/>
                </a:lnTo>
                <a:lnTo>
                  <a:pt x="281" y="73"/>
                </a:lnTo>
                <a:lnTo>
                  <a:pt x="290" y="73"/>
                </a:lnTo>
                <a:lnTo>
                  <a:pt x="290" y="80"/>
                </a:lnTo>
                <a:lnTo>
                  <a:pt x="283" y="80"/>
                </a:lnTo>
                <a:lnTo>
                  <a:pt x="283" y="82"/>
                </a:lnTo>
                <a:lnTo>
                  <a:pt x="296" y="84"/>
                </a:lnTo>
                <a:lnTo>
                  <a:pt x="298" y="86"/>
                </a:lnTo>
                <a:lnTo>
                  <a:pt x="298" y="93"/>
                </a:lnTo>
                <a:lnTo>
                  <a:pt x="307" y="104"/>
                </a:lnTo>
                <a:lnTo>
                  <a:pt x="311" y="101"/>
                </a:lnTo>
                <a:lnTo>
                  <a:pt x="311" y="97"/>
                </a:lnTo>
                <a:lnTo>
                  <a:pt x="311" y="93"/>
                </a:lnTo>
                <a:lnTo>
                  <a:pt x="322" y="88"/>
                </a:lnTo>
                <a:lnTo>
                  <a:pt x="326" y="93"/>
                </a:lnTo>
                <a:lnTo>
                  <a:pt x="331" y="101"/>
                </a:lnTo>
                <a:lnTo>
                  <a:pt x="344" y="104"/>
                </a:lnTo>
                <a:lnTo>
                  <a:pt x="348" y="104"/>
                </a:lnTo>
                <a:lnTo>
                  <a:pt x="348" y="112"/>
                </a:lnTo>
                <a:lnTo>
                  <a:pt x="356" y="114"/>
                </a:lnTo>
                <a:lnTo>
                  <a:pt x="356" y="119"/>
                </a:lnTo>
                <a:lnTo>
                  <a:pt x="378" y="114"/>
                </a:lnTo>
                <a:lnTo>
                  <a:pt x="391" y="101"/>
                </a:lnTo>
                <a:lnTo>
                  <a:pt x="400" y="97"/>
                </a:lnTo>
                <a:lnTo>
                  <a:pt x="408" y="112"/>
                </a:lnTo>
                <a:lnTo>
                  <a:pt x="421" y="110"/>
                </a:lnTo>
                <a:lnTo>
                  <a:pt x="421" y="112"/>
                </a:lnTo>
                <a:lnTo>
                  <a:pt x="447" y="106"/>
                </a:lnTo>
                <a:lnTo>
                  <a:pt x="456" y="110"/>
                </a:lnTo>
                <a:lnTo>
                  <a:pt x="458" y="114"/>
                </a:lnTo>
                <a:lnTo>
                  <a:pt x="462" y="117"/>
                </a:lnTo>
                <a:lnTo>
                  <a:pt x="473" y="114"/>
                </a:lnTo>
                <a:lnTo>
                  <a:pt x="486" y="114"/>
                </a:lnTo>
                <a:lnTo>
                  <a:pt x="480" y="117"/>
                </a:lnTo>
                <a:lnTo>
                  <a:pt x="480" y="119"/>
                </a:lnTo>
                <a:lnTo>
                  <a:pt x="458" y="134"/>
                </a:lnTo>
                <a:lnTo>
                  <a:pt x="426" y="147"/>
                </a:lnTo>
                <a:lnTo>
                  <a:pt x="395" y="170"/>
                </a:lnTo>
                <a:lnTo>
                  <a:pt x="367" y="203"/>
                </a:lnTo>
                <a:lnTo>
                  <a:pt x="346" y="224"/>
                </a:lnTo>
                <a:lnTo>
                  <a:pt x="328" y="237"/>
                </a:lnTo>
                <a:lnTo>
                  <a:pt x="322" y="248"/>
                </a:lnTo>
                <a:lnTo>
                  <a:pt x="315" y="248"/>
                </a:lnTo>
                <a:lnTo>
                  <a:pt x="315" y="250"/>
                </a:lnTo>
                <a:lnTo>
                  <a:pt x="318" y="274"/>
                </a:lnTo>
                <a:lnTo>
                  <a:pt x="318" y="298"/>
                </a:lnTo>
                <a:lnTo>
                  <a:pt x="318" y="306"/>
                </a:lnTo>
                <a:lnTo>
                  <a:pt x="315" y="306"/>
                </a:lnTo>
                <a:lnTo>
                  <a:pt x="315" y="311"/>
                </a:lnTo>
                <a:lnTo>
                  <a:pt x="313" y="311"/>
                </a:lnTo>
                <a:lnTo>
                  <a:pt x="311" y="311"/>
                </a:lnTo>
                <a:lnTo>
                  <a:pt x="309" y="313"/>
                </a:lnTo>
                <a:lnTo>
                  <a:pt x="302" y="313"/>
                </a:lnTo>
                <a:lnTo>
                  <a:pt x="300" y="317"/>
                </a:lnTo>
                <a:lnTo>
                  <a:pt x="294" y="322"/>
                </a:lnTo>
                <a:lnTo>
                  <a:pt x="292" y="324"/>
                </a:lnTo>
                <a:lnTo>
                  <a:pt x="292" y="328"/>
                </a:lnTo>
                <a:lnTo>
                  <a:pt x="290" y="328"/>
                </a:lnTo>
                <a:lnTo>
                  <a:pt x="290" y="335"/>
                </a:lnTo>
                <a:lnTo>
                  <a:pt x="283" y="339"/>
                </a:lnTo>
                <a:lnTo>
                  <a:pt x="283" y="341"/>
                </a:lnTo>
                <a:lnTo>
                  <a:pt x="281" y="345"/>
                </a:lnTo>
                <a:lnTo>
                  <a:pt x="281" y="352"/>
                </a:lnTo>
                <a:lnTo>
                  <a:pt x="283" y="352"/>
                </a:lnTo>
                <a:lnTo>
                  <a:pt x="290" y="352"/>
                </a:lnTo>
                <a:lnTo>
                  <a:pt x="292" y="356"/>
                </a:lnTo>
                <a:lnTo>
                  <a:pt x="296" y="363"/>
                </a:lnTo>
                <a:lnTo>
                  <a:pt x="298" y="365"/>
                </a:lnTo>
                <a:lnTo>
                  <a:pt x="298" y="371"/>
                </a:lnTo>
                <a:lnTo>
                  <a:pt x="296" y="373"/>
                </a:lnTo>
                <a:lnTo>
                  <a:pt x="294" y="378"/>
                </a:lnTo>
                <a:lnTo>
                  <a:pt x="292" y="378"/>
                </a:lnTo>
                <a:lnTo>
                  <a:pt x="292" y="389"/>
                </a:lnTo>
                <a:lnTo>
                  <a:pt x="292" y="391"/>
                </a:lnTo>
                <a:lnTo>
                  <a:pt x="292" y="393"/>
                </a:lnTo>
                <a:lnTo>
                  <a:pt x="292" y="395"/>
                </a:lnTo>
                <a:lnTo>
                  <a:pt x="290" y="399"/>
                </a:lnTo>
                <a:lnTo>
                  <a:pt x="292" y="406"/>
                </a:lnTo>
                <a:lnTo>
                  <a:pt x="292" y="408"/>
                </a:lnTo>
                <a:lnTo>
                  <a:pt x="292" y="412"/>
                </a:lnTo>
                <a:lnTo>
                  <a:pt x="292" y="414"/>
                </a:lnTo>
                <a:lnTo>
                  <a:pt x="292" y="421"/>
                </a:lnTo>
                <a:lnTo>
                  <a:pt x="292" y="423"/>
                </a:lnTo>
                <a:lnTo>
                  <a:pt x="290" y="430"/>
                </a:lnTo>
                <a:lnTo>
                  <a:pt x="294" y="432"/>
                </a:lnTo>
                <a:lnTo>
                  <a:pt x="300" y="440"/>
                </a:lnTo>
                <a:lnTo>
                  <a:pt x="302" y="442"/>
                </a:lnTo>
                <a:lnTo>
                  <a:pt x="309" y="445"/>
                </a:lnTo>
                <a:lnTo>
                  <a:pt x="322" y="447"/>
                </a:lnTo>
                <a:lnTo>
                  <a:pt x="324" y="447"/>
                </a:lnTo>
                <a:lnTo>
                  <a:pt x="324" y="453"/>
                </a:lnTo>
                <a:lnTo>
                  <a:pt x="328" y="458"/>
                </a:lnTo>
                <a:lnTo>
                  <a:pt x="331" y="458"/>
                </a:lnTo>
                <a:lnTo>
                  <a:pt x="339" y="460"/>
                </a:lnTo>
                <a:lnTo>
                  <a:pt x="346" y="464"/>
                </a:lnTo>
                <a:lnTo>
                  <a:pt x="348" y="466"/>
                </a:lnTo>
                <a:lnTo>
                  <a:pt x="350" y="466"/>
                </a:lnTo>
                <a:lnTo>
                  <a:pt x="350" y="473"/>
                </a:lnTo>
                <a:lnTo>
                  <a:pt x="354" y="475"/>
                </a:lnTo>
                <a:lnTo>
                  <a:pt x="356" y="479"/>
                </a:lnTo>
                <a:lnTo>
                  <a:pt x="361" y="486"/>
                </a:lnTo>
                <a:lnTo>
                  <a:pt x="367" y="492"/>
                </a:lnTo>
                <a:lnTo>
                  <a:pt x="374" y="492"/>
                </a:lnTo>
                <a:lnTo>
                  <a:pt x="376" y="494"/>
                </a:lnTo>
                <a:lnTo>
                  <a:pt x="378" y="494"/>
                </a:lnTo>
                <a:lnTo>
                  <a:pt x="385" y="496"/>
                </a:lnTo>
                <a:lnTo>
                  <a:pt x="389" y="503"/>
                </a:lnTo>
                <a:lnTo>
                  <a:pt x="393" y="509"/>
                </a:lnTo>
                <a:lnTo>
                  <a:pt x="397" y="514"/>
                </a:lnTo>
                <a:lnTo>
                  <a:pt x="397" y="522"/>
                </a:lnTo>
                <a:lnTo>
                  <a:pt x="397" y="527"/>
                </a:lnTo>
                <a:lnTo>
                  <a:pt x="397" y="535"/>
                </a:lnTo>
                <a:lnTo>
                  <a:pt x="397" y="537"/>
                </a:lnTo>
                <a:lnTo>
                  <a:pt x="400" y="542"/>
                </a:lnTo>
                <a:lnTo>
                  <a:pt x="374" y="544"/>
                </a:lnTo>
                <a:lnTo>
                  <a:pt x="365" y="544"/>
                </a:lnTo>
                <a:close/>
              </a:path>
            </a:pathLst>
          </a:custGeom>
          <a:noFill/>
          <a:ln w="9525">
            <a:noFill/>
            <a:round/>
            <a:headEnd/>
            <a:tailEnd/>
          </a:ln>
        </p:spPr>
        <p:txBody>
          <a:bodyPr/>
          <a:lstStyle/>
          <a:p>
            <a:endParaRPr lang="en-US" dirty="0">
              <a:solidFill>
                <a:prstClr val="black"/>
              </a:solidFill>
            </a:endParaRPr>
          </a:p>
        </p:txBody>
      </p:sp>
      <p:sp>
        <p:nvSpPr>
          <p:cNvPr id="197" name="Freeform 30">
            <a:extLst>
              <a:ext uri="{FF2B5EF4-FFF2-40B4-BE49-F238E27FC236}">
                <a16:creationId xmlns:a16="http://schemas.microsoft.com/office/drawing/2014/main" id="{AC8C8608-A094-4B83-8B1A-6E70121108AF}"/>
              </a:ext>
            </a:extLst>
          </p:cNvPr>
          <p:cNvSpPr>
            <a:spLocks/>
          </p:cNvSpPr>
          <p:nvPr>
            <p:custDataLst>
              <p:tags r:id="rId21"/>
            </p:custDataLst>
          </p:nvPr>
        </p:nvSpPr>
        <p:spPr bwMode="auto">
          <a:xfrm>
            <a:off x="5949494" y="1766269"/>
            <a:ext cx="984208" cy="1195420"/>
          </a:xfrm>
          <a:custGeom>
            <a:avLst/>
            <a:gdLst>
              <a:gd name="T0" fmla="*/ 2147483647 w 486"/>
              <a:gd name="T1" fmla="*/ 2147483647 h 553"/>
              <a:gd name="T2" fmla="*/ 2147483647 w 486"/>
              <a:gd name="T3" fmla="*/ 2147483647 h 553"/>
              <a:gd name="T4" fmla="*/ 2147483647 w 486"/>
              <a:gd name="T5" fmla="*/ 2147483647 h 553"/>
              <a:gd name="T6" fmla="*/ 2147483647 w 486"/>
              <a:gd name="T7" fmla="*/ 2147483647 h 553"/>
              <a:gd name="T8" fmla="*/ 2147483647 w 486"/>
              <a:gd name="T9" fmla="*/ 2147483647 h 553"/>
              <a:gd name="T10" fmla="*/ 2147483647 w 486"/>
              <a:gd name="T11" fmla="*/ 2147483647 h 553"/>
              <a:gd name="T12" fmla="*/ 2147483647 w 486"/>
              <a:gd name="T13" fmla="*/ 2147483647 h 553"/>
              <a:gd name="T14" fmla="*/ 2147483647 w 486"/>
              <a:gd name="T15" fmla="*/ 2147483647 h 553"/>
              <a:gd name="T16" fmla="*/ 2147483647 w 486"/>
              <a:gd name="T17" fmla="*/ 2147483647 h 553"/>
              <a:gd name="T18" fmla="*/ 2147483647 w 486"/>
              <a:gd name="T19" fmla="*/ 2147483647 h 553"/>
              <a:gd name="T20" fmla="*/ 2147483647 w 486"/>
              <a:gd name="T21" fmla="*/ 2147483647 h 553"/>
              <a:gd name="T22" fmla="*/ 2147483647 w 486"/>
              <a:gd name="T23" fmla="*/ 2147483647 h 553"/>
              <a:gd name="T24" fmla="*/ 2147483647 w 486"/>
              <a:gd name="T25" fmla="*/ 2147483647 h 553"/>
              <a:gd name="T26" fmla="*/ 2147483647 w 486"/>
              <a:gd name="T27" fmla="*/ 2147483647 h 553"/>
              <a:gd name="T28" fmla="*/ 2147483647 w 486"/>
              <a:gd name="T29" fmla="*/ 2147483647 h 553"/>
              <a:gd name="T30" fmla="*/ 2147483647 w 486"/>
              <a:gd name="T31" fmla="*/ 2147483647 h 553"/>
              <a:gd name="T32" fmla="*/ 2147483647 w 486"/>
              <a:gd name="T33" fmla="*/ 2147483647 h 553"/>
              <a:gd name="T34" fmla="*/ 2147483647 w 486"/>
              <a:gd name="T35" fmla="*/ 2147483647 h 553"/>
              <a:gd name="T36" fmla="*/ 2147483647 w 486"/>
              <a:gd name="T37" fmla="*/ 2147483647 h 553"/>
              <a:gd name="T38" fmla="*/ 2147483647 w 486"/>
              <a:gd name="T39" fmla="*/ 2147483647 h 553"/>
              <a:gd name="T40" fmla="*/ 2147483647 w 486"/>
              <a:gd name="T41" fmla="*/ 2147483647 h 553"/>
              <a:gd name="T42" fmla="*/ 2147483647 w 486"/>
              <a:gd name="T43" fmla="*/ 2147483647 h 553"/>
              <a:gd name="T44" fmla="*/ 2147483647 w 486"/>
              <a:gd name="T45" fmla="*/ 2147483647 h 553"/>
              <a:gd name="T46" fmla="*/ 2147483647 w 486"/>
              <a:gd name="T47" fmla="*/ 2147483647 h 553"/>
              <a:gd name="T48" fmla="*/ 2147483647 w 486"/>
              <a:gd name="T49" fmla="*/ 2147483647 h 553"/>
              <a:gd name="T50" fmla="*/ 2147483647 w 486"/>
              <a:gd name="T51" fmla="*/ 2147483647 h 553"/>
              <a:gd name="T52" fmla="*/ 2147483647 w 486"/>
              <a:gd name="T53" fmla="*/ 2147483647 h 553"/>
              <a:gd name="T54" fmla="*/ 2147483647 w 486"/>
              <a:gd name="T55" fmla="*/ 2147483647 h 553"/>
              <a:gd name="T56" fmla="*/ 2147483647 w 486"/>
              <a:gd name="T57" fmla="*/ 2147483647 h 553"/>
              <a:gd name="T58" fmla="*/ 2147483647 w 486"/>
              <a:gd name="T59" fmla="*/ 2147483647 h 553"/>
              <a:gd name="T60" fmla="*/ 2147483647 w 486"/>
              <a:gd name="T61" fmla="*/ 2147483647 h 553"/>
              <a:gd name="T62" fmla="*/ 2147483647 w 486"/>
              <a:gd name="T63" fmla="*/ 2147483647 h 553"/>
              <a:gd name="T64" fmla="*/ 2147483647 w 486"/>
              <a:gd name="T65" fmla="*/ 2147483647 h 553"/>
              <a:gd name="T66" fmla="*/ 2147483647 w 486"/>
              <a:gd name="T67" fmla="*/ 2147483647 h 553"/>
              <a:gd name="T68" fmla="*/ 2147483647 w 486"/>
              <a:gd name="T69" fmla="*/ 2147483647 h 553"/>
              <a:gd name="T70" fmla="*/ 2147483647 w 486"/>
              <a:gd name="T71" fmla="*/ 2147483647 h 553"/>
              <a:gd name="T72" fmla="*/ 2147483647 w 486"/>
              <a:gd name="T73" fmla="*/ 2147483647 h 553"/>
              <a:gd name="T74" fmla="*/ 2147483647 w 486"/>
              <a:gd name="T75" fmla="*/ 2147483647 h 553"/>
              <a:gd name="T76" fmla="*/ 2147483647 w 486"/>
              <a:gd name="T77" fmla="*/ 2147483647 h 553"/>
              <a:gd name="T78" fmla="*/ 2147483647 w 486"/>
              <a:gd name="T79" fmla="*/ 2147483647 h 553"/>
              <a:gd name="T80" fmla="*/ 2147483647 w 486"/>
              <a:gd name="T81" fmla="*/ 2147483647 h 553"/>
              <a:gd name="T82" fmla="*/ 2147483647 w 486"/>
              <a:gd name="T83" fmla="*/ 2147483647 h 553"/>
              <a:gd name="T84" fmla="*/ 2147483647 w 486"/>
              <a:gd name="T85" fmla="*/ 2147483647 h 553"/>
              <a:gd name="T86" fmla="*/ 2147483647 w 486"/>
              <a:gd name="T87" fmla="*/ 2147483647 h 553"/>
              <a:gd name="T88" fmla="*/ 2147483647 w 486"/>
              <a:gd name="T89" fmla="*/ 2147483647 h 553"/>
              <a:gd name="T90" fmla="*/ 2147483647 w 486"/>
              <a:gd name="T91" fmla="*/ 2147483647 h 553"/>
              <a:gd name="T92" fmla="*/ 2147483647 w 486"/>
              <a:gd name="T93" fmla="*/ 2147483647 h 553"/>
              <a:gd name="T94" fmla="*/ 2147483647 w 486"/>
              <a:gd name="T95" fmla="*/ 2147483647 h 553"/>
              <a:gd name="T96" fmla="*/ 2147483647 w 486"/>
              <a:gd name="T97" fmla="*/ 2147483647 h 553"/>
              <a:gd name="T98" fmla="*/ 2147483647 w 486"/>
              <a:gd name="T99" fmla="*/ 2147483647 h 553"/>
              <a:gd name="T100" fmla="*/ 2147483647 w 486"/>
              <a:gd name="T101" fmla="*/ 2147483647 h 553"/>
              <a:gd name="T102" fmla="*/ 2147483647 w 486"/>
              <a:gd name="T103" fmla="*/ 2147483647 h 553"/>
              <a:gd name="T104" fmla="*/ 2147483647 w 486"/>
              <a:gd name="T105" fmla="*/ 2147483647 h 553"/>
              <a:gd name="T106" fmla="*/ 2147483647 w 486"/>
              <a:gd name="T107" fmla="*/ 2147483647 h 553"/>
              <a:gd name="T108" fmla="*/ 2147483647 w 486"/>
              <a:gd name="T109" fmla="*/ 2147483647 h 5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86"/>
              <a:gd name="T166" fmla="*/ 0 h 553"/>
              <a:gd name="T167" fmla="*/ 486 w 486"/>
              <a:gd name="T168" fmla="*/ 553 h 5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86" h="553">
                <a:moveTo>
                  <a:pt x="365" y="544"/>
                </a:moveTo>
                <a:lnTo>
                  <a:pt x="344" y="544"/>
                </a:lnTo>
                <a:lnTo>
                  <a:pt x="315" y="546"/>
                </a:lnTo>
                <a:lnTo>
                  <a:pt x="311" y="546"/>
                </a:lnTo>
                <a:lnTo>
                  <a:pt x="279" y="546"/>
                </a:lnTo>
                <a:lnTo>
                  <a:pt x="277" y="546"/>
                </a:lnTo>
                <a:lnTo>
                  <a:pt x="246" y="548"/>
                </a:lnTo>
                <a:lnTo>
                  <a:pt x="236" y="548"/>
                </a:lnTo>
                <a:lnTo>
                  <a:pt x="214" y="548"/>
                </a:lnTo>
                <a:lnTo>
                  <a:pt x="197" y="548"/>
                </a:lnTo>
                <a:lnTo>
                  <a:pt x="182" y="548"/>
                </a:lnTo>
                <a:lnTo>
                  <a:pt x="154" y="548"/>
                </a:lnTo>
                <a:lnTo>
                  <a:pt x="149" y="548"/>
                </a:lnTo>
                <a:lnTo>
                  <a:pt x="117" y="548"/>
                </a:lnTo>
                <a:lnTo>
                  <a:pt x="112" y="553"/>
                </a:lnTo>
                <a:lnTo>
                  <a:pt x="84" y="553"/>
                </a:lnTo>
                <a:lnTo>
                  <a:pt x="71" y="553"/>
                </a:lnTo>
                <a:lnTo>
                  <a:pt x="46" y="553"/>
                </a:lnTo>
                <a:lnTo>
                  <a:pt x="46" y="518"/>
                </a:lnTo>
                <a:lnTo>
                  <a:pt x="46" y="486"/>
                </a:lnTo>
                <a:lnTo>
                  <a:pt x="48" y="453"/>
                </a:lnTo>
                <a:lnTo>
                  <a:pt x="48" y="445"/>
                </a:lnTo>
                <a:lnTo>
                  <a:pt x="48" y="430"/>
                </a:lnTo>
                <a:lnTo>
                  <a:pt x="48" y="412"/>
                </a:lnTo>
                <a:lnTo>
                  <a:pt x="48" y="384"/>
                </a:lnTo>
                <a:lnTo>
                  <a:pt x="48" y="382"/>
                </a:lnTo>
                <a:lnTo>
                  <a:pt x="46" y="380"/>
                </a:lnTo>
                <a:lnTo>
                  <a:pt x="43" y="376"/>
                </a:lnTo>
                <a:lnTo>
                  <a:pt x="37" y="373"/>
                </a:lnTo>
                <a:lnTo>
                  <a:pt x="30" y="373"/>
                </a:lnTo>
                <a:lnTo>
                  <a:pt x="28" y="367"/>
                </a:lnTo>
                <a:lnTo>
                  <a:pt x="24" y="363"/>
                </a:lnTo>
                <a:lnTo>
                  <a:pt x="20" y="356"/>
                </a:lnTo>
                <a:lnTo>
                  <a:pt x="20" y="352"/>
                </a:lnTo>
                <a:lnTo>
                  <a:pt x="22" y="350"/>
                </a:lnTo>
                <a:lnTo>
                  <a:pt x="33" y="341"/>
                </a:lnTo>
                <a:lnTo>
                  <a:pt x="37" y="335"/>
                </a:lnTo>
                <a:lnTo>
                  <a:pt x="37" y="332"/>
                </a:lnTo>
                <a:lnTo>
                  <a:pt x="39" y="324"/>
                </a:lnTo>
                <a:lnTo>
                  <a:pt x="39" y="322"/>
                </a:lnTo>
                <a:lnTo>
                  <a:pt x="39" y="315"/>
                </a:lnTo>
                <a:lnTo>
                  <a:pt x="39" y="309"/>
                </a:lnTo>
                <a:lnTo>
                  <a:pt x="39" y="300"/>
                </a:lnTo>
                <a:lnTo>
                  <a:pt x="37" y="298"/>
                </a:lnTo>
                <a:lnTo>
                  <a:pt x="37" y="296"/>
                </a:lnTo>
                <a:lnTo>
                  <a:pt x="37" y="294"/>
                </a:lnTo>
                <a:lnTo>
                  <a:pt x="37" y="285"/>
                </a:lnTo>
                <a:lnTo>
                  <a:pt x="37" y="283"/>
                </a:lnTo>
                <a:lnTo>
                  <a:pt x="35" y="283"/>
                </a:lnTo>
                <a:lnTo>
                  <a:pt x="33" y="278"/>
                </a:lnTo>
                <a:lnTo>
                  <a:pt x="30" y="276"/>
                </a:lnTo>
                <a:lnTo>
                  <a:pt x="30" y="274"/>
                </a:lnTo>
                <a:lnTo>
                  <a:pt x="28" y="270"/>
                </a:lnTo>
                <a:lnTo>
                  <a:pt x="28" y="261"/>
                </a:lnTo>
                <a:lnTo>
                  <a:pt x="24" y="259"/>
                </a:lnTo>
                <a:lnTo>
                  <a:pt x="24" y="253"/>
                </a:lnTo>
                <a:lnTo>
                  <a:pt x="24" y="250"/>
                </a:lnTo>
                <a:lnTo>
                  <a:pt x="24" y="246"/>
                </a:lnTo>
                <a:lnTo>
                  <a:pt x="24" y="242"/>
                </a:lnTo>
                <a:lnTo>
                  <a:pt x="28" y="237"/>
                </a:lnTo>
                <a:lnTo>
                  <a:pt x="28" y="235"/>
                </a:lnTo>
                <a:lnTo>
                  <a:pt x="28" y="231"/>
                </a:lnTo>
                <a:lnTo>
                  <a:pt x="28" y="229"/>
                </a:lnTo>
                <a:lnTo>
                  <a:pt x="24" y="229"/>
                </a:lnTo>
                <a:lnTo>
                  <a:pt x="24" y="227"/>
                </a:lnTo>
                <a:lnTo>
                  <a:pt x="22" y="224"/>
                </a:lnTo>
                <a:lnTo>
                  <a:pt x="22" y="220"/>
                </a:lnTo>
                <a:lnTo>
                  <a:pt x="22" y="218"/>
                </a:lnTo>
                <a:lnTo>
                  <a:pt x="22" y="216"/>
                </a:lnTo>
                <a:lnTo>
                  <a:pt x="24" y="214"/>
                </a:lnTo>
                <a:lnTo>
                  <a:pt x="22" y="209"/>
                </a:lnTo>
                <a:lnTo>
                  <a:pt x="22" y="207"/>
                </a:lnTo>
                <a:lnTo>
                  <a:pt x="22" y="201"/>
                </a:lnTo>
                <a:lnTo>
                  <a:pt x="22" y="199"/>
                </a:lnTo>
                <a:lnTo>
                  <a:pt x="22" y="196"/>
                </a:lnTo>
                <a:lnTo>
                  <a:pt x="22" y="194"/>
                </a:lnTo>
                <a:lnTo>
                  <a:pt x="22" y="192"/>
                </a:lnTo>
                <a:lnTo>
                  <a:pt x="22" y="188"/>
                </a:lnTo>
                <a:lnTo>
                  <a:pt x="22" y="186"/>
                </a:lnTo>
                <a:lnTo>
                  <a:pt x="22" y="183"/>
                </a:lnTo>
                <a:lnTo>
                  <a:pt x="20" y="183"/>
                </a:lnTo>
                <a:lnTo>
                  <a:pt x="22" y="181"/>
                </a:lnTo>
                <a:lnTo>
                  <a:pt x="20" y="179"/>
                </a:lnTo>
                <a:lnTo>
                  <a:pt x="22" y="177"/>
                </a:lnTo>
                <a:lnTo>
                  <a:pt x="22" y="175"/>
                </a:lnTo>
                <a:lnTo>
                  <a:pt x="22" y="170"/>
                </a:lnTo>
                <a:lnTo>
                  <a:pt x="22" y="166"/>
                </a:lnTo>
                <a:lnTo>
                  <a:pt x="20" y="166"/>
                </a:lnTo>
                <a:lnTo>
                  <a:pt x="20" y="160"/>
                </a:lnTo>
                <a:lnTo>
                  <a:pt x="17" y="155"/>
                </a:lnTo>
                <a:lnTo>
                  <a:pt x="17" y="151"/>
                </a:lnTo>
                <a:lnTo>
                  <a:pt x="15" y="149"/>
                </a:lnTo>
                <a:lnTo>
                  <a:pt x="15" y="147"/>
                </a:lnTo>
                <a:lnTo>
                  <a:pt x="13" y="142"/>
                </a:lnTo>
                <a:lnTo>
                  <a:pt x="13" y="136"/>
                </a:lnTo>
                <a:lnTo>
                  <a:pt x="11" y="134"/>
                </a:lnTo>
                <a:lnTo>
                  <a:pt x="11" y="123"/>
                </a:lnTo>
                <a:lnTo>
                  <a:pt x="7" y="121"/>
                </a:lnTo>
                <a:lnTo>
                  <a:pt x="7" y="119"/>
                </a:lnTo>
                <a:lnTo>
                  <a:pt x="5" y="119"/>
                </a:lnTo>
                <a:lnTo>
                  <a:pt x="5" y="117"/>
                </a:lnTo>
                <a:lnTo>
                  <a:pt x="5" y="114"/>
                </a:lnTo>
                <a:lnTo>
                  <a:pt x="5" y="112"/>
                </a:lnTo>
                <a:lnTo>
                  <a:pt x="5" y="110"/>
                </a:lnTo>
                <a:lnTo>
                  <a:pt x="7" y="110"/>
                </a:lnTo>
                <a:lnTo>
                  <a:pt x="5" y="110"/>
                </a:lnTo>
                <a:lnTo>
                  <a:pt x="7" y="106"/>
                </a:lnTo>
                <a:lnTo>
                  <a:pt x="5" y="106"/>
                </a:lnTo>
                <a:lnTo>
                  <a:pt x="5" y="104"/>
                </a:lnTo>
                <a:lnTo>
                  <a:pt x="7" y="104"/>
                </a:lnTo>
                <a:lnTo>
                  <a:pt x="7" y="101"/>
                </a:lnTo>
                <a:lnTo>
                  <a:pt x="5" y="101"/>
                </a:lnTo>
                <a:lnTo>
                  <a:pt x="7" y="101"/>
                </a:lnTo>
                <a:lnTo>
                  <a:pt x="5" y="101"/>
                </a:lnTo>
                <a:lnTo>
                  <a:pt x="5" y="99"/>
                </a:lnTo>
                <a:lnTo>
                  <a:pt x="7" y="99"/>
                </a:lnTo>
                <a:lnTo>
                  <a:pt x="5" y="99"/>
                </a:lnTo>
                <a:lnTo>
                  <a:pt x="5" y="95"/>
                </a:lnTo>
                <a:lnTo>
                  <a:pt x="2" y="93"/>
                </a:lnTo>
                <a:lnTo>
                  <a:pt x="5" y="93"/>
                </a:lnTo>
                <a:lnTo>
                  <a:pt x="5" y="88"/>
                </a:lnTo>
                <a:lnTo>
                  <a:pt x="5" y="86"/>
                </a:lnTo>
                <a:lnTo>
                  <a:pt x="5" y="82"/>
                </a:lnTo>
                <a:lnTo>
                  <a:pt x="5" y="80"/>
                </a:lnTo>
                <a:lnTo>
                  <a:pt x="2" y="78"/>
                </a:lnTo>
                <a:lnTo>
                  <a:pt x="5" y="78"/>
                </a:lnTo>
                <a:lnTo>
                  <a:pt x="2" y="78"/>
                </a:lnTo>
                <a:lnTo>
                  <a:pt x="5" y="73"/>
                </a:lnTo>
                <a:lnTo>
                  <a:pt x="5" y="71"/>
                </a:lnTo>
                <a:lnTo>
                  <a:pt x="5" y="69"/>
                </a:lnTo>
                <a:lnTo>
                  <a:pt x="7" y="69"/>
                </a:lnTo>
                <a:lnTo>
                  <a:pt x="7" y="67"/>
                </a:lnTo>
                <a:lnTo>
                  <a:pt x="7" y="65"/>
                </a:lnTo>
                <a:lnTo>
                  <a:pt x="7" y="63"/>
                </a:lnTo>
                <a:lnTo>
                  <a:pt x="5" y="63"/>
                </a:lnTo>
                <a:lnTo>
                  <a:pt x="5" y="60"/>
                </a:lnTo>
                <a:lnTo>
                  <a:pt x="5" y="56"/>
                </a:lnTo>
                <a:lnTo>
                  <a:pt x="2" y="54"/>
                </a:lnTo>
                <a:lnTo>
                  <a:pt x="2" y="52"/>
                </a:lnTo>
                <a:lnTo>
                  <a:pt x="2" y="50"/>
                </a:lnTo>
                <a:lnTo>
                  <a:pt x="2" y="47"/>
                </a:lnTo>
                <a:lnTo>
                  <a:pt x="0" y="41"/>
                </a:lnTo>
                <a:lnTo>
                  <a:pt x="0" y="34"/>
                </a:lnTo>
                <a:lnTo>
                  <a:pt x="52" y="34"/>
                </a:lnTo>
                <a:lnTo>
                  <a:pt x="121" y="34"/>
                </a:lnTo>
                <a:lnTo>
                  <a:pt x="130" y="34"/>
                </a:lnTo>
                <a:lnTo>
                  <a:pt x="130" y="0"/>
                </a:lnTo>
                <a:lnTo>
                  <a:pt x="149" y="4"/>
                </a:lnTo>
                <a:lnTo>
                  <a:pt x="160" y="47"/>
                </a:lnTo>
                <a:lnTo>
                  <a:pt x="160" y="56"/>
                </a:lnTo>
                <a:lnTo>
                  <a:pt x="166" y="63"/>
                </a:lnTo>
                <a:lnTo>
                  <a:pt x="175" y="63"/>
                </a:lnTo>
                <a:lnTo>
                  <a:pt x="184" y="63"/>
                </a:lnTo>
                <a:lnTo>
                  <a:pt x="186" y="67"/>
                </a:lnTo>
                <a:lnTo>
                  <a:pt x="212" y="69"/>
                </a:lnTo>
                <a:lnTo>
                  <a:pt x="214" y="80"/>
                </a:lnTo>
                <a:lnTo>
                  <a:pt x="216" y="80"/>
                </a:lnTo>
                <a:lnTo>
                  <a:pt x="233" y="78"/>
                </a:lnTo>
                <a:lnTo>
                  <a:pt x="236" y="78"/>
                </a:lnTo>
                <a:lnTo>
                  <a:pt x="236" y="71"/>
                </a:lnTo>
                <a:lnTo>
                  <a:pt x="246" y="67"/>
                </a:lnTo>
                <a:lnTo>
                  <a:pt x="259" y="67"/>
                </a:lnTo>
                <a:lnTo>
                  <a:pt x="268" y="67"/>
                </a:lnTo>
                <a:lnTo>
                  <a:pt x="281" y="73"/>
                </a:lnTo>
                <a:lnTo>
                  <a:pt x="290" y="73"/>
                </a:lnTo>
                <a:lnTo>
                  <a:pt x="290" y="80"/>
                </a:lnTo>
                <a:lnTo>
                  <a:pt x="283" y="80"/>
                </a:lnTo>
                <a:lnTo>
                  <a:pt x="283" y="82"/>
                </a:lnTo>
                <a:lnTo>
                  <a:pt x="296" y="84"/>
                </a:lnTo>
                <a:lnTo>
                  <a:pt x="298" y="86"/>
                </a:lnTo>
                <a:lnTo>
                  <a:pt x="298" y="93"/>
                </a:lnTo>
                <a:lnTo>
                  <a:pt x="307" y="104"/>
                </a:lnTo>
                <a:lnTo>
                  <a:pt x="311" y="101"/>
                </a:lnTo>
                <a:lnTo>
                  <a:pt x="311" y="97"/>
                </a:lnTo>
                <a:lnTo>
                  <a:pt x="311" y="93"/>
                </a:lnTo>
                <a:lnTo>
                  <a:pt x="322" y="88"/>
                </a:lnTo>
                <a:lnTo>
                  <a:pt x="326" y="93"/>
                </a:lnTo>
                <a:lnTo>
                  <a:pt x="331" y="101"/>
                </a:lnTo>
                <a:lnTo>
                  <a:pt x="344" y="104"/>
                </a:lnTo>
                <a:lnTo>
                  <a:pt x="348" y="104"/>
                </a:lnTo>
                <a:lnTo>
                  <a:pt x="348" y="112"/>
                </a:lnTo>
                <a:lnTo>
                  <a:pt x="356" y="114"/>
                </a:lnTo>
                <a:lnTo>
                  <a:pt x="356" y="119"/>
                </a:lnTo>
                <a:lnTo>
                  <a:pt x="378" y="114"/>
                </a:lnTo>
                <a:lnTo>
                  <a:pt x="391" y="101"/>
                </a:lnTo>
                <a:lnTo>
                  <a:pt x="400" y="97"/>
                </a:lnTo>
                <a:lnTo>
                  <a:pt x="408" y="112"/>
                </a:lnTo>
                <a:lnTo>
                  <a:pt x="421" y="110"/>
                </a:lnTo>
                <a:lnTo>
                  <a:pt x="421" y="112"/>
                </a:lnTo>
                <a:lnTo>
                  <a:pt x="447" y="106"/>
                </a:lnTo>
                <a:lnTo>
                  <a:pt x="456" y="110"/>
                </a:lnTo>
                <a:lnTo>
                  <a:pt x="458" y="114"/>
                </a:lnTo>
                <a:lnTo>
                  <a:pt x="462" y="117"/>
                </a:lnTo>
                <a:lnTo>
                  <a:pt x="473" y="114"/>
                </a:lnTo>
                <a:lnTo>
                  <a:pt x="486" y="114"/>
                </a:lnTo>
                <a:lnTo>
                  <a:pt x="480" y="117"/>
                </a:lnTo>
                <a:lnTo>
                  <a:pt x="480" y="119"/>
                </a:lnTo>
                <a:lnTo>
                  <a:pt x="458" y="134"/>
                </a:lnTo>
                <a:lnTo>
                  <a:pt x="426" y="147"/>
                </a:lnTo>
                <a:lnTo>
                  <a:pt x="395" y="170"/>
                </a:lnTo>
                <a:lnTo>
                  <a:pt x="367" y="203"/>
                </a:lnTo>
                <a:lnTo>
                  <a:pt x="346" y="224"/>
                </a:lnTo>
                <a:lnTo>
                  <a:pt x="328" y="237"/>
                </a:lnTo>
                <a:lnTo>
                  <a:pt x="322" y="248"/>
                </a:lnTo>
                <a:lnTo>
                  <a:pt x="315" y="248"/>
                </a:lnTo>
                <a:lnTo>
                  <a:pt x="315" y="250"/>
                </a:lnTo>
                <a:lnTo>
                  <a:pt x="318" y="274"/>
                </a:lnTo>
                <a:lnTo>
                  <a:pt x="318" y="298"/>
                </a:lnTo>
                <a:lnTo>
                  <a:pt x="318" y="306"/>
                </a:lnTo>
                <a:lnTo>
                  <a:pt x="315" y="306"/>
                </a:lnTo>
                <a:lnTo>
                  <a:pt x="315" y="311"/>
                </a:lnTo>
                <a:lnTo>
                  <a:pt x="313" y="311"/>
                </a:lnTo>
                <a:lnTo>
                  <a:pt x="311" y="311"/>
                </a:lnTo>
                <a:lnTo>
                  <a:pt x="309" y="313"/>
                </a:lnTo>
                <a:lnTo>
                  <a:pt x="302" y="313"/>
                </a:lnTo>
                <a:lnTo>
                  <a:pt x="300" y="317"/>
                </a:lnTo>
                <a:lnTo>
                  <a:pt x="294" y="322"/>
                </a:lnTo>
                <a:lnTo>
                  <a:pt x="292" y="324"/>
                </a:lnTo>
                <a:lnTo>
                  <a:pt x="292" y="328"/>
                </a:lnTo>
                <a:lnTo>
                  <a:pt x="290" y="328"/>
                </a:lnTo>
                <a:lnTo>
                  <a:pt x="290" y="335"/>
                </a:lnTo>
                <a:lnTo>
                  <a:pt x="283" y="339"/>
                </a:lnTo>
                <a:lnTo>
                  <a:pt x="283" y="341"/>
                </a:lnTo>
                <a:lnTo>
                  <a:pt x="281" y="345"/>
                </a:lnTo>
                <a:lnTo>
                  <a:pt x="281" y="352"/>
                </a:lnTo>
                <a:lnTo>
                  <a:pt x="283" y="352"/>
                </a:lnTo>
                <a:lnTo>
                  <a:pt x="290" y="352"/>
                </a:lnTo>
                <a:lnTo>
                  <a:pt x="292" y="356"/>
                </a:lnTo>
                <a:lnTo>
                  <a:pt x="296" y="363"/>
                </a:lnTo>
                <a:lnTo>
                  <a:pt x="298" y="365"/>
                </a:lnTo>
                <a:lnTo>
                  <a:pt x="298" y="371"/>
                </a:lnTo>
                <a:lnTo>
                  <a:pt x="296" y="373"/>
                </a:lnTo>
                <a:lnTo>
                  <a:pt x="294" y="378"/>
                </a:lnTo>
                <a:lnTo>
                  <a:pt x="292" y="378"/>
                </a:lnTo>
                <a:lnTo>
                  <a:pt x="292" y="389"/>
                </a:lnTo>
                <a:lnTo>
                  <a:pt x="292" y="391"/>
                </a:lnTo>
                <a:lnTo>
                  <a:pt x="292" y="393"/>
                </a:lnTo>
                <a:lnTo>
                  <a:pt x="292" y="395"/>
                </a:lnTo>
                <a:lnTo>
                  <a:pt x="290" y="399"/>
                </a:lnTo>
                <a:lnTo>
                  <a:pt x="292" y="406"/>
                </a:lnTo>
                <a:lnTo>
                  <a:pt x="292" y="408"/>
                </a:lnTo>
                <a:lnTo>
                  <a:pt x="292" y="412"/>
                </a:lnTo>
                <a:lnTo>
                  <a:pt x="292" y="414"/>
                </a:lnTo>
                <a:lnTo>
                  <a:pt x="292" y="421"/>
                </a:lnTo>
                <a:lnTo>
                  <a:pt x="292" y="423"/>
                </a:lnTo>
                <a:lnTo>
                  <a:pt x="290" y="430"/>
                </a:lnTo>
                <a:lnTo>
                  <a:pt x="294" y="432"/>
                </a:lnTo>
                <a:lnTo>
                  <a:pt x="300" y="440"/>
                </a:lnTo>
                <a:lnTo>
                  <a:pt x="302" y="442"/>
                </a:lnTo>
                <a:lnTo>
                  <a:pt x="309" y="445"/>
                </a:lnTo>
                <a:lnTo>
                  <a:pt x="322" y="447"/>
                </a:lnTo>
                <a:lnTo>
                  <a:pt x="324" y="447"/>
                </a:lnTo>
                <a:lnTo>
                  <a:pt x="324" y="453"/>
                </a:lnTo>
                <a:lnTo>
                  <a:pt x="328" y="458"/>
                </a:lnTo>
                <a:lnTo>
                  <a:pt x="331" y="458"/>
                </a:lnTo>
                <a:lnTo>
                  <a:pt x="339" y="460"/>
                </a:lnTo>
                <a:lnTo>
                  <a:pt x="346" y="464"/>
                </a:lnTo>
                <a:lnTo>
                  <a:pt x="348" y="466"/>
                </a:lnTo>
                <a:lnTo>
                  <a:pt x="350" y="466"/>
                </a:lnTo>
                <a:lnTo>
                  <a:pt x="350" y="473"/>
                </a:lnTo>
                <a:lnTo>
                  <a:pt x="354" y="475"/>
                </a:lnTo>
                <a:lnTo>
                  <a:pt x="356" y="479"/>
                </a:lnTo>
                <a:lnTo>
                  <a:pt x="361" y="486"/>
                </a:lnTo>
                <a:lnTo>
                  <a:pt x="367" y="492"/>
                </a:lnTo>
                <a:lnTo>
                  <a:pt x="374" y="492"/>
                </a:lnTo>
                <a:lnTo>
                  <a:pt x="376" y="494"/>
                </a:lnTo>
                <a:lnTo>
                  <a:pt x="378" y="494"/>
                </a:lnTo>
                <a:lnTo>
                  <a:pt x="385" y="496"/>
                </a:lnTo>
                <a:lnTo>
                  <a:pt x="389" y="503"/>
                </a:lnTo>
                <a:lnTo>
                  <a:pt x="393" y="509"/>
                </a:lnTo>
                <a:lnTo>
                  <a:pt x="397" y="514"/>
                </a:lnTo>
                <a:lnTo>
                  <a:pt x="397" y="522"/>
                </a:lnTo>
                <a:lnTo>
                  <a:pt x="397" y="527"/>
                </a:lnTo>
                <a:lnTo>
                  <a:pt x="397" y="535"/>
                </a:lnTo>
                <a:lnTo>
                  <a:pt x="397" y="537"/>
                </a:lnTo>
                <a:lnTo>
                  <a:pt x="400" y="542"/>
                </a:lnTo>
                <a:lnTo>
                  <a:pt x="374" y="544"/>
                </a:lnTo>
                <a:lnTo>
                  <a:pt x="365" y="544"/>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198" name="Freeform 31">
            <a:extLst>
              <a:ext uri="{FF2B5EF4-FFF2-40B4-BE49-F238E27FC236}">
                <a16:creationId xmlns:a16="http://schemas.microsoft.com/office/drawing/2014/main" id="{A6E3CB6D-7DBB-48AE-9CCA-4185A2F057E2}"/>
              </a:ext>
            </a:extLst>
          </p:cNvPr>
          <p:cNvSpPr>
            <a:spLocks/>
          </p:cNvSpPr>
          <p:nvPr>
            <p:custDataLst>
              <p:tags r:id="rId22"/>
            </p:custDataLst>
          </p:nvPr>
        </p:nvSpPr>
        <p:spPr bwMode="auto">
          <a:xfrm>
            <a:off x="2196788" y="1759869"/>
            <a:ext cx="1205602" cy="1078689"/>
          </a:xfrm>
          <a:custGeom>
            <a:avLst/>
            <a:gdLst>
              <a:gd name="T0" fmla="*/ 2147483647 w 596"/>
              <a:gd name="T1" fmla="*/ 2147483647 h 499"/>
              <a:gd name="T2" fmla="*/ 2147483647 w 596"/>
              <a:gd name="T3" fmla="*/ 2147483647 h 499"/>
              <a:gd name="T4" fmla="*/ 2147483647 w 596"/>
              <a:gd name="T5" fmla="*/ 2147483647 h 499"/>
              <a:gd name="T6" fmla="*/ 2147483647 w 596"/>
              <a:gd name="T7" fmla="*/ 2147483647 h 499"/>
              <a:gd name="T8" fmla="*/ 2147483647 w 596"/>
              <a:gd name="T9" fmla="*/ 2147483647 h 499"/>
              <a:gd name="T10" fmla="*/ 2147483647 w 596"/>
              <a:gd name="T11" fmla="*/ 2147483647 h 499"/>
              <a:gd name="T12" fmla="*/ 2147483647 w 596"/>
              <a:gd name="T13" fmla="*/ 2147483647 h 499"/>
              <a:gd name="T14" fmla="*/ 2147483647 w 596"/>
              <a:gd name="T15" fmla="*/ 2147483647 h 499"/>
              <a:gd name="T16" fmla="*/ 2147483647 w 596"/>
              <a:gd name="T17" fmla="*/ 2147483647 h 499"/>
              <a:gd name="T18" fmla="*/ 2147483647 w 596"/>
              <a:gd name="T19" fmla="*/ 2147483647 h 499"/>
              <a:gd name="T20" fmla="*/ 2147483647 w 596"/>
              <a:gd name="T21" fmla="*/ 2147483647 h 499"/>
              <a:gd name="T22" fmla="*/ 2147483647 w 596"/>
              <a:gd name="T23" fmla="*/ 2147483647 h 499"/>
              <a:gd name="T24" fmla="*/ 2147483647 w 596"/>
              <a:gd name="T25" fmla="*/ 2147483647 h 499"/>
              <a:gd name="T26" fmla="*/ 2147483647 w 596"/>
              <a:gd name="T27" fmla="*/ 2147483647 h 499"/>
              <a:gd name="T28" fmla="*/ 2147483647 w 596"/>
              <a:gd name="T29" fmla="*/ 2147483647 h 499"/>
              <a:gd name="T30" fmla="*/ 2147483647 w 596"/>
              <a:gd name="T31" fmla="*/ 2147483647 h 499"/>
              <a:gd name="T32" fmla="*/ 2147483647 w 596"/>
              <a:gd name="T33" fmla="*/ 2147483647 h 499"/>
              <a:gd name="T34" fmla="*/ 2147483647 w 596"/>
              <a:gd name="T35" fmla="*/ 2147483647 h 499"/>
              <a:gd name="T36" fmla="*/ 2147483647 w 596"/>
              <a:gd name="T37" fmla="*/ 2147483647 h 499"/>
              <a:gd name="T38" fmla="*/ 2147483647 w 596"/>
              <a:gd name="T39" fmla="*/ 2147483647 h 499"/>
              <a:gd name="T40" fmla="*/ 2147483647 w 596"/>
              <a:gd name="T41" fmla="*/ 2147483647 h 499"/>
              <a:gd name="T42" fmla="*/ 2147483647 w 596"/>
              <a:gd name="T43" fmla="*/ 2147483647 h 499"/>
              <a:gd name="T44" fmla="*/ 2147483647 w 596"/>
              <a:gd name="T45" fmla="*/ 2147483647 h 499"/>
              <a:gd name="T46" fmla="*/ 2147483647 w 596"/>
              <a:gd name="T47" fmla="*/ 2147483647 h 499"/>
              <a:gd name="T48" fmla="*/ 2147483647 w 596"/>
              <a:gd name="T49" fmla="*/ 2147483647 h 499"/>
              <a:gd name="T50" fmla="*/ 2147483647 w 596"/>
              <a:gd name="T51" fmla="*/ 2147483647 h 499"/>
              <a:gd name="T52" fmla="*/ 2147483647 w 596"/>
              <a:gd name="T53" fmla="*/ 2147483647 h 499"/>
              <a:gd name="T54" fmla="*/ 2147483647 w 596"/>
              <a:gd name="T55" fmla="*/ 2147483647 h 499"/>
              <a:gd name="T56" fmla="*/ 2147483647 w 596"/>
              <a:gd name="T57" fmla="*/ 2147483647 h 499"/>
              <a:gd name="T58" fmla="*/ 2147483647 w 596"/>
              <a:gd name="T59" fmla="*/ 2147483647 h 499"/>
              <a:gd name="T60" fmla="*/ 2147483647 w 596"/>
              <a:gd name="T61" fmla="*/ 2147483647 h 499"/>
              <a:gd name="T62" fmla="*/ 2147483647 w 596"/>
              <a:gd name="T63" fmla="*/ 2147483647 h 499"/>
              <a:gd name="T64" fmla="*/ 2147483647 w 596"/>
              <a:gd name="T65" fmla="*/ 2147483647 h 499"/>
              <a:gd name="T66" fmla="*/ 2147483647 w 596"/>
              <a:gd name="T67" fmla="*/ 2147483647 h 499"/>
              <a:gd name="T68" fmla="*/ 2147483647 w 596"/>
              <a:gd name="T69" fmla="*/ 2147483647 h 499"/>
              <a:gd name="T70" fmla="*/ 2147483647 w 596"/>
              <a:gd name="T71" fmla="*/ 2147483647 h 499"/>
              <a:gd name="T72" fmla="*/ 2147483647 w 596"/>
              <a:gd name="T73" fmla="*/ 2147483647 h 499"/>
              <a:gd name="T74" fmla="*/ 2147483647 w 596"/>
              <a:gd name="T75" fmla="*/ 2147483647 h 499"/>
              <a:gd name="T76" fmla="*/ 2147483647 w 596"/>
              <a:gd name="T77" fmla="*/ 2147483647 h 499"/>
              <a:gd name="T78" fmla="*/ 2147483647 w 596"/>
              <a:gd name="T79" fmla="*/ 2147483647 h 499"/>
              <a:gd name="T80" fmla="*/ 2147483647 w 596"/>
              <a:gd name="T81" fmla="*/ 2147483647 h 499"/>
              <a:gd name="T82" fmla="*/ 2147483647 w 596"/>
              <a:gd name="T83" fmla="*/ 2147483647 h 499"/>
              <a:gd name="T84" fmla="*/ 2147483647 w 596"/>
              <a:gd name="T85" fmla="*/ 2147483647 h 499"/>
              <a:gd name="T86" fmla="*/ 2147483647 w 596"/>
              <a:gd name="T87" fmla="*/ 2147483647 h 499"/>
              <a:gd name="T88" fmla="*/ 2147483647 w 596"/>
              <a:gd name="T89" fmla="*/ 2147483647 h 499"/>
              <a:gd name="T90" fmla="*/ 2147483647 w 596"/>
              <a:gd name="T91" fmla="*/ 2147483647 h 499"/>
              <a:gd name="T92" fmla="*/ 2147483647 w 596"/>
              <a:gd name="T93" fmla="*/ 2147483647 h 499"/>
              <a:gd name="T94" fmla="*/ 2147483647 w 596"/>
              <a:gd name="T95" fmla="*/ 2147483647 h 499"/>
              <a:gd name="T96" fmla="*/ 2147483647 w 596"/>
              <a:gd name="T97" fmla="*/ 2147483647 h 499"/>
              <a:gd name="T98" fmla="*/ 2147483647 w 596"/>
              <a:gd name="T99" fmla="*/ 2147483647 h 499"/>
              <a:gd name="T100" fmla="*/ 2147483647 w 596"/>
              <a:gd name="T101" fmla="*/ 2147483647 h 499"/>
              <a:gd name="T102" fmla="*/ 2147483647 w 596"/>
              <a:gd name="T103" fmla="*/ 2147483647 h 499"/>
              <a:gd name="T104" fmla="*/ 2147483647 w 596"/>
              <a:gd name="T105" fmla="*/ 2147483647 h 499"/>
              <a:gd name="T106" fmla="*/ 2147483647 w 596"/>
              <a:gd name="T107" fmla="*/ 2147483647 h 499"/>
              <a:gd name="T108" fmla="*/ 2147483647 w 596"/>
              <a:gd name="T109" fmla="*/ 2147483647 h 499"/>
              <a:gd name="T110" fmla="*/ 2147483647 w 596"/>
              <a:gd name="T111" fmla="*/ 2147483647 h 499"/>
              <a:gd name="T112" fmla="*/ 2147483647 w 596"/>
              <a:gd name="T113" fmla="*/ 2147483647 h 499"/>
              <a:gd name="T114" fmla="*/ 2147483647 w 596"/>
              <a:gd name="T115" fmla="*/ 2147483647 h 499"/>
              <a:gd name="T116" fmla="*/ 2147483647 w 596"/>
              <a:gd name="T117" fmla="*/ 2147483647 h 499"/>
              <a:gd name="T118" fmla="*/ 2147483647 w 596"/>
              <a:gd name="T119" fmla="*/ 2147483647 h 499"/>
              <a:gd name="T120" fmla="*/ 2147483647 w 596"/>
              <a:gd name="T121" fmla="*/ 2147483647 h 499"/>
              <a:gd name="T122" fmla="*/ 2147483647 w 596"/>
              <a:gd name="T123" fmla="*/ 2147483647 h 49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6"/>
              <a:gd name="T187" fmla="*/ 0 h 499"/>
              <a:gd name="T188" fmla="*/ 596 w 596"/>
              <a:gd name="T189" fmla="*/ 499 h 49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6" h="499">
                <a:moveTo>
                  <a:pt x="188" y="425"/>
                </a:moveTo>
                <a:lnTo>
                  <a:pt x="134" y="410"/>
                </a:lnTo>
                <a:lnTo>
                  <a:pt x="72" y="391"/>
                </a:lnTo>
                <a:lnTo>
                  <a:pt x="52" y="384"/>
                </a:lnTo>
                <a:lnTo>
                  <a:pt x="33" y="380"/>
                </a:lnTo>
                <a:lnTo>
                  <a:pt x="5" y="374"/>
                </a:lnTo>
                <a:lnTo>
                  <a:pt x="0" y="361"/>
                </a:lnTo>
                <a:lnTo>
                  <a:pt x="0" y="346"/>
                </a:lnTo>
                <a:lnTo>
                  <a:pt x="3" y="328"/>
                </a:lnTo>
                <a:lnTo>
                  <a:pt x="9" y="317"/>
                </a:lnTo>
                <a:lnTo>
                  <a:pt x="9" y="311"/>
                </a:lnTo>
                <a:lnTo>
                  <a:pt x="5" y="292"/>
                </a:lnTo>
                <a:lnTo>
                  <a:pt x="13" y="281"/>
                </a:lnTo>
                <a:lnTo>
                  <a:pt x="29" y="255"/>
                </a:lnTo>
                <a:lnTo>
                  <a:pt x="29" y="251"/>
                </a:lnTo>
                <a:lnTo>
                  <a:pt x="42" y="238"/>
                </a:lnTo>
                <a:lnTo>
                  <a:pt x="50" y="229"/>
                </a:lnTo>
                <a:lnTo>
                  <a:pt x="59" y="205"/>
                </a:lnTo>
                <a:lnTo>
                  <a:pt x="74" y="171"/>
                </a:lnTo>
                <a:lnTo>
                  <a:pt x="89" y="136"/>
                </a:lnTo>
                <a:lnTo>
                  <a:pt x="91" y="121"/>
                </a:lnTo>
                <a:lnTo>
                  <a:pt x="102" y="104"/>
                </a:lnTo>
                <a:lnTo>
                  <a:pt x="111" y="82"/>
                </a:lnTo>
                <a:lnTo>
                  <a:pt x="117" y="65"/>
                </a:lnTo>
                <a:lnTo>
                  <a:pt x="119" y="63"/>
                </a:lnTo>
                <a:lnTo>
                  <a:pt x="121" y="67"/>
                </a:lnTo>
                <a:lnTo>
                  <a:pt x="124" y="65"/>
                </a:lnTo>
                <a:lnTo>
                  <a:pt x="119" y="56"/>
                </a:lnTo>
                <a:lnTo>
                  <a:pt x="124" y="43"/>
                </a:lnTo>
                <a:lnTo>
                  <a:pt x="124" y="37"/>
                </a:lnTo>
                <a:lnTo>
                  <a:pt x="128" y="30"/>
                </a:lnTo>
                <a:lnTo>
                  <a:pt x="126" y="22"/>
                </a:lnTo>
                <a:lnTo>
                  <a:pt x="134" y="17"/>
                </a:lnTo>
                <a:lnTo>
                  <a:pt x="137" y="0"/>
                </a:lnTo>
                <a:lnTo>
                  <a:pt x="143" y="11"/>
                </a:lnTo>
                <a:lnTo>
                  <a:pt x="147" y="9"/>
                </a:lnTo>
                <a:lnTo>
                  <a:pt x="147" y="4"/>
                </a:lnTo>
                <a:lnTo>
                  <a:pt x="149" y="2"/>
                </a:lnTo>
                <a:lnTo>
                  <a:pt x="152" y="7"/>
                </a:lnTo>
                <a:lnTo>
                  <a:pt x="154" y="7"/>
                </a:lnTo>
                <a:lnTo>
                  <a:pt x="167" y="4"/>
                </a:lnTo>
                <a:lnTo>
                  <a:pt x="171" y="17"/>
                </a:lnTo>
                <a:lnTo>
                  <a:pt x="175" y="17"/>
                </a:lnTo>
                <a:lnTo>
                  <a:pt x="178" y="20"/>
                </a:lnTo>
                <a:lnTo>
                  <a:pt x="184" y="17"/>
                </a:lnTo>
                <a:lnTo>
                  <a:pt x="186" y="17"/>
                </a:lnTo>
                <a:lnTo>
                  <a:pt x="188" y="17"/>
                </a:lnTo>
                <a:lnTo>
                  <a:pt x="190" y="22"/>
                </a:lnTo>
                <a:lnTo>
                  <a:pt x="197" y="26"/>
                </a:lnTo>
                <a:lnTo>
                  <a:pt x="199" y="33"/>
                </a:lnTo>
                <a:lnTo>
                  <a:pt x="201" y="37"/>
                </a:lnTo>
                <a:lnTo>
                  <a:pt x="201" y="43"/>
                </a:lnTo>
                <a:lnTo>
                  <a:pt x="201" y="50"/>
                </a:lnTo>
                <a:lnTo>
                  <a:pt x="201" y="52"/>
                </a:lnTo>
                <a:lnTo>
                  <a:pt x="201" y="54"/>
                </a:lnTo>
                <a:lnTo>
                  <a:pt x="199" y="58"/>
                </a:lnTo>
                <a:lnTo>
                  <a:pt x="201" y="63"/>
                </a:lnTo>
                <a:lnTo>
                  <a:pt x="199" y="65"/>
                </a:lnTo>
                <a:lnTo>
                  <a:pt x="197" y="71"/>
                </a:lnTo>
                <a:lnTo>
                  <a:pt x="201" y="74"/>
                </a:lnTo>
                <a:lnTo>
                  <a:pt x="203" y="80"/>
                </a:lnTo>
                <a:lnTo>
                  <a:pt x="208" y="82"/>
                </a:lnTo>
                <a:lnTo>
                  <a:pt x="216" y="87"/>
                </a:lnTo>
                <a:lnTo>
                  <a:pt x="221" y="87"/>
                </a:lnTo>
                <a:lnTo>
                  <a:pt x="223" y="89"/>
                </a:lnTo>
                <a:lnTo>
                  <a:pt x="225" y="91"/>
                </a:lnTo>
                <a:lnTo>
                  <a:pt x="238" y="89"/>
                </a:lnTo>
                <a:lnTo>
                  <a:pt x="242" y="89"/>
                </a:lnTo>
                <a:lnTo>
                  <a:pt x="247" y="87"/>
                </a:lnTo>
                <a:lnTo>
                  <a:pt x="251" y="87"/>
                </a:lnTo>
                <a:lnTo>
                  <a:pt x="253" y="87"/>
                </a:lnTo>
                <a:lnTo>
                  <a:pt x="257" y="84"/>
                </a:lnTo>
                <a:lnTo>
                  <a:pt x="262" y="87"/>
                </a:lnTo>
                <a:lnTo>
                  <a:pt x="266" y="87"/>
                </a:lnTo>
                <a:lnTo>
                  <a:pt x="275" y="89"/>
                </a:lnTo>
                <a:lnTo>
                  <a:pt x="281" y="91"/>
                </a:lnTo>
                <a:lnTo>
                  <a:pt x="283" y="91"/>
                </a:lnTo>
                <a:lnTo>
                  <a:pt x="285" y="91"/>
                </a:lnTo>
                <a:lnTo>
                  <a:pt x="290" y="93"/>
                </a:lnTo>
                <a:lnTo>
                  <a:pt x="290" y="97"/>
                </a:lnTo>
                <a:lnTo>
                  <a:pt x="296" y="99"/>
                </a:lnTo>
                <a:lnTo>
                  <a:pt x="296" y="104"/>
                </a:lnTo>
                <a:lnTo>
                  <a:pt x="301" y="104"/>
                </a:lnTo>
                <a:lnTo>
                  <a:pt x="303" y="102"/>
                </a:lnTo>
                <a:lnTo>
                  <a:pt x="305" y="102"/>
                </a:lnTo>
                <a:lnTo>
                  <a:pt x="311" y="104"/>
                </a:lnTo>
                <a:lnTo>
                  <a:pt x="314" y="104"/>
                </a:lnTo>
                <a:lnTo>
                  <a:pt x="314" y="106"/>
                </a:lnTo>
                <a:lnTo>
                  <a:pt x="318" y="104"/>
                </a:lnTo>
                <a:lnTo>
                  <a:pt x="331" y="104"/>
                </a:lnTo>
                <a:lnTo>
                  <a:pt x="333" y="102"/>
                </a:lnTo>
                <a:lnTo>
                  <a:pt x="335" y="102"/>
                </a:lnTo>
                <a:lnTo>
                  <a:pt x="337" y="102"/>
                </a:lnTo>
                <a:lnTo>
                  <a:pt x="339" y="106"/>
                </a:lnTo>
                <a:lnTo>
                  <a:pt x="346" y="108"/>
                </a:lnTo>
                <a:lnTo>
                  <a:pt x="355" y="108"/>
                </a:lnTo>
                <a:lnTo>
                  <a:pt x="361" y="112"/>
                </a:lnTo>
                <a:lnTo>
                  <a:pt x="365" y="106"/>
                </a:lnTo>
                <a:lnTo>
                  <a:pt x="370" y="106"/>
                </a:lnTo>
                <a:lnTo>
                  <a:pt x="374" y="106"/>
                </a:lnTo>
                <a:lnTo>
                  <a:pt x="385" y="106"/>
                </a:lnTo>
                <a:lnTo>
                  <a:pt x="387" y="106"/>
                </a:lnTo>
                <a:lnTo>
                  <a:pt x="398" y="106"/>
                </a:lnTo>
                <a:lnTo>
                  <a:pt x="402" y="104"/>
                </a:lnTo>
                <a:lnTo>
                  <a:pt x="404" y="104"/>
                </a:lnTo>
                <a:lnTo>
                  <a:pt x="411" y="106"/>
                </a:lnTo>
                <a:lnTo>
                  <a:pt x="415" y="106"/>
                </a:lnTo>
                <a:lnTo>
                  <a:pt x="417" y="106"/>
                </a:lnTo>
                <a:lnTo>
                  <a:pt x="422" y="106"/>
                </a:lnTo>
                <a:lnTo>
                  <a:pt x="430" y="108"/>
                </a:lnTo>
                <a:lnTo>
                  <a:pt x="432" y="108"/>
                </a:lnTo>
                <a:lnTo>
                  <a:pt x="439" y="106"/>
                </a:lnTo>
                <a:lnTo>
                  <a:pt x="445" y="104"/>
                </a:lnTo>
                <a:lnTo>
                  <a:pt x="508" y="119"/>
                </a:lnTo>
                <a:lnTo>
                  <a:pt x="508" y="121"/>
                </a:lnTo>
                <a:lnTo>
                  <a:pt x="532" y="125"/>
                </a:lnTo>
                <a:lnTo>
                  <a:pt x="540" y="130"/>
                </a:lnTo>
                <a:lnTo>
                  <a:pt x="577" y="136"/>
                </a:lnTo>
                <a:lnTo>
                  <a:pt x="577" y="138"/>
                </a:lnTo>
                <a:lnTo>
                  <a:pt x="579" y="147"/>
                </a:lnTo>
                <a:lnTo>
                  <a:pt x="581" y="151"/>
                </a:lnTo>
                <a:lnTo>
                  <a:pt x="581" y="153"/>
                </a:lnTo>
                <a:lnTo>
                  <a:pt x="586" y="156"/>
                </a:lnTo>
                <a:lnTo>
                  <a:pt x="590" y="158"/>
                </a:lnTo>
                <a:lnTo>
                  <a:pt x="594" y="164"/>
                </a:lnTo>
                <a:lnTo>
                  <a:pt x="594" y="169"/>
                </a:lnTo>
                <a:lnTo>
                  <a:pt x="594" y="171"/>
                </a:lnTo>
                <a:lnTo>
                  <a:pt x="596" y="179"/>
                </a:lnTo>
                <a:lnTo>
                  <a:pt x="594" y="181"/>
                </a:lnTo>
                <a:lnTo>
                  <a:pt x="590" y="188"/>
                </a:lnTo>
                <a:lnTo>
                  <a:pt x="586" y="190"/>
                </a:lnTo>
                <a:lnTo>
                  <a:pt x="579" y="201"/>
                </a:lnTo>
                <a:lnTo>
                  <a:pt x="577" y="205"/>
                </a:lnTo>
                <a:lnTo>
                  <a:pt x="568" y="218"/>
                </a:lnTo>
                <a:lnTo>
                  <a:pt x="566" y="220"/>
                </a:lnTo>
                <a:lnTo>
                  <a:pt x="564" y="223"/>
                </a:lnTo>
                <a:lnTo>
                  <a:pt x="560" y="227"/>
                </a:lnTo>
                <a:lnTo>
                  <a:pt x="560" y="229"/>
                </a:lnTo>
                <a:lnTo>
                  <a:pt x="560" y="231"/>
                </a:lnTo>
                <a:lnTo>
                  <a:pt x="560" y="233"/>
                </a:lnTo>
                <a:lnTo>
                  <a:pt x="560" y="235"/>
                </a:lnTo>
                <a:lnTo>
                  <a:pt x="558" y="240"/>
                </a:lnTo>
                <a:lnTo>
                  <a:pt x="553" y="240"/>
                </a:lnTo>
                <a:lnTo>
                  <a:pt x="551" y="244"/>
                </a:lnTo>
                <a:lnTo>
                  <a:pt x="549" y="248"/>
                </a:lnTo>
                <a:lnTo>
                  <a:pt x="542" y="248"/>
                </a:lnTo>
                <a:lnTo>
                  <a:pt x="540" y="253"/>
                </a:lnTo>
                <a:lnTo>
                  <a:pt x="532" y="264"/>
                </a:lnTo>
                <a:lnTo>
                  <a:pt x="532" y="266"/>
                </a:lnTo>
                <a:lnTo>
                  <a:pt x="527" y="268"/>
                </a:lnTo>
                <a:lnTo>
                  <a:pt x="527" y="270"/>
                </a:lnTo>
                <a:lnTo>
                  <a:pt x="525" y="270"/>
                </a:lnTo>
                <a:lnTo>
                  <a:pt x="525" y="276"/>
                </a:lnTo>
                <a:lnTo>
                  <a:pt x="521" y="279"/>
                </a:lnTo>
                <a:lnTo>
                  <a:pt x="525" y="283"/>
                </a:lnTo>
                <a:lnTo>
                  <a:pt x="521" y="285"/>
                </a:lnTo>
                <a:lnTo>
                  <a:pt x="521" y="287"/>
                </a:lnTo>
                <a:lnTo>
                  <a:pt x="525" y="292"/>
                </a:lnTo>
                <a:lnTo>
                  <a:pt x="525" y="294"/>
                </a:lnTo>
                <a:lnTo>
                  <a:pt x="527" y="292"/>
                </a:lnTo>
                <a:lnTo>
                  <a:pt x="529" y="292"/>
                </a:lnTo>
                <a:lnTo>
                  <a:pt x="529" y="294"/>
                </a:lnTo>
                <a:lnTo>
                  <a:pt x="532" y="296"/>
                </a:lnTo>
                <a:lnTo>
                  <a:pt x="532" y="294"/>
                </a:lnTo>
                <a:lnTo>
                  <a:pt x="534" y="296"/>
                </a:lnTo>
                <a:lnTo>
                  <a:pt x="536" y="298"/>
                </a:lnTo>
                <a:lnTo>
                  <a:pt x="534" y="300"/>
                </a:lnTo>
                <a:lnTo>
                  <a:pt x="540" y="302"/>
                </a:lnTo>
                <a:lnTo>
                  <a:pt x="540" y="305"/>
                </a:lnTo>
                <a:lnTo>
                  <a:pt x="534" y="311"/>
                </a:lnTo>
                <a:lnTo>
                  <a:pt x="532" y="311"/>
                </a:lnTo>
                <a:lnTo>
                  <a:pt x="534" y="317"/>
                </a:lnTo>
                <a:lnTo>
                  <a:pt x="532" y="320"/>
                </a:lnTo>
                <a:lnTo>
                  <a:pt x="529" y="326"/>
                </a:lnTo>
                <a:lnTo>
                  <a:pt x="529" y="330"/>
                </a:lnTo>
                <a:lnTo>
                  <a:pt x="527" y="330"/>
                </a:lnTo>
                <a:lnTo>
                  <a:pt x="525" y="330"/>
                </a:lnTo>
                <a:lnTo>
                  <a:pt x="525" y="333"/>
                </a:lnTo>
                <a:lnTo>
                  <a:pt x="521" y="335"/>
                </a:lnTo>
                <a:lnTo>
                  <a:pt x="521" y="341"/>
                </a:lnTo>
                <a:lnTo>
                  <a:pt x="521" y="346"/>
                </a:lnTo>
                <a:lnTo>
                  <a:pt x="486" y="499"/>
                </a:lnTo>
                <a:lnTo>
                  <a:pt x="406" y="482"/>
                </a:lnTo>
                <a:lnTo>
                  <a:pt x="333" y="464"/>
                </a:lnTo>
                <a:lnTo>
                  <a:pt x="331" y="462"/>
                </a:lnTo>
                <a:lnTo>
                  <a:pt x="285" y="451"/>
                </a:lnTo>
                <a:lnTo>
                  <a:pt x="229" y="436"/>
                </a:lnTo>
                <a:lnTo>
                  <a:pt x="188" y="425"/>
                </a:lnTo>
                <a:close/>
              </a:path>
            </a:pathLst>
          </a:custGeom>
          <a:solidFill>
            <a:schemeClr val="bg1"/>
          </a:solidFill>
          <a:ln w="9525">
            <a:noFill/>
            <a:round/>
            <a:headEnd/>
            <a:tailEnd/>
          </a:ln>
        </p:spPr>
        <p:txBody>
          <a:bodyPr/>
          <a:lstStyle/>
          <a:p>
            <a:endParaRPr lang="en-US" dirty="0">
              <a:solidFill>
                <a:prstClr val="black"/>
              </a:solidFill>
            </a:endParaRPr>
          </a:p>
        </p:txBody>
      </p:sp>
      <p:sp>
        <p:nvSpPr>
          <p:cNvPr id="199" name="Freeform 32">
            <a:extLst>
              <a:ext uri="{FF2B5EF4-FFF2-40B4-BE49-F238E27FC236}">
                <a16:creationId xmlns:a16="http://schemas.microsoft.com/office/drawing/2014/main" id="{6F04FF1A-824B-45C7-8C92-5294DE888022}"/>
              </a:ext>
            </a:extLst>
          </p:cNvPr>
          <p:cNvSpPr>
            <a:spLocks/>
          </p:cNvSpPr>
          <p:nvPr>
            <p:custDataLst>
              <p:tags r:id="rId23"/>
            </p:custDataLst>
          </p:nvPr>
        </p:nvSpPr>
        <p:spPr bwMode="auto">
          <a:xfrm>
            <a:off x="2196788" y="1819073"/>
            <a:ext cx="1205602" cy="1078689"/>
          </a:xfrm>
          <a:custGeom>
            <a:avLst/>
            <a:gdLst>
              <a:gd name="T0" fmla="*/ 2147483647 w 596"/>
              <a:gd name="T1" fmla="*/ 2147483647 h 499"/>
              <a:gd name="T2" fmla="*/ 2147483647 w 596"/>
              <a:gd name="T3" fmla="*/ 2147483647 h 499"/>
              <a:gd name="T4" fmla="*/ 2147483647 w 596"/>
              <a:gd name="T5" fmla="*/ 2147483647 h 499"/>
              <a:gd name="T6" fmla="*/ 2147483647 w 596"/>
              <a:gd name="T7" fmla="*/ 2147483647 h 499"/>
              <a:gd name="T8" fmla="*/ 2147483647 w 596"/>
              <a:gd name="T9" fmla="*/ 2147483647 h 499"/>
              <a:gd name="T10" fmla="*/ 2147483647 w 596"/>
              <a:gd name="T11" fmla="*/ 2147483647 h 499"/>
              <a:gd name="T12" fmla="*/ 2147483647 w 596"/>
              <a:gd name="T13" fmla="*/ 2147483647 h 499"/>
              <a:gd name="T14" fmla="*/ 2147483647 w 596"/>
              <a:gd name="T15" fmla="*/ 2147483647 h 499"/>
              <a:gd name="T16" fmla="*/ 2147483647 w 596"/>
              <a:gd name="T17" fmla="*/ 2147483647 h 499"/>
              <a:gd name="T18" fmla="*/ 2147483647 w 596"/>
              <a:gd name="T19" fmla="*/ 2147483647 h 499"/>
              <a:gd name="T20" fmla="*/ 2147483647 w 596"/>
              <a:gd name="T21" fmla="*/ 2147483647 h 499"/>
              <a:gd name="T22" fmla="*/ 2147483647 w 596"/>
              <a:gd name="T23" fmla="*/ 2147483647 h 499"/>
              <a:gd name="T24" fmla="*/ 2147483647 w 596"/>
              <a:gd name="T25" fmla="*/ 2147483647 h 499"/>
              <a:gd name="T26" fmla="*/ 2147483647 w 596"/>
              <a:gd name="T27" fmla="*/ 2147483647 h 499"/>
              <a:gd name="T28" fmla="*/ 2147483647 w 596"/>
              <a:gd name="T29" fmla="*/ 2147483647 h 499"/>
              <a:gd name="T30" fmla="*/ 2147483647 w 596"/>
              <a:gd name="T31" fmla="*/ 2147483647 h 499"/>
              <a:gd name="T32" fmla="*/ 2147483647 w 596"/>
              <a:gd name="T33" fmla="*/ 2147483647 h 499"/>
              <a:gd name="T34" fmla="*/ 2147483647 w 596"/>
              <a:gd name="T35" fmla="*/ 2147483647 h 499"/>
              <a:gd name="T36" fmla="*/ 2147483647 w 596"/>
              <a:gd name="T37" fmla="*/ 2147483647 h 499"/>
              <a:gd name="T38" fmla="*/ 2147483647 w 596"/>
              <a:gd name="T39" fmla="*/ 2147483647 h 499"/>
              <a:gd name="T40" fmla="*/ 2147483647 w 596"/>
              <a:gd name="T41" fmla="*/ 2147483647 h 499"/>
              <a:gd name="T42" fmla="*/ 2147483647 w 596"/>
              <a:gd name="T43" fmla="*/ 2147483647 h 499"/>
              <a:gd name="T44" fmla="*/ 2147483647 w 596"/>
              <a:gd name="T45" fmla="*/ 2147483647 h 499"/>
              <a:gd name="T46" fmla="*/ 2147483647 w 596"/>
              <a:gd name="T47" fmla="*/ 2147483647 h 499"/>
              <a:gd name="T48" fmla="*/ 2147483647 w 596"/>
              <a:gd name="T49" fmla="*/ 2147483647 h 499"/>
              <a:gd name="T50" fmla="*/ 2147483647 w 596"/>
              <a:gd name="T51" fmla="*/ 2147483647 h 499"/>
              <a:gd name="T52" fmla="*/ 2147483647 w 596"/>
              <a:gd name="T53" fmla="*/ 2147483647 h 499"/>
              <a:gd name="T54" fmla="*/ 2147483647 w 596"/>
              <a:gd name="T55" fmla="*/ 2147483647 h 499"/>
              <a:gd name="T56" fmla="*/ 2147483647 w 596"/>
              <a:gd name="T57" fmla="*/ 2147483647 h 499"/>
              <a:gd name="T58" fmla="*/ 2147483647 w 596"/>
              <a:gd name="T59" fmla="*/ 2147483647 h 499"/>
              <a:gd name="T60" fmla="*/ 2147483647 w 596"/>
              <a:gd name="T61" fmla="*/ 2147483647 h 499"/>
              <a:gd name="T62" fmla="*/ 2147483647 w 596"/>
              <a:gd name="T63" fmla="*/ 2147483647 h 499"/>
              <a:gd name="T64" fmla="*/ 2147483647 w 596"/>
              <a:gd name="T65" fmla="*/ 2147483647 h 499"/>
              <a:gd name="T66" fmla="*/ 2147483647 w 596"/>
              <a:gd name="T67" fmla="*/ 2147483647 h 499"/>
              <a:gd name="T68" fmla="*/ 2147483647 w 596"/>
              <a:gd name="T69" fmla="*/ 2147483647 h 499"/>
              <a:gd name="T70" fmla="*/ 2147483647 w 596"/>
              <a:gd name="T71" fmla="*/ 2147483647 h 499"/>
              <a:gd name="T72" fmla="*/ 2147483647 w 596"/>
              <a:gd name="T73" fmla="*/ 2147483647 h 499"/>
              <a:gd name="T74" fmla="*/ 2147483647 w 596"/>
              <a:gd name="T75" fmla="*/ 2147483647 h 499"/>
              <a:gd name="T76" fmla="*/ 2147483647 w 596"/>
              <a:gd name="T77" fmla="*/ 2147483647 h 499"/>
              <a:gd name="T78" fmla="*/ 2147483647 w 596"/>
              <a:gd name="T79" fmla="*/ 2147483647 h 499"/>
              <a:gd name="T80" fmla="*/ 2147483647 w 596"/>
              <a:gd name="T81" fmla="*/ 2147483647 h 499"/>
              <a:gd name="T82" fmla="*/ 2147483647 w 596"/>
              <a:gd name="T83" fmla="*/ 2147483647 h 499"/>
              <a:gd name="T84" fmla="*/ 2147483647 w 596"/>
              <a:gd name="T85" fmla="*/ 2147483647 h 499"/>
              <a:gd name="T86" fmla="*/ 2147483647 w 596"/>
              <a:gd name="T87" fmla="*/ 2147483647 h 499"/>
              <a:gd name="T88" fmla="*/ 2147483647 w 596"/>
              <a:gd name="T89" fmla="*/ 2147483647 h 499"/>
              <a:gd name="T90" fmla="*/ 2147483647 w 596"/>
              <a:gd name="T91" fmla="*/ 2147483647 h 499"/>
              <a:gd name="T92" fmla="*/ 2147483647 w 596"/>
              <a:gd name="T93" fmla="*/ 2147483647 h 499"/>
              <a:gd name="T94" fmla="*/ 2147483647 w 596"/>
              <a:gd name="T95" fmla="*/ 2147483647 h 499"/>
              <a:gd name="T96" fmla="*/ 2147483647 w 596"/>
              <a:gd name="T97" fmla="*/ 2147483647 h 499"/>
              <a:gd name="T98" fmla="*/ 2147483647 w 596"/>
              <a:gd name="T99" fmla="*/ 2147483647 h 499"/>
              <a:gd name="T100" fmla="*/ 2147483647 w 596"/>
              <a:gd name="T101" fmla="*/ 2147483647 h 499"/>
              <a:gd name="T102" fmla="*/ 2147483647 w 596"/>
              <a:gd name="T103" fmla="*/ 2147483647 h 499"/>
              <a:gd name="T104" fmla="*/ 2147483647 w 596"/>
              <a:gd name="T105" fmla="*/ 2147483647 h 499"/>
              <a:gd name="T106" fmla="*/ 2147483647 w 596"/>
              <a:gd name="T107" fmla="*/ 2147483647 h 499"/>
              <a:gd name="T108" fmla="*/ 2147483647 w 596"/>
              <a:gd name="T109" fmla="*/ 2147483647 h 499"/>
              <a:gd name="T110" fmla="*/ 2147483647 w 596"/>
              <a:gd name="T111" fmla="*/ 2147483647 h 499"/>
              <a:gd name="T112" fmla="*/ 2147483647 w 596"/>
              <a:gd name="T113" fmla="*/ 2147483647 h 499"/>
              <a:gd name="T114" fmla="*/ 2147483647 w 596"/>
              <a:gd name="T115" fmla="*/ 2147483647 h 499"/>
              <a:gd name="T116" fmla="*/ 2147483647 w 596"/>
              <a:gd name="T117" fmla="*/ 2147483647 h 499"/>
              <a:gd name="T118" fmla="*/ 2147483647 w 596"/>
              <a:gd name="T119" fmla="*/ 2147483647 h 499"/>
              <a:gd name="T120" fmla="*/ 2147483647 w 596"/>
              <a:gd name="T121" fmla="*/ 2147483647 h 499"/>
              <a:gd name="T122" fmla="*/ 2147483647 w 596"/>
              <a:gd name="T123" fmla="*/ 2147483647 h 49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6"/>
              <a:gd name="T187" fmla="*/ 0 h 499"/>
              <a:gd name="T188" fmla="*/ 596 w 596"/>
              <a:gd name="T189" fmla="*/ 499 h 49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6" h="499">
                <a:moveTo>
                  <a:pt x="188" y="425"/>
                </a:moveTo>
                <a:lnTo>
                  <a:pt x="134" y="410"/>
                </a:lnTo>
                <a:lnTo>
                  <a:pt x="72" y="391"/>
                </a:lnTo>
                <a:lnTo>
                  <a:pt x="52" y="384"/>
                </a:lnTo>
                <a:lnTo>
                  <a:pt x="33" y="380"/>
                </a:lnTo>
                <a:lnTo>
                  <a:pt x="5" y="374"/>
                </a:lnTo>
                <a:lnTo>
                  <a:pt x="0" y="361"/>
                </a:lnTo>
                <a:lnTo>
                  <a:pt x="0" y="346"/>
                </a:lnTo>
                <a:lnTo>
                  <a:pt x="3" y="328"/>
                </a:lnTo>
                <a:lnTo>
                  <a:pt x="9" y="317"/>
                </a:lnTo>
                <a:lnTo>
                  <a:pt x="9" y="311"/>
                </a:lnTo>
                <a:lnTo>
                  <a:pt x="5" y="292"/>
                </a:lnTo>
                <a:lnTo>
                  <a:pt x="13" y="281"/>
                </a:lnTo>
                <a:lnTo>
                  <a:pt x="29" y="255"/>
                </a:lnTo>
                <a:lnTo>
                  <a:pt x="29" y="251"/>
                </a:lnTo>
                <a:lnTo>
                  <a:pt x="42" y="238"/>
                </a:lnTo>
                <a:lnTo>
                  <a:pt x="50" y="229"/>
                </a:lnTo>
                <a:lnTo>
                  <a:pt x="59" y="205"/>
                </a:lnTo>
                <a:lnTo>
                  <a:pt x="74" y="171"/>
                </a:lnTo>
                <a:lnTo>
                  <a:pt x="89" y="136"/>
                </a:lnTo>
                <a:lnTo>
                  <a:pt x="91" y="121"/>
                </a:lnTo>
                <a:lnTo>
                  <a:pt x="102" y="104"/>
                </a:lnTo>
                <a:lnTo>
                  <a:pt x="111" y="82"/>
                </a:lnTo>
                <a:lnTo>
                  <a:pt x="117" y="65"/>
                </a:lnTo>
                <a:lnTo>
                  <a:pt x="119" y="63"/>
                </a:lnTo>
                <a:lnTo>
                  <a:pt x="121" y="67"/>
                </a:lnTo>
                <a:lnTo>
                  <a:pt x="124" y="65"/>
                </a:lnTo>
                <a:lnTo>
                  <a:pt x="119" y="56"/>
                </a:lnTo>
                <a:lnTo>
                  <a:pt x="124" y="43"/>
                </a:lnTo>
                <a:lnTo>
                  <a:pt x="124" y="37"/>
                </a:lnTo>
                <a:lnTo>
                  <a:pt x="128" y="30"/>
                </a:lnTo>
                <a:lnTo>
                  <a:pt x="126" y="22"/>
                </a:lnTo>
                <a:lnTo>
                  <a:pt x="134" y="17"/>
                </a:lnTo>
                <a:lnTo>
                  <a:pt x="137" y="0"/>
                </a:lnTo>
                <a:lnTo>
                  <a:pt x="143" y="11"/>
                </a:lnTo>
                <a:lnTo>
                  <a:pt x="147" y="9"/>
                </a:lnTo>
                <a:lnTo>
                  <a:pt x="147" y="4"/>
                </a:lnTo>
                <a:lnTo>
                  <a:pt x="149" y="2"/>
                </a:lnTo>
                <a:lnTo>
                  <a:pt x="152" y="7"/>
                </a:lnTo>
                <a:lnTo>
                  <a:pt x="154" y="7"/>
                </a:lnTo>
                <a:lnTo>
                  <a:pt x="167" y="4"/>
                </a:lnTo>
                <a:lnTo>
                  <a:pt x="171" y="17"/>
                </a:lnTo>
                <a:lnTo>
                  <a:pt x="175" y="17"/>
                </a:lnTo>
                <a:lnTo>
                  <a:pt x="178" y="20"/>
                </a:lnTo>
                <a:lnTo>
                  <a:pt x="184" y="17"/>
                </a:lnTo>
                <a:lnTo>
                  <a:pt x="186" y="17"/>
                </a:lnTo>
                <a:lnTo>
                  <a:pt x="188" y="17"/>
                </a:lnTo>
                <a:lnTo>
                  <a:pt x="190" y="22"/>
                </a:lnTo>
                <a:lnTo>
                  <a:pt x="197" y="26"/>
                </a:lnTo>
                <a:lnTo>
                  <a:pt x="199" y="33"/>
                </a:lnTo>
                <a:lnTo>
                  <a:pt x="201" y="37"/>
                </a:lnTo>
                <a:lnTo>
                  <a:pt x="201" y="43"/>
                </a:lnTo>
                <a:lnTo>
                  <a:pt x="201" y="50"/>
                </a:lnTo>
                <a:lnTo>
                  <a:pt x="201" y="52"/>
                </a:lnTo>
                <a:lnTo>
                  <a:pt x="201" y="54"/>
                </a:lnTo>
                <a:lnTo>
                  <a:pt x="199" y="58"/>
                </a:lnTo>
                <a:lnTo>
                  <a:pt x="201" y="63"/>
                </a:lnTo>
                <a:lnTo>
                  <a:pt x="199" y="65"/>
                </a:lnTo>
                <a:lnTo>
                  <a:pt x="197" y="71"/>
                </a:lnTo>
                <a:lnTo>
                  <a:pt x="201" y="74"/>
                </a:lnTo>
                <a:lnTo>
                  <a:pt x="203" y="80"/>
                </a:lnTo>
                <a:lnTo>
                  <a:pt x="208" y="82"/>
                </a:lnTo>
                <a:lnTo>
                  <a:pt x="216" y="87"/>
                </a:lnTo>
                <a:lnTo>
                  <a:pt x="221" y="87"/>
                </a:lnTo>
                <a:lnTo>
                  <a:pt x="223" y="89"/>
                </a:lnTo>
                <a:lnTo>
                  <a:pt x="225" y="91"/>
                </a:lnTo>
                <a:lnTo>
                  <a:pt x="238" y="89"/>
                </a:lnTo>
                <a:lnTo>
                  <a:pt x="242" y="89"/>
                </a:lnTo>
                <a:lnTo>
                  <a:pt x="247" y="87"/>
                </a:lnTo>
                <a:lnTo>
                  <a:pt x="251" y="87"/>
                </a:lnTo>
                <a:lnTo>
                  <a:pt x="253" y="87"/>
                </a:lnTo>
                <a:lnTo>
                  <a:pt x="257" y="84"/>
                </a:lnTo>
                <a:lnTo>
                  <a:pt x="262" y="87"/>
                </a:lnTo>
                <a:lnTo>
                  <a:pt x="266" y="87"/>
                </a:lnTo>
                <a:lnTo>
                  <a:pt x="275" y="89"/>
                </a:lnTo>
                <a:lnTo>
                  <a:pt x="281" y="91"/>
                </a:lnTo>
                <a:lnTo>
                  <a:pt x="283" y="91"/>
                </a:lnTo>
                <a:lnTo>
                  <a:pt x="285" y="91"/>
                </a:lnTo>
                <a:lnTo>
                  <a:pt x="290" y="93"/>
                </a:lnTo>
                <a:lnTo>
                  <a:pt x="290" y="97"/>
                </a:lnTo>
                <a:lnTo>
                  <a:pt x="296" y="99"/>
                </a:lnTo>
                <a:lnTo>
                  <a:pt x="296" y="104"/>
                </a:lnTo>
                <a:lnTo>
                  <a:pt x="301" y="104"/>
                </a:lnTo>
                <a:lnTo>
                  <a:pt x="303" y="102"/>
                </a:lnTo>
                <a:lnTo>
                  <a:pt x="305" y="102"/>
                </a:lnTo>
                <a:lnTo>
                  <a:pt x="311" y="104"/>
                </a:lnTo>
                <a:lnTo>
                  <a:pt x="314" y="104"/>
                </a:lnTo>
                <a:lnTo>
                  <a:pt x="314" y="106"/>
                </a:lnTo>
                <a:lnTo>
                  <a:pt x="318" y="104"/>
                </a:lnTo>
                <a:lnTo>
                  <a:pt x="331" y="104"/>
                </a:lnTo>
                <a:lnTo>
                  <a:pt x="333" y="102"/>
                </a:lnTo>
                <a:lnTo>
                  <a:pt x="335" y="102"/>
                </a:lnTo>
                <a:lnTo>
                  <a:pt x="337" y="102"/>
                </a:lnTo>
                <a:lnTo>
                  <a:pt x="339" y="106"/>
                </a:lnTo>
                <a:lnTo>
                  <a:pt x="346" y="108"/>
                </a:lnTo>
                <a:lnTo>
                  <a:pt x="355" y="108"/>
                </a:lnTo>
                <a:lnTo>
                  <a:pt x="361" y="112"/>
                </a:lnTo>
                <a:lnTo>
                  <a:pt x="365" y="106"/>
                </a:lnTo>
                <a:lnTo>
                  <a:pt x="370" y="106"/>
                </a:lnTo>
                <a:lnTo>
                  <a:pt x="374" y="106"/>
                </a:lnTo>
                <a:lnTo>
                  <a:pt x="385" y="106"/>
                </a:lnTo>
                <a:lnTo>
                  <a:pt x="387" y="106"/>
                </a:lnTo>
                <a:lnTo>
                  <a:pt x="398" y="106"/>
                </a:lnTo>
                <a:lnTo>
                  <a:pt x="402" y="104"/>
                </a:lnTo>
                <a:lnTo>
                  <a:pt x="404" y="104"/>
                </a:lnTo>
                <a:lnTo>
                  <a:pt x="411" y="106"/>
                </a:lnTo>
                <a:lnTo>
                  <a:pt x="415" y="106"/>
                </a:lnTo>
                <a:lnTo>
                  <a:pt x="417" y="106"/>
                </a:lnTo>
                <a:lnTo>
                  <a:pt x="422" y="106"/>
                </a:lnTo>
                <a:lnTo>
                  <a:pt x="430" y="108"/>
                </a:lnTo>
                <a:lnTo>
                  <a:pt x="432" y="108"/>
                </a:lnTo>
                <a:lnTo>
                  <a:pt x="439" y="106"/>
                </a:lnTo>
                <a:lnTo>
                  <a:pt x="445" y="104"/>
                </a:lnTo>
                <a:lnTo>
                  <a:pt x="508" y="119"/>
                </a:lnTo>
                <a:lnTo>
                  <a:pt x="508" y="121"/>
                </a:lnTo>
                <a:lnTo>
                  <a:pt x="532" y="125"/>
                </a:lnTo>
                <a:lnTo>
                  <a:pt x="540" y="130"/>
                </a:lnTo>
                <a:lnTo>
                  <a:pt x="577" y="136"/>
                </a:lnTo>
                <a:lnTo>
                  <a:pt x="577" y="138"/>
                </a:lnTo>
                <a:lnTo>
                  <a:pt x="579" y="147"/>
                </a:lnTo>
                <a:lnTo>
                  <a:pt x="581" y="151"/>
                </a:lnTo>
                <a:lnTo>
                  <a:pt x="581" y="153"/>
                </a:lnTo>
                <a:lnTo>
                  <a:pt x="586" y="156"/>
                </a:lnTo>
                <a:lnTo>
                  <a:pt x="590" y="158"/>
                </a:lnTo>
                <a:lnTo>
                  <a:pt x="594" y="164"/>
                </a:lnTo>
                <a:lnTo>
                  <a:pt x="594" y="169"/>
                </a:lnTo>
                <a:lnTo>
                  <a:pt x="594" y="171"/>
                </a:lnTo>
                <a:lnTo>
                  <a:pt x="596" y="179"/>
                </a:lnTo>
                <a:lnTo>
                  <a:pt x="594" y="181"/>
                </a:lnTo>
                <a:lnTo>
                  <a:pt x="590" y="188"/>
                </a:lnTo>
                <a:lnTo>
                  <a:pt x="586" y="190"/>
                </a:lnTo>
                <a:lnTo>
                  <a:pt x="579" y="201"/>
                </a:lnTo>
                <a:lnTo>
                  <a:pt x="577" y="205"/>
                </a:lnTo>
                <a:lnTo>
                  <a:pt x="568" y="218"/>
                </a:lnTo>
                <a:lnTo>
                  <a:pt x="566" y="220"/>
                </a:lnTo>
                <a:lnTo>
                  <a:pt x="564" y="223"/>
                </a:lnTo>
                <a:lnTo>
                  <a:pt x="560" y="227"/>
                </a:lnTo>
                <a:lnTo>
                  <a:pt x="560" y="229"/>
                </a:lnTo>
                <a:lnTo>
                  <a:pt x="560" y="231"/>
                </a:lnTo>
                <a:lnTo>
                  <a:pt x="560" y="233"/>
                </a:lnTo>
                <a:lnTo>
                  <a:pt x="560" y="235"/>
                </a:lnTo>
                <a:lnTo>
                  <a:pt x="558" y="240"/>
                </a:lnTo>
                <a:lnTo>
                  <a:pt x="553" y="240"/>
                </a:lnTo>
                <a:lnTo>
                  <a:pt x="551" y="244"/>
                </a:lnTo>
                <a:lnTo>
                  <a:pt x="549" y="248"/>
                </a:lnTo>
                <a:lnTo>
                  <a:pt x="542" y="248"/>
                </a:lnTo>
                <a:lnTo>
                  <a:pt x="540" y="253"/>
                </a:lnTo>
                <a:lnTo>
                  <a:pt x="532" y="264"/>
                </a:lnTo>
                <a:lnTo>
                  <a:pt x="532" y="266"/>
                </a:lnTo>
                <a:lnTo>
                  <a:pt x="527" y="268"/>
                </a:lnTo>
                <a:lnTo>
                  <a:pt x="527" y="270"/>
                </a:lnTo>
                <a:lnTo>
                  <a:pt x="525" y="270"/>
                </a:lnTo>
                <a:lnTo>
                  <a:pt x="525" y="276"/>
                </a:lnTo>
                <a:lnTo>
                  <a:pt x="521" y="279"/>
                </a:lnTo>
                <a:lnTo>
                  <a:pt x="525" y="283"/>
                </a:lnTo>
                <a:lnTo>
                  <a:pt x="521" y="285"/>
                </a:lnTo>
                <a:lnTo>
                  <a:pt x="521" y="287"/>
                </a:lnTo>
                <a:lnTo>
                  <a:pt x="525" y="292"/>
                </a:lnTo>
                <a:lnTo>
                  <a:pt x="525" y="294"/>
                </a:lnTo>
                <a:lnTo>
                  <a:pt x="527" y="292"/>
                </a:lnTo>
                <a:lnTo>
                  <a:pt x="529" y="292"/>
                </a:lnTo>
                <a:lnTo>
                  <a:pt x="529" y="294"/>
                </a:lnTo>
                <a:lnTo>
                  <a:pt x="532" y="296"/>
                </a:lnTo>
                <a:lnTo>
                  <a:pt x="532" y="294"/>
                </a:lnTo>
                <a:lnTo>
                  <a:pt x="534" y="296"/>
                </a:lnTo>
                <a:lnTo>
                  <a:pt x="536" y="298"/>
                </a:lnTo>
                <a:lnTo>
                  <a:pt x="534" y="300"/>
                </a:lnTo>
                <a:lnTo>
                  <a:pt x="540" y="302"/>
                </a:lnTo>
                <a:lnTo>
                  <a:pt x="540" y="305"/>
                </a:lnTo>
                <a:lnTo>
                  <a:pt x="534" y="311"/>
                </a:lnTo>
                <a:lnTo>
                  <a:pt x="532" y="311"/>
                </a:lnTo>
                <a:lnTo>
                  <a:pt x="534" y="317"/>
                </a:lnTo>
                <a:lnTo>
                  <a:pt x="532" y="320"/>
                </a:lnTo>
                <a:lnTo>
                  <a:pt x="529" y="326"/>
                </a:lnTo>
                <a:lnTo>
                  <a:pt x="529" y="330"/>
                </a:lnTo>
                <a:lnTo>
                  <a:pt x="527" y="330"/>
                </a:lnTo>
                <a:lnTo>
                  <a:pt x="525" y="330"/>
                </a:lnTo>
                <a:lnTo>
                  <a:pt x="525" y="333"/>
                </a:lnTo>
                <a:lnTo>
                  <a:pt x="521" y="335"/>
                </a:lnTo>
                <a:lnTo>
                  <a:pt x="521" y="341"/>
                </a:lnTo>
                <a:lnTo>
                  <a:pt x="521" y="346"/>
                </a:lnTo>
                <a:lnTo>
                  <a:pt x="486" y="499"/>
                </a:lnTo>
                <a:lnTo>
                  <a:pt x="406" y="482"/>
                </a:lnTo>
                <a:lnTo>
                  <a:pt x="333" y="464"/>
                </a:lnTo>
                <a:lnTo>
                  <a:pt x="331" y="462"/>
                </a:lnTo>
                <a:lnTo>
                  <a:pt x="285" y="451"/>
                </a:lnTo>
                <a:lnTo>
                  <a:pt x="229" y="436"/>
                </a:lnTo>
                <a:lnTo>
                  <a:pt x="188" y="425"/>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200" name="Freeform 33">
            <a:extLst>
              <a:ext uri="{FF2B5EF4-FFF2-40B4-BE49-F238E27FC236}">
                <a16:creationId xmlns:a16="http://schemas.microsoft.com/office/drawing/2014/main" id="{0435861B-6C4D-47C6-A6D8-B3EE9F497CC3}"/>
              </a:ext>
            </a:extLst>
          </p:cNvPr>
          <p:cNvSpPr>
            <a:spLocks/>
          </p:cNvSpPr>
          <p:nvPr>
            <p:custDataLst>
              <p:tags r:id="rId24"/>
            </p:custDataLst>
          </p:nvPr>
        </p:nvSpPr>
        <p:spPr bwMode="auto">
          <a:xfrm>
            <a:off x="9312036" y="2125113"/>
            <a:ext cx="243311" cy="555557"/>
          </a:xfrm>
          <a:custGeom>
            <a:avLst/>
            <a:gdLst>
              <a:gd name="T0" fmla="*/ 2147483647 w 121"/>
              <a:gd name="T1" fmla="*/ 2147483647 h 257"/>
              <a:gd name="T2" fmla="*/ 2147483647 w 121"/>
              <a:gd name="T3" fmla="*/ 2147483647 h 257"/>
              <a:gd name="T4" fmla="*/ 2147483647 w 121"/>
              <a:gd name="T5" fmla="*/ 2147483647 h 257"/>
              <a:gd name="T6" fmla="*/ 2147483647 w 121"/>
              <a:gd name="T7" fmla="*/ 2147483647 h 257"/>
              <a:gd name="T8" fmla="*/ 2147483647 w 121"/>
              <a:gd name="T9" fmla="*/ 2147483647 h 257"/>
              <a:gd name="T10" fmla="*/ 2147483647 w 121"/>
              <a:gd name="T11" fmla="*/ 2147483647 h 257"/>
              <a:gd name="T12" fmla="*/ 2147483647 w 121"/>
              <a:gd name="T13" fmla="*/ 2147483647 h 257"/>
              <a:gd name="T14" fmla="*/ 2147483647 w 121"/>
              <a:gd name="T15" fmla="*/ 2147483647 h 257"/>
              <a:gd name="T16" fmla="*/ 2147483647 w 121"/>
              <a:gd name="T17" fmla="*/ 2147483647 h 257"/>
              <a:gd name="T18" fmla="*/ 2147483647 w 121"/>
              <a:gd name="T19" fmla="*/ 2147483647 h 257"/>
              <a:gd name="T20" fmla="*/ 0 w 121"/>
              <a:gd name="T21" fmla="*/ 2147483647 h 257"/>
              <a:gd name="T22" fmla="*/ 0 w 121"/>
              <a:gd name="T23" fmla="*/ 2147483647 h 257"/>
              <a:gd name="T24" fmla="*/ 0 w 121"/>
              <a:gd name="T25" fmla="*/ 2147483647 h 257"/>
              <a:gd name="T26" fmla="*/ 0 w 121"/>
              <a:gd name="T27" fmla="*/ 2147483647 h 257"/>
              <a:gd name="T28" fmla="*/ 2147483647 w 121"/>
              <a:gd name="T29" fmla="*/ 2147483647 h 257"/>
              <a:gd name="T30" fmla="*/ 2147483647 w 121"/>
              <a:gd name="T31" fmla="*/ 2147483647 h 257"/>
              <a:gd name="T32" fmla="*/ 2147483647 w 121"/>
              <a:gd name="T33" fmla="*/ 2147483647 h 257"/>
              <a:gd name="T34" fmla="*/ 2147483647 w 121"/>
              <a:gd name="T35" fmla="*/ 2147483647 h 257"/>
              <a:gd name="T36" fmla="*/ 2147483647 w 121"/>
              <a:gd name="T37" fmla="*/ 2147483647 h 257"/>
              <a:gd name="T38" fmla="*/ 2147483647 w 121"/>
              <a:gd name="T39" fmla="*/ 2147483647 h 257"/>
              <a:gd name="T40" fmla="*/ 2147483647 w 121"/>
              <a:gd name="T41" fmla="*/ 2147483647 h 257"/>
              <a:gd name="T42" fmla="*/ 2147483647 w 121"/>
              <a:gd name="T43" fmla="*/ 2147483647 h 257"/>
              <a:gd name="T44" fmla="*/ 2147483647 w 121"/>
              <a:gd name="T45" fmla="*/ 2147483647 h 257"/>
              <a:gd name="T46" fmla="*/ 2147483647 w 121"/>
              <a:gd name="T47" fmla="*/ 2147483647 h 257"/>
              <a:gd name="T48" fmla="*/ 2147483647 w 121"/>
              <a:gd name="T49" fmla="*/ 2147483647 h 257"/>
              <a:gd name="T50" fmla="*/ 2147483647 w 121"/>
              <a:gd name="T51" fmla="*/ 2147483647 h 257"/>
              <a:gd name="T52" fmla="*/ 2147483647 w 121"/>
              <a:gd name="T53" fmla="*/ 2147483647 h 257"/>
              <a:gd name="T54" fmla="*/ 2147483647 w 121"/>
              <a:gd name="T55" fmla="*/ 2147483647 h 257"/>
              <a:gd name="T56" fmla="*/ 2147483647 w 121"/>
              <a:gd name="T57" fmla="*/ 2147483647 h 257"/>
              <a:gd name="T58" fmla="*/ 2147483647 w 121"/>
              <a:gd name="T59" fmla="*/ 2147483647 h 257"/>
              <a:gd name="T60" fmla="*/ 2147483647 w 121"/>
              <a:gd name="T61" fmla="*/ 2147483647 h 257"/>
              <a:gd name="T62" fmla="*/ 2147483647 w 121"/>
              <a:gd name="T63" fmla="*/ 2147483647 h 257"/>
              <a:gd name="T64" fmla="*/ 2147483647 w 121"/>
              <a:gd name="T65" fmla="*/ 2147483647 h 257"/>
              <a:gd name="T66" fmla="*/ 2147483647 w 121"/>
              <a:gd name="T67" fmla="*/ 2147483647 h 257"/>
              <a:gd name="T68" fmla="*/ 2147483647 w 121"/>
              <a:gd name="T69" fmla="*/ 2147483647 h 257"/>
              <a:gd name="T70" fmla="*/ 2147483647 w 121"/>
              <a:gd name="T71" fmla="*/ 2147483647 h 257"/>
              <a:gd name="T72" fmla="*/ 2147483647 w 121"/>
              <a:gd name="T73" fmla="*/ 2147483647 h 257"/>
              <a:gd name="T74" fmla="*/ 2147483647 w 121"/>
              <a:gd name="T75" fmla="*/ 2147483647 h 257"/>
              <a:gd name="T76" fmla="*/ 2147483647 w 121"/>
              <a:gd name="T77" fmla="*/ 2147483647 h 257"/>
              <a:gd name="T78" fmla="*/ 2147483647 w 121"/>
              <a:gd name="T79" fmla="*/ 0 h 257"/>
              <a:gd name="T80" fmla="*/ 2147483647 w 121"/>
              <a:gd name="T81" fmla="*/ 2147483647 h 257"/>
              <a:gd name="T82" fmla="*/ 2147483647 w 121"/>
              <a:gd name="T83" fmla="*/ 2147483647 h 257"/>
              <a:gd name="T84" fmla="*/ 2147483647 w 121"/>
              <a:gd name="T85" fmla="*/ 2147483647 h 257"/>
              <a:gd name="T86" fmla="*/ 2147483647 w 121"/>
              <a:gd name="T87" fmla="*/ 2147483647 h 257"/>
              <a:gd name="T88" fmla="*/ 2147483647 w 121"/>
              <a:gd name="T89" fmla="*/ 2147483647 h 257"/>
              <a:gd name="T90" fmla="*/ 2147483647 w 121"/>
              <a:gd name="T91" fmla="*/ 2147483647 h 257"/>
              <a:gd name="T92" fmla="*/ 2147483647 w 121"/>
              <a:gd name="T93" fmla="*/ 2147483647 h 257"/>
              <a:gd name="T94" fmla="*/ 2147483647 w 121"/>
              <a:gd name="T95" fmla="*/ 2147483647 h 257"/>
              <a:gd name="T96" fmla="*/ 2147483647 w 121"/>
              <a:gd name="T97" fmla="*/ 2147483647 h 257"/>
              <a:gd name="T98" fmla="*/ 2147483647 w 121"/>
              <a:gd name="T99" fmla="*/ 2147483647 h 257"/>
              <a:gd name="T100" fmla="*/ 2147483647 w 121"/>
              <a:gd name="T101" fmla="*/ 2147483647 h 257"/>
              <a:gd name="T102" fmla="*/ 2147483647 w 121"/>
              <a:gd name="T103" fmla="*/ 2147483647 h 257"/>
              <a:gd name="T104" fmla="*/ 2147483647 w 121"/>
              <a:gd name="T105" fmla="*/ 2147483647 h 257"/>
              <a:gd name="T106" fmla="*/ 2147483647 w 121"/>
              <a:gd name="T107" fmla="*/ 2147483647 h 257"/>
              <a:gd name="T108" fmla="*/ 2147483647 w 121"/>
              <a:gd name="T109" fmla="*/ 2147483647 h 257"/>
              <a:gd name="T110" fmla="*/ 2147483647 w 121"/>
              <a:gd name="T111" fmla="*/ 2147483647 h 257"/>
              <a:gd name="T112" fmla="*/ 2147483647 w 121"/>
              <a:gd name="T113" fmla="*/ 2147483647 h 257"/>
              <a:gd name="T114" fmla="*/ 2147483647 w 121"/>
              <a:gd name="T115" fmla="*/ 2147483647 h 2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1"/>
              <a:gd name="T175" fmla="*/ 0 h 257"/>
              <a:gd name="T176" fmla="*/ 121 w 121"/>
              <a:gd name="T177" fmla="*/ 257 h 25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1" h="257">
                <a:moveTo>
                  <a:pt x="26" y="255"/>
                </a:moveTo>
                <a:lnTo>
                  <a:pt x="13" y="257"/>
                </a:lnTo>
                <a:lnTo>
                  <a:pt x="13" y="255"/>
                </a:lnTo>
                <a:lnTo>
                  <a:pt x="10" y="255"/>
                </a:lnTo>
                <a:lnTo>
                  <a:pt x="8" y="255"/>
                </a:lnTo>
                <a:lnTo>
                  <a:pt x="8" y="251"/>
                </a:lnTo>
                <a:lnTo>
                  <a:pt x="6" y="251"/>
                </a:lnTo>
                <a:lnTo>
                  <a:pt x="4" y="246"/>
                </a:lnTo>
                <a:lnTo>
                  <a:pt x="6" y="242"/>
                </a:lnTo>
                <a:lnTo>
                  <a:pt x="4" y="238"/>
                </a:lnTo>
                <a:lnTo>
                  <a:pt x="6" y="238"/>
                </a:lnTo>
                <a:lnTo>
                  <a:pt x="6" y="233"/>
                </a:lnTo>
                <a:lnTo>
                  <a:pt x="8" y="231"/>
                </a:lnTo>
                <a:lnTo>
                  <a:pt x="6" y="227"/>
                </a:lnTo>
                <a:lnTo>
                  <a:pt x="6" y="225"/>
                </a:lnTo>
                <a:lnTo>
                  <a:pt x="6" y="223"/>
                </a:lnTo>
                <a:lnTo>
                  <a:pt x="4" y="216"/>
                </a:lnTo>
                <a:lnTo>
                  <a:pt x="4" y="212"/>
                </a:lnTo>
                <a:lnTo>
                  <a:pt x="4" y="205"/>
                </a:lnTo>
                <a:lnTo>
                  <a:pt x="4" y="201"/>
                </a:lnTo>
                <a:lnTo>
                  <a:pt x="4" y="199"/>
                </a:lnTo>
                <a:lnTo>
                  <a:pt x="0" y="197"/>
                </a:lnTo>
                <a:lnTo>
                  <a:pt x="0" y="194"/>
                </a:lnTo>
                <a:lnTo>
                  <a:pt x="0" y="186"/>
                </a:lnTo>
                <a:lnTo>
                  <a:pt x="0" y="184"/>
                </a:lnTo>
                <a:lnTo>
                  <a:pt x="0" y="179"/>
                </a:lnTo>
                <a:lnTo>
                  <a:pt x="0" y="177"/>
                </a:lnTo>
                <a:lnTo>
                  <a:pt x="0" y="166"/>
                </a:lnTo>
                <a:lnTo>
                  <a:pt x="4" y="162"/>
                </a:lnTo>
                <a:lnTo>
                  <a:pt x="6" y="160"/>
                </a:lnTo>
                <a:lnTo>
                  <a:pt x="6" y="156"/>
                </a:lnTo>
                <a:lnTo>
                  <a:pt x="6" y="147"/>
                </a:lnTo>
                <a:lnTo>
                  <a:pt x="8" y="145"/>
                </a:lnTo>
                <a:lnTo>
                  <a:pt x="8" y="143"/>
                </a:lnTo>
                <a:lnTo>
                  <a:pt x="8" y="140"/>
                </a:lnTo>
                <a:lnTo>
                  <a:pt x="8" y="136"/>
                </a:lnTo>
                <a:lnTo>
                  <a:pt x="8" y="134"/>
                </a:lnTo>
                <a:lnTo>
                  <a:pt x="8" y="132"/>
                </a:lnTo>
                <a:lnTo>
                  <a:pt x="10" y="128"/>
                </a:lnTo>
                <a:lnTo>
                  <a:pt x="10" y="125"/>
                </a:lnTo>
                <a:lnTo>
                  <a:pt x="8" y="125"/>
                </a:lnTo>
                <a:lnTo>
                  <a:pt x="8" y="123"/>
                </a:lnTo>
                <a:lnTo>
                  <a:pt x="8" y="119"/>
                </a:lnTo>
                <a:lnTo>
                  <a:pt x="6" y="117"/>
                </a:lnTo>
                <a:lnTo>
                  <a:pt x="6" y="112"/>
                </a:lnTo>
                <a:lnTo>
                  <a:pt x="4" y="110"/>
                </a:lnTo>
                <a:lnTo>
                  <a:pt x="6" y="108"/>
                </a:lnTo>
                <a:lnTo>
                  <a:pt x="6" y="104"/>
                </a:lnTo>
                <a:lnTo>
                  <a:pt x="10" y="102"/>
                </a:lnTo>
                <a:lnTo>
                  <a:pt x="15" y="99"/>
                </a:lnTo>
                <a:lnTo>
                  <a:pt x="19" y="99"/>
                </a:lnTo>
                <a:lnTo>
                  <a:pt x="19" y="95"/>
                </a:lnTo>
                <a:lnTo>
                  <a:pt x="21" y="95"/>
                </a:lnTo>
                <a:lnTo>
                  <a:pt x="26" y="91"/>
                </a:lnTo>
                <a:lnTo>
                  <a:pt x="26" y="87"/>
                </a:lnTo>
                <a:lnTo>
                  <a:pt x="26" y="84"/>
                </a:lnTo>
                <a:lnTo>
                  <a:pt x="28" y="84"/>
                </a:lnTo>
                <a:lnTo>
                  <a:pt x="28" y="82"/>
                </a:lnTo>
                <a:lnTo>
                  <a:pt x="28" y="80"/>
                </a:lnTo>
                <a:lnTo>
                  <a:pt x="28" y="78"/>
                </a:lnTo>
                <a:lnTo>
                  <a:pt x="30" y="71"/>
                </a:lnTo>
                <a:lnTo>
                  <a:pt x="28" y="71"/>
                </a:lnTo>
                <a:lnTo>
                  <a:pt x="28" y="67"/>
                </a:lnTo>
                <a:lnTo>
                  <a:pt x="26" y="67"/>
                </a:lnTo>
                <a:lnTo>
                  <a:pt x="23" y="65"/>
                </a:lnTo>
                <a:lnTo>
                  <a:pt x="21" y="61"/>
                </a:lnTo>
                <a:lnTo>
                  <a:pt x="23" y="54"/>
                </a:lnTo>
                <a:lnTo>
                  <a:pt x="23" y="52"/>
                </a:lnTo>
                <a:lnTo>
                  <a:pt x="26" y="43"/>
                </a:lnTo>
                <a:lnTo>
                  <a:pt x="23" y="41"/>
                </a:lnTo>
                <a:lnTo>
                  <a:pt x="21" y="37"/>
                </a:lnTo>
                <a:lnTo>
                  <a:pt x="23" y="33"/>
                </a:lnTo>
                <a:lnTo>
                  <a:pt x="21" y="30"/>
                </a:lnTo>
                <a:lnTo>
                  <a:pt x="23" y="22"/>
                </a:lnTo>
                <a:lnTo>
                  <a:pt x="23" y="15"/>
                </a:lnTo>
                <a:lnTo>
                  <a:pt x="21" y="13"/>
                </a:lnTo>
                <a:lnTo>
                  <a:pt x="23" y="11"/>
                </a:lnTo>
                <a:lnTo>
                  <a:pt x="28" y="4"/>
                </a:lnTo>
                <a:lnTo>
                  <a:pt x="38" y="9"/>
                </a:lnTo>
                <a:lnTo>
                  <a:pt x="41" y="0"/>
                </a:lnTo>
                <a:lnTo>
                  <a:pt x="60" y="58"/>
                </a:lnTo>
                <a:lnTo>
                  <a:pt x="73" y="91"/>
                </a:lnTo>
                <a:lnTo>
                  <a:pt x="86" y="134"/>
                </a:lnTo>
                <a:lnTo>
                  <a:pt x="90" y="156"/>
                </a:lnTo>
                <a:lnTo>
                  <a:pt x="92" y="156"/>
                </a:lnTo>
                <a:lnTo>
                  <a:pt x="92" y="158"/>
                </a:lnTo>
                <a:lnTo>
                  <a:pt x="92" y="160"/>
                </a:lnTo>
                <a:lnTo>
                  <a:pt x="95" y="164"/>
                </a:lnTo>
                <a:lnTo>
                  <a:pt x="95" y="166"/>
                </a:lnTo>
                <a:lnTo>
                  <a:pt x="95" y="169"/>
                </a:lnTo>
                <a:lnTo>
                  <a:pt x="97" y="173"/>
                </a:lnTo>
                <a:lnTo>
                  <a:pt x="103" y="177"/>
                </a:lnTo>
                <a:lnTo>
                  <a:pt x="103" y="179"/>
                </a:lnTo>
                <a:lnTo>
                  <a:pt x="110" y="181"/>
                </a:lnTo>
                <a:lnTo>
                  <a:pt x="110" y="190"/>
                </a:lnTo>
                <a:lnTo>
                  <a:pt x="112" y="192"/>
                </a:lnTo>
                <a:lnTo>
                  <a:pt x="108" y="194"/>
                </a:lnTo>
                <a:lnTo>
                  <a:pt x="110" y="194"/>
                </a:lnTo>
                <a:lnTo>
                  <a:pt x="108" y="197"/>
                </a:lnTo>
                <a:lnTo>
                  <a:pt x="110" y="199"/>
                </a:lnTo>
                <a:lnTo>
                  <a:pt x="114" y="194"/>
                </a:lnTo>
                <a:lnTo>
                  <a:pt x="121" y="197"/>
                </a:lnTo>
                <a:lnTo>
                  <a:pt x="121" y="214"/>
                </a:lnTo>
                <a:lnTo>
                  <a:pt x="118" y="216"/>
                </a:lnTo>
                <a:lnTo>
                  <a:pt x="112" y="214"/>
                </a:lnTo>
                <a:lnTo>
                  <a:pt x="112" y="216"/>
                </a:lnTo>
                <a:lnTo>
                  <a:pt x="105" y="223"/>
                </a:lnTo>
                <a:lnTo>
                  <a:pt x="105" y="227"/>
                </a:lnTo>
                <a:lnTo>
                  <a:pt x="101" y="225"/>
                </a:lnTo>
                <a:lnTo>
                  <a:pt x="95" y="227"/>
                </a:lnTo>
                <a:lnTo>
                  <a:pt x="97" y="233"/>
                </a:lnTo>
                <a:lnTo>
                  <a:pt x="95" y="233"/>
                </a:lnTo>
                <a:lnTo>
                  <a:pt x="92" y="238"/>
                </a:lnTo>
                <a:lnTo>
                  <a:pt x="92" y="240"/>
                </a:lnTo>
                <a:lnTo>
                  <a:pt x="51" y="248"/>
                </a:lnTo>
                <a:lnTo>
                  <a:pt x="47" y="248"/>
                </a:lnTo>
                <a:lnTo>
                  <a:pt x="26" y="255"/>
                </a:lnTo>
                <a:close/>
              </a:path>
            </a:pathLst>
          </a:custGeom>
          <a:solidFill>
            <a:schemeClr val="bg1"/>
          </a:solidFill>
          <a:ln w="9525">
            <a:noFill/>
            <a:round/>
            <a:headEnd/>
            <a:tailEnd/>
          </a:ln>
        </p:spPr>
        <p:txBody>
          <a:bodyPr/>
          <a:lstStyle/>
          <a:p>
            <a:endParaRPr lang="en-US" dirty="0">
              <a:solidFill>
                <a:prstClr val="black"/>
              </a:solidFill>
            </a:endParaRPr>
          </a:p>
        </p:txBody>
      </p:sp>
      <p:sp>
        <p:nvSpPr>
          <p:cNvPr id="201" name="Freeform 34">
            <a:extLst>
              <a:ext uri="{FF2B5EF4-FFF2-40B4-BE49-F238E27FC236}">
                <a16:creationId xmlns:a16="http://schemas.microsoft.com/office/drawing/2014/main" id="{4A40214B-A9E7-4C6B-9FD9-38D666B55CF7}"/>
              </a:ext>
            </a:extLst>
          </p:cNvPr>
          <p:cNvSpPr>
            <a:spLocks/>
          </p:cNvSpPr>
          <p:nvPr>
            <p:custDataLst>
              <p:tags r:id="rId25"/>
            </p:custDataLst>
          </p:nvPr>
        </p:nvSpPr>
        <p:spPr bwMode="auto">
          <a:xfrm>
            <a:off x="9312036" y="2125113"/>
            <a:ext cx="243311" cy="555557"/>
          </a:xfrm>
          <a:custGeom>
            <a:avLst/>
            <a:gdLst>
              <a:gd name="T0" fmla="*/ 2147483647 w 121"/>
              <a:gd name="T1" fmla="*/ 2147483647 h 257"/>
              <a:gd name="T2" fmla="*/ 2147483647 w 121"/>
              <a:gd name="T3" fmla="*/ 2147483647 h 257"/>
              <a:gd name="T4" fmla="*/ 2147483647 w 121"/>
              <a:gd name="T5" fmla="*/ 2147483647 h 257"/>
              <a:gd name="T6" fmla="*/ 2147483647 w 121"/>
              <a:gd name="T7" fmla="*/ 2147483647 h 257"/>
              <a:gd name="T8" fmla="*/ 2147483647 w 121"/>
              <a:gd name="T9" fmla="*/ 2147483647 h 257"/>
              <a:gd name="T10" fmla="*/ 2147483647 w 121"/>
              <a:gd name="T11" fmla="*/ 2147483647 h 257"/>
              <a:gd name="T12" fmla="*/ 2147483647 w 121"/>
              <a:gd name="T13" fmla="*/ 2147483647 h 257"/>
              <a:gd name="T14" fmla="*/ 2147483647 w 121"/>
              <a:gd name="T15" fmla="*/ 2147483647 h 257"/>
              <a:gd name="T16" fmla="*/ 2147483647 w 121"/>
              <a:gd name="T17" fmla="*/ 2147483647 h 257"/>
              <a:gd name="T18" fmla="*/ 2147483647 w 121"/>
              <a:gd name="T19" fmla="*/ 2147483647 h 257"/>
              <a:gd name="T20" fmla="*/ 0 w 121"/>
              <a:gd name="T21" fmla="*/ 2147483647 h 257"/>
              <a:gd name="T22" fmla="*/ 0 w 121"/>
              <a:gd name="T23" fmla="*/ 2147483647 h 257"/>
              <a:gd name="T24" fmla="*/ 0 w 121"/>
              <a:gd name="T25" fmla="*/ 2147483647 h 257"/>
              <a:gd name="T26" fmla="*/ 0 w 121"/>
              <a:gd name="T27" fmla="*/ 2147483647 h 257"/>
              <a:gd name="T28" fmla="*/ 2147483647 w 121"/>
              <a:gd name="T29" fmla="*/ 2147483647 h 257"/>
              <a:gd name="T30" fmla="*/ 2147483647 w 121"/>
              <a:gd name="T31" fmla="*/ 2147483647 h 257"/>
              <a:gd name="T32" fmla="*/ 2147483647 w 121"/>
              <a:gd name="T33" fmla="*/ 2147483647 h 257"/>
              <a:gd name="T34" fmla="*/ 2147483647 w 121"/>
              <a:gd name="T35" fmla="*/ 2147483647 h 257"/>
              <a:gd name="T36" fmla="*/ 2147483647 w 121"/>
              <a:gd name="T37" fmla="*/ 2147483647 h 257"/>
              <a:gd name="T38" fmla="*/ 2147483647 w 121"/>
              <a:gd name="T39" fmla="*/ 2147483647 h 257"/>
              <a:gd name="T40" fmla="*/ 2147483647 w 121"/>
              <a:gd name="T41" fmla="*/ 2147483647 h 257"/>
              <a:gd name="T42" fmla="*/ 2147483647 w 121"/>
              <a:gd name="T43" fmla="*/ 2147483647 h 257"/>
              <a:gd name="T44" fmla="*/ 2147483647 w 121"/>
              <a:gd name="T45" fmla="*/ 2147483647 h 257"/>
              <a:gd name="T46" fmla="*/ 2147483647 w 121"/>
              <a:gd name="T47" fmla="*/ 2147483647 h 257"/>
              <a:gd name="T48" fmla="*/ 2147483647 w 121"/>
              <a:gd name="T49" fmla="*/ 2147483647 h 257"/>
              <a:gd name="T50" fmla="*/ 2147483647 w 121"/>
              <a:gd name="T51" fmla="*/ 2147483647 h 257"/>
              <a:gd name="T52" fmla="*/ 2147483647 w 121"/>
              <a:gd name="T53" fmla="*/ 2147483647 h 257"/>
              <a:gd name="T54" fmla="*/ 2147483647 w 121"/>
              <a:gd name="T55" fmla="*/ 2147483647 h 257"/>
              <a:gd name="T56" fmla="*/ 2147483647 w 121"/>
              <a:gd name="T57" fmla="*/ 2147483647 h 257"/>
              <a:gd name="T58" fmla="*/ 2147483647 w 121"/>
              <a:gd name="T59" fmla="*/ 2147483647 h 257"/>
              <a:gd name="T60" fmla="*/ 2147483647 w 121"/>
              <a:gd name="T61" fmla="*/ 2147483647 h 257"/>
              <a:gd name="T62" fmla="*/ 2147483647 w 121"/>
              <a:gd name="T63" fmla="*/ 2147483647 h 257"/>
              <a:gd name="T64" fmla="*/ 2147483647 w 121"/>
              <a:gd name="T65" fmla="*/ 2147483647 h 257"/>
              <a:gd name="T66" fmla="*/ 2147483647 w 121"/>
              <a:gd name="T67" fmla="*/ 2147483647 h 257"/>
              <a:gd name="T68" fmla="*/ 2147483647 w 121"/>
              <a:gd name="T69" fmla="*/ 2147483647 h 257"/>
              <a:gd name="T70" fmla="*/ 2147483647 w 121"/>
              <a:gd name="T71" fmla="*/ 2147483647 h 257"/>
              <a:gd name="T72" fmla="*/ 2147483647 w 121"/>
              <a:gd name="T73" fmla="*/ 2147483647 h 257"/>
              <a:gd name="T74" fmla="*/ 2147483647 w 121"/>
              <a:gd name="T75" fmla="*/ 2147483647 h 257"/>
              <a:gd name="T76" fmla="*/ 2147483647 w 121"/>
              <a:gd name="T77" fmla="*/ 2147483647 h 257"/>
              <a:gd name="T78" fmla="*/ 2147483647 w 121"/>
              <a:gd name="T79" fmla="*/ 0 h 257"/>
              <a:gd name="T80" fmla="*/ 2147483647 w 121"/>
              <a:gd name="T81" fmla="*/ 2147483647 h 257"/>
              <a:gd name="T82" fmla="*/ 2147483647 w 121"/>
              <a:gd name="T83" fmla="*/ 2147483647 h 257"/>
              <a:gd name="T84" fmla="*/ 2147483647 w 121"/>
              <a:gd name="T85" fmla="*/ 2147483647 h 257"/>
              <a:gd name="T86" fmla="*/ 2147483647 w 121"/>
              <a:gd name="T87" fmla="*/ 2147483647 h 257"/>
              <a:gd name="T88" fmla="*/ 2147483647 w 121"/>
              <a:gd name="T89" fmla="*/ 2147483647 h 257"/>
              <a:gd name="T90" fmla="*/ 2147483647 w 121"/>
              <a:gd name="T91" fmla="*/ 2147483647 h 257"/>
              <a:gd name="T92" fmla="*/ 2147483647 w 121"/>
              <a:gd name="T93" fmla="*/ 2147483647 h 257"/>
              <a:gd name="T94" fmla="*/ 2147483647 w 121"/>
              <a:gd name="T95" fmla="*/ 2147483647 h 257"/>
              <a:gd name="T96" fmla="*/ 2147483647 w 121"/>
              <a:gd name="T97" fmla="*/ 2147483647 h 257"/>
              <a:gd name="T98" fmla="*/ 2147483647 w 121"/>
              <a:gd name="T99" fmla="*/ 2147483647 h 257"/>
              <a:gd name="T100" fmla="*/ 2147483647 w 121"/>
              <a:gd name="T101" fmla="*/ 2147483647 h 257"/>
              <a:gd name="T102" fmla="*/ 2147483647 w 121"/>
              <a:gd name="T103" fmla="*/ 2147483647 h 257"/>
              <a:gd name="T104" fmla="*/ 2147483647 w 121"/>
              <a:gd name="T105" fmla="*/ 2147483647 h 257"/>
              <a:gd name="T106" fmla="*/ 2147483647 w 121"/>
              <a:gd name="T107" fmla="*/ 2147483647 h 257"/>
              <a:gd name="T108" fmla="*/ 2147483647 w 121"/>
              <a:gd name="T109" fmla="*/ 2147483647 h 257"/>
              <a:gd name="T110" fmla="*/ 2147483647 w 121"/>
              <a:gd name="T111" fmla="*/ 2147483647 h 257"/>
              <a:gd name="T112" fmla="*/ 2147483647 w 121"/>
              <a:gd name="T113" fmla="*/ 2147483647 h 257"/>
              <a:gd name="T114" fmla="*/ 2147483647 w 121"/>
              <a:gd name="T115" fmla="*/ 2147483647 h 2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1"/>
              <a:gd name="T175" fmla="*/ 0 h 257"/>
              <a:gd name="T176" fmla="*/ 121 w 121"/>
              <a:gd name="T177" fmla="*/ 257 h 25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1" h="257">
                <a:moveTo>
                  <a:pt x="26" y="255"/>
                </a:moveTo>
                <a:lnTo>
                  <a:pt x="13" y="257"/>
                </a:lnTo>
                <a:lnTo>
                  <a:pt x="13" y="255"/>
                </a:lnTo>
                <a:lnTo>
                  <a:pt x="10" y="255"/>
                </a:lnTo>
                <a:lnTo>
                  <a:pt x="8" y="255"/>
                </a:lnTo>
                <a:lnTo>
                  <a:pt x="8" y="251"/>
                </a:lnTo>
                <a:lnTo>
                  <a:pt x="6" y="251"/>
                </a:lnTo>
                <a:lnTo>
                  <a:pt x="4" y="246"/>
                </a:lnTo>
                <a:lnTo>
                  <a:pt x="6" y="242"/>
                </a:lnTo>
                <a:lnTo>
                  <a:pt x="4" y="238"/>
                </a:lnTo>
                <a:lnTo>
                  <a:pt x="6" y="238"/>
                </a:lnTo>
                <a:lnTo>
                  <a:pt x="6" y="233"/>
                </a:lnTo>
                <a:lnTo>
                  <a:pt x="8" y="231"/>
                </a:lnTo>
                <a:lnTo>
                  <a:pt x="6" y="227"/>
                </a:lnTo>
                <a:lnTo>
                  <a:pt x="6" y="225"/>
                </a:lnTo>
                <a:lnTo>
                  <a:pt x="6" y="223"/>
                </a:lnTo>
                <a:lnTo>
                  <a:pt x="4" y="216"/>
                </a:lnTo>
                <a:lnTo>
                  <a:pt x="4" y="212"/>
                </a:lnTo>
                <a:lnTo>
                  <a:pt x="4" y="205"/>
                </a:lnTo>
                <a:lnTo>
                  <a:pt x="4" y="201"/>
                </a:lnTo>
                <a:lnTo>
                  <a:pt x="4" y="199"/>
                </a:lnTo>
                <a:lnTo>
                  <a:pt x="0" y="197"/>
                </a:lnTo>
                <a:lnTo>
                  <a:pt x="0" y="194"/>
                </a:lnTo>
                <a:lnTo>
                  <a:pt x="0" y="186"/>
                </a:lnTo>
                <a:lnTo>
                  <a:pt x="0" y="184"/>
                </a:lnTo>
                <a:lnTo>
                  <a:pt x="0" y="179"/>
                </a:lnTo>
                <a:lnTo>
                  <a:pt x="0" y="177"/>
                </a:lnTo>
                <a:lnTo>
                  <a:pt x="0" y="166"/>
                </a:lnTo>
                <a:lnTo>
                  <a:pt x="4" y="162"/>
                </a:lnTo>
                <a:lnTo>
                  <a:pt x="6" y="160"/>
                </a:lnTo>
                <a:lnTo>
                  <a:pt x="6" y="156"/>
                </a:lnTo>
                <a:lnTo>
                  <a:pt x="6" y="147"/>
                </a:lnTo>
                <a:lnTo>
                  <a:pt x="8" y="145"/>
                </a:lnTo>
                <a:lnTo>
                  <a:pt x="8" y="143"/>
                </a:lnTo>
                <a:lnTo>
                  <a:pt x="8" y="140"/>
                </a:lnTo>
                <a:lnTo>
                  <a:pt x="8" y="136"/>
                </a:lnTo>
                <a:lnTo>
                  <a:pt x="8" y="134"/>
                </a:lnTo>
                <a:lnTo>
                  <a:pt x="8" y="132"/>
                </a:lnTo>
                <a:lnTo>
                  <a:pt x="10" y="128"/>
                </a:lnTo>
                <a:lnTo>
                  <a:pt x="10" y="125"/>
                </a:lnTo>
                <a:lnTo>
                  <a:pt x="8" y="125"/>
                </a:lnTo>
                <a:lnTo>
                  <a:pt x="8" y="123"/>
                </a:lnTo>
                <a:lnTo>
                  <a:pt x="8" y="119"/>
                </a:lnTo>
                <a:lnTo>
                  <a:pt x="6" y="117"/>
                </a:lnTo>
                <a:lnTo>
                  <a:pt x="6" y="112"/>
                </a:lnTo>
                <a:lnTo>
                  <a:pt x="4" y="110"/>
                </a:lnTo>
                <a:lnTo>
                  <a:pt x="6" y="108"/>
                </a:lnTo>
                <a:lnTo>
                  <a:pt x="6" y="104"/>
                </a:lnTo>
                <a:lnTo>
                  <a:pt x="10" y="102"/>
                </a:lnTo>
                <a:lnTo>
                  <a:pt x="15" y="99"/>
                </a:lnTo>
                <a:lnTo>
                  <a:pt x="19" y="99"/>
                </a:lnTo>
                <a:lnTo>
                  <a:pt x="19" y="95"/>
                </a:lnTo>
                <a:lnTo>
                  <a:pt x="21" y="95"/>
                </a:lnTo>
                <a:lnTo>
                  <a:pt x="26" y="91"/>
                </a:lnTo>
                <a:lnTo>
                  <a:pt x="26" y="87"/>
                </a:lnTo>
                <a:lnTo>
                  <a:pt x="26" y="84"/>
                </a:lnTo>
                <a:lnTo>
                  <a:pt x="28" y="84"/>
                </a:lnTo>
                <a:lnTo>
                  <a:pt x="28" y="82"/>
                </a:lnTo>
                <a:lnTo>
                  <a:pt x="28" y="80"/>
                </a:lnTo>
                <a:lnTo>
                  <a:pt x="28" y="78"/>
                </a:lnTo>
                <a:lnTo>
                  <a:pt x="30" y="71"/>
                </a:lnTo>
                <a:lnTo>
                  <a:pt x="28" y="71"/>
                </a:lnTo>
                <a:lnTo>
                  <a:pt x="28" y="67"/>
                </a:lnTo>
                <a:lnTo>
                  <a:pt x="26" y="67"/>
                </a:lnTo>
                <a:lnTo>
                  <a:pt x="23" y="65"/>
                </a:lnTo>
                <a:lnTo>
                  <a:pt x="21" y="61"/>
                </a:lnTo>
                <a:lnTo>
                  <a:pt x="23" y="54"/>
                </a:lnTo>
                <a:lnTo>
                  <a:pt x="23" y="52"/>
                </a:lnTo>
                <a:lnTo>
                  <a:pt x="26" y="43"/>
                </a:lnTo>
                <a:lnTo>
                  <a:pt x="23" y="41"/>
                </a:lnTo>
                <a:lnTo>
                  <a:pt x="21" y="37"/>
                </a:lnTo>
                <a:lnTo>
                  <a:pt x="23" y="33"/>
                </a:lnTo>
                <a:lnTo>
                  <a:pt x="21" y="30"/>
                </a:lnTo>
                <a:lnTo>
                  <a:pt x="23" y="22"/>
                </a:lnTo>
                <a:lnTo>
                  <a:pt x="23" y="15"/>
                </a:lnTo>
                <a:lnTo>
                  <a:pt x="21" y="13"/>
                </a:lnTo>
                <a:lnTo>
                  <a:pt x="23" y="11"/>
                </a:lnTo>
                <a:lnTo>
                  <a:pt x="28" y="4"/>
                </a:lnTo>
                <a:lnTo>
                  <a:pt x="38" y="9"/>
                </a:lnTo>
                <a:lnTo>
                  <a:pt x="41" y="0"/>
                </a:lnTo>
                <a:lnTo>
                  <a:pt x="60" y="58"/>
                </a:lnTo>
                <a:lnTo>
                  <a:pt x="73" y="91"/>
                </a:lnTo>
                <a:lnTo>
                  <a:pt x="86" y="134"/>
                </a:lnTo>
                <a:lnTo>
                  <a:pt x="90" y="156"/>
                </a:lnTo>
                <a:lnTo>
                  <a:pt x="92" y="156"/>
                </a:lnTo>
                <a:lnTo>
                  <a:pt x="92" y="158"/>
                </a:lnTo>
                <a:lnTo>
                  <a:pt x="92" y="160"/>
                </a:lnTo>
                <a:lnTo>
                  <a:pt x="95" y="164"/>
                </a:lnTo>
                <a:lnTo>
                  <a:pt x="95" y="166"/>
                </a:lnTo>
                <a:lnTo>
                  <a:pt x="95" y="169"/>
                </a:lnTo>
                <a:lnTo>
                  <a:pt x="97" y="173"/>
                </a:lnTo>
                <a:lnTo>
                  <a:pt x="103" y="177"/>
                </a:lnTo>
                <a:lnTo>
                  <a:pt x="103" y="179"/>
                </a:lnTo>
                <a:lnTo>
                  <a:pt x="110" y="181"/>
                </a:lnTo>
                <a:lnTo>
                  <a:pt x="110" y="190"/>
                </a:lnTo>
                <a:lnTo>
                  <a:pt x="112" y="192"/>
                </a:lnTo>
                <a:lnTo>
                  <a:pt x="108" y="194"/>
                </a:lnTo>
                <a:lnTo>
                  <a:pt x="110" y="194"/>
                </a:lnTo>
                <a:lnTo>
                  <a:pt x="108" y="197"/>
                </a:lnTo>
                <a:lnTo>
                  <a:pt x="110" y="199"/>
                </a:lnTo>
                <a:lnTo>
                  <a:pt x="114" y="194"/>
                </a:lnTo>
                <a:lnTo>
                  <a:pt x="121" y="197"/>
                </a:lnTo>
                <a:lnTo>
                  <a:pt x="121" y="214"/>
                </a:lnTo>
                <a:lnTo>
                  <a:pt x="118" y="216"/>
                </a:lnTo>
                <a:lnTo>
                  <a:pt x="112" y="214"/>
                </a:lnTo>
                <a:lnTo>
                  <a:pt x="112" y="216"/>
                </a:lnTo>
                <a:lnTo>
                  <a:pt x="105" y="223"/>
                </a:lnTo>
                <a:lnTo>
                  <a:pt x="105" y="227"/>
                </a:lnTo>
                <a:lnTo>
                  <a:pt x="101" y="225"/>
                </a:lnTo>
                <a:lnTo>
                  <a:pt x="95" y="227"/>
                </a:lnTo>
                <a:lnTo>
                  <a:pt x="97" y="233"/>
                </a:lnTo>
                <a:lnTo>
                  <a:pt x="95" y="233"/>
                </a:lnTo>
                <a:lnTo>
                  <a:pt x="92" y="238"/>
                </a:lnTo>
                <a:lnTo>
                  <a:pt x="92" y="240"/>
                </a:lnTo>
                <a:lnTo>
                  <a:pt x="51" y="248"/>
                </a:lnTo>
                <a:lnTo>
                  <a:pt x="47" y="248"/>
                </a:lnTo>
                <a:lnTo>
                  <a:pt x="26" y="255"/>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202" name="Freeform 35">
            <a:extLst>
              <a:ext uri="{FF2B5EF4-FFF2-40B4-BE49-F238E27FC236}">
                <a16:creationId xmlns:a16="http://schemas.microsoft.com/office/drawing/2014/main" id="{E9AB5287-7E99-4F73-B6E3-15B22C787CBE}"/>
              </a:ext>
            </a:extLst>
          </p:cNvPr>
          <p:cNvSpPr>
            <a:spLocks/>
          </p:cNvSpPr>
          <p:nvPr>
            <p:custDataLst>
              <p:tags r:id="rId26"/>
            </p:custDataLst>
          </p:nvPr>
        </p:nvSpPr>
        <p:spPr bwMode="auto">
          <a:xfrm>
            <a:off x="6017442" y="2937911"/>
            <a:ext cx="907488" cy="633379"/>
          </a:xfrm>
          <a:custGeom>
            <a:avLst/>
            <a:gdLst>
              <a:gd name="T0" fmla="*/ 2147483647 w 449"/>
              <a:gd name="T1" fmla="*/ 2147483647 h 293"/>
              <a:gd name="T2" fmla="*/ 2147483647 w 449"/>
              <a:gd name="T3" fmla="*/ 2147483647 h 293"/>
              <a:gd name="T4" fmla="*/ 2147483647 w 449"/>
              <a:gd name="T5" fmla="*/ 2147483647 h 293"/>
              <a:gd name="T6" fmla="*/ 2147483647 w 449"/>
              <a:gd name="T7" fmla="*/ 2147483647 h 293"/>
              <a:gd name="T8" fmla="*/ 2147483647 w 449"/>
              <a:gd name="T9" fmla="*/ 2147483647 h 293"/>
              <a:gd name="T10" fmla="*/ 2147483647 w 449"/>
              <a:gd name="T11" fmla="*/ 2147483647 h 293"/>
              <a:gd name="T12" fmla="*/ 2147483647 w 449"/>
              <a:gd name="T13" fmla="*/ 2147483647 h 293"/>
              <a:gd name="T14" fmla="*/ 2147483647 w 449"/>
              <a:gd name="T15" fmla="*/ 2147483647 h 293"/>
              <a:gd name="T16" fmla="*/ 2147483647 w 449"/>
              <a:gd name="T17" fmla="*/ 2147483647 h 293"/>
              <a:gd name="T18" fmla="*/ 2147483647 w 449"/>
              <a:gd name="T19" fmla="*/ 2147483647 h 293"/>
              <a:gd name="T20" fmla="*/ 2147483647 w 449"/>
              <a:gd name="T21" fmla="*/ 2147483647 h 293"/>
              <a:gd name="T22" fmla="*/ 2147483647 w 449"/>
              <a:gd name="T23" fmla="*/ 2147483647 h 293"/>
              <a:gd name="T24" fmla="*/ 2147483647 w 449"/>
              <a:gd name="T25" fmla="*/ 2147483647 h 293"/>
              <a:gd name="T26" fmla="*/ 2147483647 w 449"/>
              <a:gd name="T27" fmla="*/ 2147483647 h 293"/>
              <a:gd name="T28" fmla="*/ 2147483647 w 449"/>
              <a:gd name="T29" fmla="*/ 2147483647 h 293"/>
              <a:gd name="T30" fmla="*/ 2147483647 w 449"/>
              <a:gd name="T31" fmla="*/ 2147483647 h 293"/>
              <a:gd name="T32" fmla="*/ 2147483647 w 449"/>
              <a:gd name="T33" fmla="*/ 2147483647 h 293"/>
              <a:gd name="T34" fmla="*/ 2147483647 w 449"/>
              <a:gd name="T35" fmla="*/ 2147483647 h 293"/>
              <a:gd name="T36" fmla="*/ 2147483647 w 449"/>
              <a:gd name="T37" fmla="*/ 2147483647 h 293"/>
              <a:gd name="T38" fmla="*/ 2147483647 w 449"/>
              <a:gd name="T39" fmla="*/ 2147483647 h 293"/>
              <a:gd name="T40" fmla="*/ 2147483647 w 449"/>
              <a:gd name="T41" fmla="*/ 2147483647 h 293"/>
              <a:gd name="T42" fmla="*/ 2147483647 w 449"/>
              <a:gd name="T43" fmla="*/ 2147483647 h 293"/>
              <a:gd name="T44" fmla="*/ 2147483647 w 449"/>
              <a:gd name="T45" fmla="*/ 2147483647 h 293"/>
              <a:gd name="T46" fmla="*/ 2147483647 w 449"/>
              <a:gd name="T47" fmla="*/ 2147483647 h 293"/>
              <a:gd name="T48" fmla="*/ 2147483647 w 449"/>
              <a:gd name="T49" fmla="*/ 2147483647 h 293"/>
              <a:gd name="T50" fmla="*/ 2147483647 w 449"/>
              <a:gd name="T51" fmla="*/ 2147483647 h 293"/>
              <a:gd name="T52" fmla="*/ 2147483647 w 449"/>
              <a:gd name="T53" fmla="*/ 2147483647 h 293"/>
              <a:gd name="T54" fmla="*/ 0 w 449"/>
              <a:gd name="T55" fmla="*/ 2147483647 h 293"/>
              <a:gd name="T56" fmla="*/ 2147483647 w 449"/>
              <a:gd name="T57" fmla="*/ 2147483647 h 293"/>
              <a:gd name="T58" fmla="*/ 2147483647 w 449"/>
              <a:gd name="T59" fmla="*/ 2147483647 h 293"/>
              <a:gd name="T60" fmla="*/ 2147483647 w 449"/>
              <a:gd name="T61" fmla="*/ 2147483647 h 293"/>
              <a:gd name="T62" fmla="*/ 2147483647 w 449"/>
              <a:gd name="T63" fmla="*/ 2147483647 h 293"/>
              <a:gd name="T64" fmla="*/ 2147483647 w 449"/>
              <a:gd name="T65" fmla="*/ 2147483647 h 293"/>
              <a:gd name="T66" fmla="*/ 2147483647 w 449"/>
              <a:gd name="T67" fmla="*/ 2147483647 h 293"/>
              <a:gd name="T68" fmla="*/ 2147483647 w 449"/>
              <a:gd name="T69" fmla="*/ 2147483647 h 293"/>
              <a:gd name="T70" fmla="*/ 2147483647 w 449"/>
              <a:gd name="T71" fmla="*/ 2147483647 h 293"/>
              <a:gd name="T72" fmla="*/ 2147483647 w 449"/>
              <a:gd name="T73" fmla="*/ 2147483647 h 293"/>
              <a:gd name="T74" fmla="*/ 2147483647 w 449"/>
              <a:gd name="T75" fmla="*/ 2147483647 h 293"/>
              <a:gd name="T76" fmla="*/ 2147483647 w 449"/>
              <a:gd name="T77" fmla="*/ 2147483647 h 293"/>
              <a:gd name="T78" fmla="*/ 2147483647 w 449"/>
              <a:gd name="T79" fmla="*/ 2147483647 h 293"/>
              <a:gd name="T80" fmla="*/ 2147483647 w 449"/>
              <a:gd name="T81" fmla="*/ 2147483647 h 293"/>
              <a:gd name="T82" fmla="*/ 2147483647 w 449"/>
              <a:gd name="T83" fmla="*/ 2147483647 h 293"/>
              <a:gd name="T84" fmla="*/ 2147483647 w 449"/>
              <a:gd name="T85" fmla="*/ 2147483647 h 293"/>
              <a:gd name="T86" fmla="*/ 2147483647 w 449"/>
              <a:gd name="T87" fmla="*/ 2147483647 h 293"/>
              <a:gd name="T88" fmla="*/ 2147483647 w 449"/>
              <a:gd name="T89" fmla="*/ 2147483647 h 293"/>
              <a:gd name="T90" fmla="*/ 2147483647 w 449"/>
              <a:gd name="T91" fmla="*/ 2147483647 h 293"/>
              <a:gd name="T92" fmla="*/ 2147483647 w 449"/>
              <a:gd name="T93" fmla="*/ 2147483647 h 293"/>
              <a:gd name="T94" fmla="*/ 2147483647 w 449"/>
              <a:gd name="T95" fmla="*/ 2147483647 h 293"/>
              <a:gd name="T96" fmla="*/ 2147483647 w 449"/>
              <a:gd name="T97" fmla="*/ 2147483647 h 293"/>
              <a:gd name="T98" fmla="*/ 2147483647 w 449"/>
              <a:gd name="T99" fmla="*/ 2147483647 h 293"/>
              <a:gd name="T100" fmla="*/ 2147483647 w 449"/>
              <a:gd name="T101" fmla="*/ 2147483647 h 293"/>
              <a:gd name="T102" fmla="*/ 2147483647 w 449"/>
              <a:gd name="T103" fmla="*/ 2147483647 h 293"/>
              <a:gd name="T104" fmla="*/ 2147483647 w 449"/>
              <a:gd name="T105" fmla="*/ 2147483647 h 293"/>
              <a:gd name="T106" fmla="*/ 2147483647 w 449"/>
              <a:gd name="T107" fmla="*/ 2147483647 h 293"/>
              <a:gd name="T108" fmla="*/ 2147483647 w 449"/>
              <a:gd name="T109" fmla="*/ 2147483647 h 293"/>
              <a:gd name="T110" fmla="*/ 2147483647 w 449"/>
              <a:gd name="T111" fmla="*/ 2147483647 h 293"/>
              <a:gd name="T112" fmla="*/ 2147483647 w 449"/>
              <a:gd name="T113" fmla="*/ 2147483647 h 293"/>
              <a:gd name="T114" fmla="*/ 2147483647 w 449"/>
              <a:gd name="T115" fmla="*/ 2147483647 h 2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49"/>
              <a:gd name="T175" fmla="*/ 0 h 293"/>
              <a:gd name="T176" fmla="*/ 449 w 449"/>
              <a:gd name="T177" fmla="*/ 293 h 2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49" h="293">
                <a:moveTo>
                  <a:pt x="388" y="261"/>
                </a:moveTo>
                <a:lnTo>
                  <a:pt x="388" y="263"/>
                </a:lnTo>
                <a:lnTo>
                  <a:pt x="384" y="265"/>
                </a:lnTo>
                <a:lnTo>
                  <a:pt x="382" y="267"/>
                </a:lnTo>
                <a:lnTo>
                  <a:pt x="377" y="267"/>
                </a:lnTo>
                <a:lnTo>
                  <a:pt x="371" y="272"/>
                </a:lnTo>
                <a:lnTo>
                  <a:pt x="367" y="274"/>
                </a:lnTo>
                <a:lnTo>
                  <a:pt x="367" y="276"/>
                </a:lnTo>
                <a:lnTo>
                  <a:pt x="371" y="278"/>
                </a:lnTo>
                <a:lnTo>
                  <a:pt x="371" y="280"/>
                </a:lnTo>
                <a:lnTo>
                  <a:pt x="371" y="287"/>
                </a:lnTo>
                <a:lnTo>
                  <a:pt x="373" y="291"/>
                </a:lnTo>
                <a:lnTo>
                  <a:pt x="371" y="291"/>
                </a:lnTo>
                <a:lnTo>
                  <a:pt x="367" y="291"/>
                </a:lnTo>
                <a:lnTo>
                  <a:pt x="364" y="293"/>
                </a:lnTo>
                <a:lnTo>
                  <a:pt x="364" y="291"/>
                </a:lnTo>
                <a:lnTo>
                  <a:pt x="362" y="291"/>
                </a:lnTo>
                <a:lnTo>
                  <a:pt x="360" y="291"/>
                </a:lnTo>
                <a:lnTo>
                  <a:pt x="360" y="289"/>
                </a:lnTo>
                <a:lnTo>
                  <a:pt x="360" y="287"/>
                </a:lnTo>
                <a:lnTo>
                  <a:pt x="358" y="287"/>
                </a:lnTo>
                <a:lnTo>
                  <a:pt x="356" y="283"/>
                </a:lnTo>
                <a:lnTo>
                  <a:pt x="352" y="280"/>
                </a:lnTo>
                <a:lnTo>
                  <a:pt x="352" y="278"/>
                </a:lnTo>
                <a:lnTo>
                  <a:pt x="347" y="278"/>
                </a:lnTo>
                <a:lnTo>
                  <a:pt x="347" y="276"/>
                </a:lnTo>
                <a:lnTo>
                  <a:pt x="345" y="274"/>
                </a:lnTo>
                <a:lnTo>
                  <a:pt x="330" y="274"/>
                </a:lnTo>
                <a:lnTo>
                  <a:pt x="313" y="274"/>
                </a:lnTo>
                <a:lnTo>
                  <a:pt x="300" y="276"/>
                </a:lnTo>
                <a:lnTo>
                  <a:pt x="280" y="276"/>
                </a:lnTo>
                <a:lnTo>
                  <a:pt x="276" y="276"/>
                </a:lnTo>
                <a:lnTo>
                  <a:pt x="248" y="278"/>
                </a:lnTo>
                <a:lnTo>
                  <a:pt x="228" y="278"/>
                </a:lnTo>
                <a:lnTo>
                  <a:pt x="216" y="278"/>
                </a:lnTo>
                <a:lnTo>
                  <a:pt x="200" y="280"/>
                </a:lnTo>
                <a:lnTo>
                  <a:pt x="183" y="280"/>
                </a:lnTo>
                <a:lnTo>
                  <a:pt x="168" y="280"/>
                </a:lnTo>
                <a:lnTo>
                  <a:pt x="151" y="280"/>
                </a:lnTo>
                <a:lnTo>
                  <a:pt x="138" y="280"/>
                </a:lnTo>
                <a:lnTo>
                  <a:pt x="118" y="280"/>
                </a:lnTo>
                <a:lnTo>
                  <a:pt x="99" y="280"/>
                </a:lnTo>
                <a:lnTo>
                  <a:pt x="86" y="280"/>
                </a:lnTo>
                <a:lnTo>
                  <a:pt x="60" y="280"/>
                </a:lnTo>
                <a:lnTo>
                  <a:pt x="62" y="278"/>
                </a:lnTo>
                <a:lnTo>
                  <a:pt x="60" y="276"/>
                </a:lnTo>
                <a:lnTo>
                  <a:pt x="51" y="267"/>
                </a:lnTo>
                <a:lnTo>
                  <a:pt x="54" y="261"/>
                </a:lnTo>
                <a:lnTo>
                  <a:pt x="54" y="257"/>
                </a:lnTo>
                <a:lnTo>
                  <a:pt x="54" y="255"/>
                </a:lnTo>
                <a:lnTo>
                  <a:pt x="54" y="250"/>
                </a:lnTo>
                <a:lnTo>
                  <a:pt x="54" y="246"/>
                </a:lnTo>
                <a:lnTo>
                  <a:pt x="54" y="242"/>
                </a:lnTo>
                <a:lnTo>
                  <a:pt x="54" y="239"/>
                </a:lnTo>
                <a:lnTo>
                  <a:pt x="51" y="235"/>
                </a:lnTo>
                <a:lnTo>
                  <a:pt x="54" y="231"/>
                </a:lnTo>
                <a:lnTo>
                  <a:pt x="51" y="226"/>
                </a:lnTo>
                <a:lnTo>
                  <a:pt x="54" y="226"/>
                </a:lnTo>
                <a:lnTo>
                  <a:pt x="49" y="224"/>
                </a:lnTo>
                <a:lnTo>
                  <a:pt x="49" y="222"/>
                </a:lnTo>
                <a:lnTo>
                  <a:pt x="49" y="213"/>
                </a:lnTo>
                <a:lnTo>
                  <a:pt x="51" y="216"/>
                </a:lnTo>
                <a:lnTo>
                  <a:pt x="51" y="213"/>
                </a:lnTo>
                <a:lnTo>
                  <a:pt x="47" y="211"/>
                </a:lnTo>
                <a:lnTo>
                  <a:pt x="47" y="207"/>
                </a:lnTo>
                <a:lnTo>
                  <a:pt x="49" y="198"/>
                </a:lnTo>
                <a:lnTo>
                  <a:pt x="47" y="198"/>
                </a:lnTo>
                <a:lnTo>
                  <a:pt x="45" y="196"/>
                </a:lnTo>
                <a:lnTo>
                  <a:pt x="41" y="196"/>
                </a:lnTo>
                <a:lnTo>
                  <a:pt x="45" y="194"/>
                </a:lnTo>
                <a:lnTo>
                  <a:pt x="45" y="192"/>
                </a:lnTo>
                <a:lnTo>
                  <a:pt x="38" y="194"/>
                </a:lnTo>
                <a:lnTo>
                  <a:pt x="36" y="192"/>
                </a:lnTo>
                <a:lnTo>
                  <a:pt x="36" y="190"/>
                </a:lnTo>
                <a:lnTo>
                  <a:pt x="36" y="185"/>
                </a:lnTo>
                <a:lnTo>
                  <a:pt x="36" y="181"/>
                </a:lnTo>
                <a:lnTo>
                  <a:pt x="34" y="179"/>
                </a:lnTo>
                <a:lnTo>
                  <a:pt x="34" y="177"/>
                </a:lnTo>
                <a:lnTo>
                  <a:pt x="36" y="177"/>
                </a:lnTo>
                <a:lnTo>
                  <a:pt x="36" y="175"/>
                </a:lnTo>
                <a:lnTo>
                  <a:pt x="36" y="172"/>
                </a:lnTo>
                <a:lnTo>
                  <a:pt x="38" y="168"/>
                </a:lnTo>
                <a:lnTo>
                  <a:pt x="34" y="162"/>
                </a:lnTo>
                <a:lnTo>
                  <a:pt x="32" y="160"/>
                </a:lnTo>
                <a:lnTo>
                  <a:pt x="34" y="157"/>
                </a:lnTo>
                <a:lnTo>
                  <a:pt x="34" y="151"/>
                </a:lnTo>
                <a:lnTo>
                  <a:pt x="32" y="151"/>
                </a:lnTo>
                <a:lnTo>
                  <a:pt x="30" y="149"/>
                </a:lnTo>
                <a:lnTo>
                  <a:pt x="28" y="149"/>
                </a:lnTo>
                <a:lnTo>
                  <a:pt x="28" y="147"/>
                </a:lnTo>
                <a:lnTo>
                  <a:pt x="23" y="144"/>
                </a:lnTo>
                <a:lnTo>
                  <a:pt x="23" y="136"/>
                </a:lnTo>
                <a:lnTo>
                  <a:pt x="19" y="134"/>
                </a:lnTo>
                <a:lnTo>
                  <a:pt x="19" y="129"/>
                </a:lnTo>
                <a:lnTo>
                  <a:pt x="19" y="127"/>
                </a:lnTo>
                <a:lnTo>
                  <a:pt x="21" y="125"/>
                </a:lnTo>
                <a:lnTo>
                  <a:pt x="19" y="121"/>
                </a:lnTo>
                <a:lnTo>
                  <a:pt x="17" y="119"/>
                </a:lnTo>
                <a:lnTo>
                  <a:pt x="15" y="116"/>
                </a:lnTo>
                <a:lnTo>
                  <a:pt x="15" y="114"/>
                </a:lnTo>
                <a:lnTo>
                  <a:pt x="15" y="110"/>
                </a:lnTo>
                <a:lnTo>
                  <a:pt x="17" y="108"/>
                </a:lnTo>
                <a:lnTo>
                  <a:pt x="17" y="103"/>
                </a:lnTo>
                <a:lnTo>
                  <a:pt x="15" y="103"/>
                </a:lnTo>
                <a:lnTo>
                  <a:pt x="10" y="99"/>
                </a:lnTo>
                <a:lnTo>
                  <a:pt x="10" y="97"/>
                </a:lnTo>
                <a:lnTo>
                  <a:pt x="10" y="95"/>
                </a:lnTo>
                <a:lnTo>
                  <a:pt x="10" y="90"/>
                </a:lnTo>
                <a:lnTo>
                  <a:pt x="6" y="86"/>
                </a:lnTo>
                <a:lnTo>
                  <a:pt x="4" y="86"/>
                </a:lnTo>
                <a:lnTo>
                  <a:pt x="0" y="82"/>
                </a:lnTo>
                <a:lnTo>
                  <a:pt x="0" y="80"/>
                </a:lnTo>
                <a:lnTo>
                  <a:pt x="0" y="77"/>
                </a:lnTo>
                <a:lnTo>
                  <a:pt x="2" y="75"/>
                </a:lnTo>
                <a:lnTo>
                  <a:pt x="4" y="69"/>
                </a:lnTo>
                <a:lnTo>
                  <a:pt x="4" y="71"/>
                </a:lnTo>
                <a:lnTo>
                  <a:pt x="4" y="69"/>
                </a:lnTo>
                <a:lnTo>
                  <a:pt x="6" y="65"/>
                </a:lnTo>
                <a:lnTo>
                  <a:pt x="10" y="60"/>
                </a:lnTo>
                <a:lnTo>
                  <a:pt x="10" y="58"/>
                </a:lnTo>
                <a:lnTo>
                  <a:pt x="10" y="54"/>
                </a:lnTo>
                <a:lnTo>
                  <a:pt x="6" y="49"/>
                </a:lnTo>
                <a:lnTo>
                  <a:pt x="13" y="49"/>
                </a:lnTo>
                <a:lnTo>
                  <a:pt x="13" y="47"/>
                </a:lnTo>
                <a:lnTo>
                  <a:pt x="13" y="45"/>
                </a:lnTo>
                <a:lnTo>
                  <a:pt x="13" y="34"/>
                </a:lnTo>
                <a:lnTo>
                  <a:pt x="10" y="34"/>
                </a:lnTo>
                <a:lnTo>
                  <a:pt x="4" y="34"/>
                </a:lnTo>
                <a:lnTo>
                  <a:pt x="4" y="32"/>
                </a:lnTo>
                <a:lnTo>
                  <a:pt x="4" y="30"/>
                </a:lnTo>
                <a:lnTo>
                  <a:pt x="4" y="28"/>
                </a:lnTo>
                <a:lnTo>
                  <a:pt x="6" y="28"/>
                </a:lnTo>
                <a:lnTo>
                  <a:pt x="6" y="21"/>
                </a:lnTo>
                <a:lnTo>
                  <a:pt x="6" y="19"/>
                </a:lnTo>
                <a:lnTo>
                  <a:pt x="6" y="17"/>
                </a:lnTo>
                <a:lnTo>
                  <a:pt x="4" y="15"/>
                </a:lnTo>
                <a:lnTo>
                  <a:pt x="4" y="11"/>
                </a:lnTo>
                <a:lnTo>
                  <a:pt x="2" y="6"/>
                </a:lnTo>
                <a:lnTo>
                  <a:pt x="13" y="11"/>
                </a:lnTo>
                <a:lnTo>
                  <a:pt x="38" y="11"/>
                </a:lnTo>
                <a:lnTo>
                  <a:pt x="51" y="11"/>
                </a:lnTo>
                <a:lnTo>
                  <a:pt x="79" y="11"/>
                </a:lnTo>
                <a:lnTo>
                  <a:pt x="84" y="6"/>
                </a:lnTo>
                <a:lnTo>
                  <a:pt x="116" y="6"/>
                </a:lnTo>
                <a:lnTo>
                  <a:pt x="121" y="6"/>
                </a:lnTo>
                <a:lnTo>
                  <a:pt x="149" y="6"/>
                </a:lnTo>
                <a:lnTo>
                  <a:pt x="164" y="6"/>
                </a:lnTo>
                <a:lnTo>
                  <a:pt x="181" y="6"/>
                </a:lnTo>
                <a:lnTo>
                  <a:pt x="203" y="6"/>
                </a:lnTo>
                <a:lnTo>
                  <a:pt x="213" y="6"/>
                </a:lnTo>
                <a:lnTo>
                  <a:pt x="244" y="4"/>
                </a:lnTo>
                <a:lnTo>
                  <a:pt x="246" y="4"/>
                </a:lnTo>
                <a:lnTo>
                  <a:pt x="278" y="4"/>
                </a:lnTo>
                <a:lnTo>
                  <a:pt x="282" y="4"/>
                </a:lnTo>
                <a:lnTo>
                  <a:pt x="311" y="2"/>
                </a:lnTo>
                <a:lnTo>
                  <a:pt x="332" y="2"/>
                </a:lnTo>
                <a:lnTo>
                  <a:pt x="341" y="2"/>
                </a:lnTo>
                <a:lnTo>
                  <a:pt x="367" y="0"/>
                </a:lnTo>
                <a:lnTo>
                  <a:pt x="367" y="4"/>
                </a:lnTo>
                <a:lnTo>
                  <a:pt x="367" y="6"/>
                </a:lnTo>
                <a:lnTo>
                  <a:pt x="371" y="13"/>
                </a:lnTo>
                <a:lnTo>
                  <a:pt x="371" y="15"/>
                </a:lnTo>
                <a:lnTo>
                  <a:pt x="377" y="17"/>
                </a:lnTo>
                <a:lnTo>
                  <a:pt x="380" y="19"/>
                </a:lnTo>
                <a:lnTo>
                  <a:pt x="380" y="21"/>
                </a:lnTo>
                <a:lnTo>
                  <a:pt x="373" y="32"/>
                </a:lnTo>
                <a:lnTo>
                  <a:pt x="373" y="39"/>
                </a:lnTo>
                <a:lnTo>
                  <a:pt x="375" y="47"/>
                </a:lnTo>
                <a:lnTo>
                  <a:pt x="375" y="54"/>
                </a:lnTo>
                <a:lnTo>
                  <a:pt x="380" y="60"/>
                </a:lnTo>
                <a:lnTo>
                  <a:pt x="380" y="67"/>
                </a:lnTo>
                <a:lnTo>
                  <a:pt x="382" y="69"/>
                </a:lnTo>
                <a:lnTo>
                  <a:pt x="388" y="75"/>
                </a:lnTo>
                <a:lnTo>
                  <a:pt x="393" y="77"/>
                </a:lnTo>
                <a:lnTo>
                  <a:pt x="395" y="77"/>
                </a:lnTo>
                <a:lnTo>
                  <a:pt x="406" y="77"/>
                </a:lnTo>
                <a:lnTo>
                  <a:pt x="408" y="80"/>
                </a:lnTo>
                <a:lnTo>
                  <a:pt x="410" y="84"/>
                </a:lnTo>
                <a:lnTo>
                  <a:pt x="412" y="86"/>
                </a:lnTo>
                <a:lnTo>
                  <a:pt x="412" y="90"/>
                </a:lnTo>
                <a:lnTo>
                  <a:pt x="412" y="93"/>
                </a:lnTo>
                <a:lnTo>
                  <a:pt x="412" y="95"/>
                </a:lnTo>
                <a:lnTo>
                  <a:pt x="414" y="95"/>
                </a:lnTo>
                <a:lnTo>
                  <a:pt x="416" y="99"/>
                </a:lnTo>
                <a:lnTo>
                  <a:pt x="423" y="101"/>
                </a:lnTo>
                <a:lnTo>
                  <a:pt x="427" y="103"/>
                </a:lnTo>
                <a:lnTo>
                  <a:pt x="427" y="108"/>
                </a:lnTo>
                <a:lnTo>
                  <a:pt x="429" y="112"/>
                </a:lnTo>
                <a:lnTo>
                  <a:pt x="429" y="114"/>
                </a:lnTo>
                <a:lnTo>
                  <a:pt x="431" y="116"/>
                </a:lnTo>
                <a:lnTo>
                  <a:pt x="436" y="119"/>
                </a:lnTo>
                <a:lnTo>
                  <a:pt x="442" y="121"/>
                </a:lnTo>
                <a:lnTo>
                  <a:pt x="444" y="125"/>
                </a:lnTo>
                <a:lnTo>
                  <a:pt x="447" y="125"/>
                </a:lnTo>
                <a:lnTo>
                  <a:pt x="447" y="127"/>
                </a:lnTo>
                <a:lnTo>
                  <a:pt x="447" y="131"/>
                </a:lnTo>
                <a:lnTo>
                  <a:pt x="449" y="134"/>
                </a:lnTo>
                <a:lnTo>
                  <a:pt x="449" y="140"/>
                </a:lnTo>
                <a:lnTo>
                  <a:pt x="449" y="144"/>
                </a:lnTo>
                <a:lnTo>
                  <a:pt x="447" y="153"/>
                </a:lnTo>
                <a:lnTo>
                  <a:pt x="442" y="157"/>
                </a:lnTo>
                <a:lnTo>
                  <a:pt x="440" y="160"/>
                </a:lnTo>
                <a:lnTo>
                  <a:pt x="438" y="164"/>
                </a:lnTo>
                <a:lnTo>
                  <a:pt x="438" y="168"/>
                </a:lnTo>
                <a:lnTo>
                  <a:pt x="438" y="175"/>
                </a:lnTo>
                <a:lnTo>
                  <a:pt x="438" y="177"/>
                </a:lnTo>
                <a:lnTo>
                  <a:pt x="431" y="179"/>
                </a:lnTo>
                <a:lnTo>
                  <a:pt x="431" y="181"/>
                </a:lnTo>
                <a:lnTo>
                  <a:pt x="429" y="181"/>
                </a:lnTo>
                <a:lnTo>
                  <a:pt x="425" y="181"/>
                </a:lnTo>
                <a:lnTo>
                  <a:pt x="421" y="183"/>
                </a:lnTo>
                <a:lnTo>
                  <a:pt x="416" y="190"/>
                </a:lnTo>
                <a:lnTo>
                  <a:pt x="412" y="190"/>
                </a:lnTo>
                <a:lnTo>
                  <a:pt x="408" y="192"/>
                </a:lnTo>
                <a:lnTo>
                  <a:pt x="403" y="192"/>
                </a:lnTo>
                <a:lnTo>
                  <a:pt x="397" y="194"/>
                </a:lnTo>
                <a:lnTo>
                  <a:pt x="393" y="194"/>
                </a:lnTo>
                <a:lnTo>
                  <a:pt x="390" y="194"/>
                </a:lnTo>
                <a:lnTo>
                  <a:pt x="390" y="196"/>
                </a:lnTo>
                <a:lnTo>
                  <a:pt x="388" y="201"/>
                </a:lnTo>
                <a:lnTo>
                  <a:pt x="388" y="209"/>
                </a:lnTo>
                <a:lnTo>
                  <a:pt x="388" y="211"/>
                </a:lnTo>
                <a:lnTo>
                  <a:pt x="390" y="216"/>
                </a:lnTo>
                <a:lnTo>
                  <a:pt x="393" y="218"/>
                </a:lnTo>
                <a:lnTo>
                  <a:pt x="395" y="218"/>
                </a:lnTo>
                <a:lnTo>
                  <a:pt x="397" y="224"/>
                </a:lnTo>
                <a:lnTo>
                  <a:pt x="397" y="226"/>
                </a:lnTo>
                <a:lnTo>
                  <a:pt x="397" y="239"/>
                </a:lnTo>
                <a:lnTo>
                  <a:pt x="397" y="242"/>
                </a:lnTo>
                <a:lnTo>
                  <a:pt x="393" y="244"/>
                </a:lnTo>
                <a:lnTo>
                  <a:pt x="390" y="248"/>
                </a:lnTo>
                <a:lnTo>
                  <a:pt x="390" y="257"/>
                </a:lnTo>
                <a:lnTo>
                  <a:pt x="388" y="261"/>
                </a:lnTo>
                <a:close/>
              </a:path>
            </a:pathLst>
          </a:custGeom>
          <a:noFill/>
          <a:ln w="9525">
            <a:noFill/>
            <a:round/>
            <a:headEnd/>
            <a:tailEnd/>
          </a:ln>
        </p:spPr>
        <p:txBody>
          <a:bodyPr/>
          <a:lstStyle/>
          <a:p>
            <a:endParaRPr lang="en-US" dirty="0">
              <a:solidFill>
                <a:prstClr val="black"/>
              </a:solidFill>
            </a:endParaRPr>
          </a:p>
        </p:txBody>
      </p:sp>
      <p:sp>
        <p:nvSpPr>
          <p:cNvPr id="203" name="Freeform 36">
            <a:extLst>
              <a:ext uri="{FF2B5EF4-FFF2-40B4-BE49-F238E27FC236}">
                <a16:creationId xmlns:a16="http://schemas.microsoft.com/office/drawing/2014/main" id="{5F2210BB-3161-442C-A16A-358D39630E37}"/>
              </a:ext>
            </a:extLst>
          </p:cNvPr>
          <p:cNvSpPr>
            <a:spLocks/>
          </p:cNvSpPr>
          <p:nvPr>
            <p:custDataLst>
              <p:tags r:id="rId27"/>
            </p:custDataLst>
          </p:nvPr>
        </p:nvSpPr>
        <p:spPr bwMode="auto">
          <a:xfrm>
            <a:off x="6017442" y="2937911"/>
            <a:ext cx="907488" cy="633379"/>
          </a:xfrm>
          <a:custGeom>
            <a:avLst/>
            <a:gdLst>
              <a:gd name="T0" fmla="*/ 2147483647 w 449"/>
              <a:gd name="T1" fmla="*/ 2147483647 h 293"/>
              <a:gd name="T2" fmla="*/ 2147483647 w 449"/>
              <a:gd name="T3" fmla="*/ 2147483647 h 293"/>
              <a:gd name="T4" fmla="*/ 2147483647 w 449"/>
              <a:gd name="T5" fmla="*/ 2147483647 h 293"/>
              <a:gd name="T6" fmla="*/ 2147483647 w 449"/>
              <a:gd name="T7" fmla="*/ 2147483647 h 293"/>
              <a:gd name="T8" fmla="*/ 2147483647 w 449"/>
              <a:gd name="T9" fmla="*/ 2147483647 h 293"/>
              <a:gd name="T10" fmla="*/ 2147483647 w 449"/>
              <a:gd name="T11" fmla="*/ 2147483647 h 293"/>
              <a:gd name="T12" fmla="*/ 2147483647 w 449"/>
              <a:gd name="T13" fmla="*/ 2147483647 h 293"/>
              <a:gd name="T14" fmla="*/ 2147483647 w 449"/>
              <a:gd name="T15" fmla="*/ 2147483647 h 293"/>
              <a:gd name="T16" fmla="*/ 2147483647 w 449"/>
              <a:gd name="T17" fmla="*/ 2147483647 h 293"/>
              <a:gd name="T18" fmla="*/ 2147483647 w 449"/>
              <a:gd name="T19" fmla="*/ 2147483647 h 293"/>
              <a:gd name="T20" fmla="*/ 2147483647 w 449"/>
              <a:gd name="T21" fmla="*/ 2147483647 h 293"/>
              <a:gd name="T22" fmla="*/ 2147483647 w 449"/>
              <a:gd name="T23" fmla="*/ 2147483647 h 293"/>
              <a:gd name="T24" fmla="*/ 2147483647 w 449"/>
              <a:gd name="T25" fmla="*/ 2147483647 h 293"/>
              <a:gd name="T26" fmla="*/ 2147483647 w 449"/>
              <a:gd name="T27" fmla="*/ 2147483647 h 293"/>
              <a:gd name="T28" fmla="*/ 2147483647 w 449"/>
              <a:gd name="T29" fmla="*/ 2147483647 h 293"/>
              <a:gd name="T30" fmla="*/ 2147483647 w 449"/>
              <a:gd name="T31" fmla="*/ 2147483647 h 293"/>
              <a:gd name="T32" fmla="*/ 2147483647 w 449"/>
              <a:gd name="T33" fmla="*/ 2147483647 h 293"/>
              <a:gd name="T34" fmla="*/ 2147483647 w 449"/>
              <a:gd name="T35" fmla="*/ 2147483647 h 293"/>
              <a:gd name="T36" fmla="*/ 2147483647 w 449"/>
              <a:gd name="T37" fmla="*/ 2147483647 h 293"/>
              <a:gd name="T38" fmla="*/ 2147483647 w 449"/>
              <a:gd name="T39" fmla="*/ 2147483647 h 293"/>
              <a:gd name="T40" fmla="*/ 2147483647 w 449"/>
              <a:gd name="T41" fmla="*/ 2147483647 h 293"/>
              <a:gd name="T42" fmla="*/ 2147483647 w 449"/>
              <a:gd name="T43" fmla="*/ 2147483647 h 293"/>
              <a:gd name="T44" fmla="*/ 2147483647 w 449"/>
              <a:gd name="T45" fmla="*/ 2147483647 h 293"/>
              <a:gd name="T46" fmla="*/ 2147483647 w 449"/>
              <a:gd name="T47" fmla="*/ 2147483647 h 293"/>
              <a:gd name="T48" fmla="*/ 2147483647 w 449"/>
              <a:gd name="T49" fmla="*/ 2147483647 h 293"/>
              <a:gd name="T50" fmla="*/ 2147483647 w 449"/>
              <a:gd name="T51" fmla="*/ 2147483647 h 293"/>
              <a:gd name="T52" fmla="*/ 2147483647 w 449"/>
              <a:gd name="T53" fmla="*/ 2147483647 h 293"/>
              <a:gd name="T54" fmla="*/ 0 w 449"/>
              <a:gd name="T55" fmla="*/ 2147483647 h 293"/>
              <a:gd name="T56" fmla="*/ 2147483647 w 449"/>
              <a:gd name="T57" fmla="*/ 2147483647 h 293"/>
              <a:gd name="T58" fmla="*/ 2147483647 w 449"/>
              <a:gd name="T59" fmla="*/ 2147483647 h 293"/>
              <a:gd name="T60" fmla="*/ 2147483647 w 449"/>
              <a:gd name="T61" fmla="*/ 2147483647 h 293"/>
              <a:gd name="T62" fmla="*/ 2147483647 w 449"/>
              <a:gd name="T63" fmla="*/ 2147483647 h 293"/>
              <a:gd name="T64" fmla="*/ 2147483647 w 449"/>
              <a:gd name="T65" fmla="*/ 2147483647 h 293"/>
              <a:gd name="T66" fmla="*/ 2147483647 w 449"/>
              <a:gd name="T67" fmla="*/ 2147483647 h 293"/>
              <a:gd name="T68" fmla="*/ 2147483647 w 449"/>
              <a:gd name="T69" fmla="*/ 2147483647 h 293"/>
              <a:gd name="T70" fmla="*/ 2147483647 w 449"/>
              <a:gd name="T71" fmla="*/ 2147483647 h 293"/>
              <a:gd name="T72" fmla="*/ 2147483647 w 449"/>
              <a:gd name="T73" fmla="*/ 2147483647 h 293"/>
              <a:gd name="T74" fmla="*/ 2147483647 w 449"/>
              <a:gd name="T75" fmla="*/ 2147483647 h 293"/>
              <a:gd name="T76" fmla="*/ 2147483647 w 449"/>
              <a:gd name="T77" fmla="*/ 2147483647 h 293"/>
              <a:gd name="T78" fmla="*/ 2147483647 w 449"/>
              <a:gd name="T79" fmla="*/ 2147483647 h 293"/>
              <a:gd name="T80" fmla="*/ 2147483647 w 449"/>
              <a:gd name="T81" fmla="*/ 2147483647 h 293"/>
              <a:gd name="T82" fmla="*/ 2147483647 w 449"/>
              <a:gd name="T83" fmla="*/ 2147483647 h 293"/>
              <a:gd name="T84" fmla="*/ 2147483647 w 449"/>
              <a:gd name="T85" fmla="*/ 2147483647 h 293"/>
              <a:gd name="T86" fmla="*/ 2147483647 w 449"/>
              <a:gd name="T87" fmla="*/ 2147483647 h 293"/>
              <a:gd name="T88" fmla="*/ 2147483647 w 449"/>
              <a:gd name="T89" fmla="*/ 2147483647 h 293"/>
              <a:gd name="T90" fmla="*/ 2147483647 w 449"/>
              <a:gd name="T91" fmla="*/ 2147483647 h 293"/>
              <a:gd name="T92" fmla="*/ 2147483647 w 449"/>
              <a:gd name="T93" fmla="*/ 2147483647 h 293"/>
              <a:gd name="T94" fmla="*/ 2147483647 w 449"/>
              <a:gd name="T95" fmla="*/ 2147483647 h 293"/>
              <a:gd name="T96" fmla="*/ 2147483647 w 449"/>
              <a:gd name="T97" fmla="*/ 2147483647 h 293"/>
              <a:gd name="T98" fmla="*/ 2147483647 w 449"/>
              <a:gd name="T99" fmla="*/ 2147483647 h 293"/>
              <a:gd name="T100" fmla="*/ 2147483647 w 449"/>
              <a:gd name="T101" fmla="*/ 2147483647 h 293"/>
              <a:gd name="T102" fmla="*/ 2147483647 w 449"/>
              <a:gd name="T103" fmla="*/ 2147483647 h 293"/>
              <a:gd name="T104" fmla="*/ 2147483647 w 449"/>
              <a:gd name="T105" fmla="*/ 2147483647 h 293"/>
              <a:gd name="T106" fmla="*/ 2147483647 w 449"/>
              <a:gd name="T107" fmla="*/ 2147483647 h 293"/>
              <a:gd name="T108" fmla="*/ 2147483647 w 449"/>
              <a:gd name="T109" fmla="*/ 2147483647 h 293"/>
              <a:gd name="T110" fmla="*/ 2147483647 w 449"/>
              <a:gd name="T111" fmla="*/ 2147483647 h 293"/>
              <a:gd name="T112" fmla="*/ 2147483647 w 449"/>
              <a:gd name="T113" fmla="*/ 2147483647 h 293"/>
              <a:gd name="T114" fmla="*/ 2147483647 w 449"/>
              <a:gd name="T115" fmla="*/ 2147483647 h 2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49"/>
              <a:gd name="T175" fmla="*/ 0 h 293"/>
              <a:gd name="T176" fmla="*/ 449 w 449"/>
              <a:gd name="T177" fmla="*/ 293 h 2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49" h="293">
                <a:moveTo>
                  <a:pt x="388" y="261"/>
                </a:moveTo>
                <a:lnTo>
                  <a:pt x="388" y="263"/>
                </a:lnTo>
                <a:lnTo>
                  <a:pt x="384" y="265"/>
                </a:lnTo>
                <a:lnTo>
                  <a:pt x="382" y="267"/>
                </a:lnTo>
                <a:lnTo>
                  <a:pt x="377" y="267"/>
                </a:lnTo>
                <a:lnTo>
                  <a:pt x="371" y="272"/>
                </a:lnTo>
                <a:lnTo>
                  <a:pt x="367" y="274"/>
                </a:lnTo>
                <a:lnTo>
                  <a:pt x="367" y="276"/>
                </a:lnTo>
                <a:lnTo>
                  <a:pt x="371" y="278"/>
                </a:lnTo>
                <a:lnTo>
                  <a:pt x="371" y="280"/>
                </a:lnTo>
                <a:lnTo>
                  <a:pt x="371" y="287"/>
                </a:lnTo>
                <a:lnTo>
                  <a:pt x="373" y="291"/>
                </a:lnTo>
                <a:lnTo>
                  <a:pt x="371" y="291"/>
                </a:lnTo>
                <a:lnTo>
                  <a:pt x="367" y="291"/>
                </a:lnTo>
                <a:lnTo>
                  <a:pt x="364" y="293"/>
                </a:lnTo>
                <a:lnTo>
                  <a:pt x="364" y="291"/>
                </a:lnTo>
                <a:lnTo>
                  <a:pt x="362" y="291"/>
                </a:lnTo>
                <a:lnTo>
                  <a:pt x="360" y="291"/>
                </a:lnTo>
                <a:lnTo>
                  <a:pt x="360" y="289"/>
                </a:lnTo>
                <a:lnTo>
                  <a:pt x="360" y="287"/>
                </a:lnTo>
                <a:lnTo>
                  <a:pt x="358" y="287"/>
                </a:lnTo>
                <a:lnTo>
                  <a:pt x="356" y="283"/>
                </a:lnTo>
                <a:lnTo>
                  <a:pt x="352" y="280"/>
                </a:lnTo>
                <a:lnTo>
                  <a:pt x="352" y="278"/>
                </a:lnTo>
                <a:lnTo>
                  <a:pt x="347" y="278"/>
                </a:lnTo>
                <a:lnTo>
                  <a:pt x="347" y="276"/>
                </a:lnTo>
                <a:lnTo>
                  <a:pt x="345" y="274"/>
                </a:lnTo>
                <a:lnTo>
                  <a:pt x="330" y="274"/>
                </a:lnTo>
                <a:lnTo>
                  <a:pt x="313" y="274"/>
                </a:lnTo>
                <a:lnTo>
                  <a:pt x="300" y="276"/>
                </a:lnTo>
                <a:lnTo>
                  <a:pt x="280" y="276"/>
                </a:lnTo>
                <a:lnTo>
                  <a:pt x="276" y="276"/>
                </a:lnTo>
                <a:lnTo>
                  <a:pt x="248" y="278"/>
                </a:lnTo>
                <a:lnTo>
                  <a:pt x="228" y="278"/>
                </a:lnTo>
                <a:lnTo>
                  <a:pt x="216" y="278"/>
                </a:lnTo>
                <a:lnTo>
                  <a:pt x="200" y="280"/>
                </a:lnTo>
                <a:lnTo>
                  <a:pt x="183" y="280"/>
                </a:lnTo>
                <a:lnTo>
                  <a:pt x="168" y="280"/>
                </a:lnTo>
                <a:lnTo>
                  <a:pt x="151" y="280"/>
                </a:lnTo>
                <a:lnTo>
                  <a:pt x="138" y="280"/>
                </a:lnTo>
                <a:lnTo>
                  <a:pt x="118" y="280"/>
                </a:lnTo>
                <a:lnTo>
                  <a:pt x="99" y="280"/>
                </a:lnTo>
                <a:lnTo>
                  <a:pt x="86" y="280"/>
                </a:lnTo>
                <a:lnTo>
                  <a:pt x="60" y="280"/>
                </a:lnTo>
                <a:lnTo>
                  <a:pt x="62" y="278"/>
                </a:lnTo>
                <a:lnTo>
                  <a:pt x="60" y="276"/>
                </a:lnTo>
                <a:lnTo>
                  <a:pt x="51" y="267"/>
                </a:lnTo>
                <a:lnTo>
                  <a:pt x="54" y="261"/>
                </a:lnTo>
                <a:lnTo>
                  <a:pt x="54" y="257"/>
                </a:lnTo>
                <a:lnTo>
                  <a:pt x="54" y="255"/>
                </a:lnTo>
                <a:lnTo>
                  <a:pt x="54" y="250"/>
                </a:lnTo>
                <a:lnTo>
                  <a:pt x="54" y="246"/>
                </a:lnTo>
                <a:lnTo>
                  <a:pt x="54" y="242"/>
                </a:lnTo>
                <a:lnTo>
                  <a:pt x="54" y="239"/>
                </a:lnTo>
                <a:lnTo>
                  <a:pt x="51" y="235"/>
                </a:lnTo>
                <a:lnTo>
                  <a:pt x="54" y="231"/>
                </a:lnTo>
                <a:lnTo>
                  <a:pt x="51" y="226"/>
                </a:lnTo>
                <a:lnTo>
                  <a:pt x="54" y="226"/>
                </a:lnTo>
                <a:lnTo>
                  <a:pt x="49" y="224"/>
                </a:lnTo>
                <a:lnTo>
                  <a:pt x="49" y="222"/>
                </a:lnTo>
                <a:lnTo>
                  <a:pt x="49" y="213"/>
                </a:lnTo>
                <a:lnTo>
                  <a:pt x="51" y="216"/>
                </a:lnTo>
                <a:lnTo>
                  <a:pt x="51" y="213"/>
                </a:lnTo>
                <a:lnTo>
                  <a:pt x="47" y="211"/>
                </a:lnTo>
                <a:lnTo>
                  <a:pt x="47" y="207"/>
                </a:lnTo>
                <a:lnTo>
                  <a:pt x="49" y="198"/>
                </a:lnTo>
                <a:lnTo>
                  <a:pt x="47" y="198"/>
                </a:lnTo>
                <a:lnTo>
                  <a:pt x="45" y="196"/>
                </a:lnTo>
                <a:lnTo>
                  <a:pt x="41" y="196"/>
                </a:lnTo>
                <a:lnTo>
                  <a:pt x="45" y="194"/>
                </a:lnTo>
                <a:lnTo>
                  <a:pt x="45" y="192"/>
                </a:lnTo>
                <a:lnTo>
                  <a:pt x="38" y="194"/>
                </a:lnTo>
                <a:lnTo>
                  <a:pt x="36" y="192"/>
                </a:lnTo>
                <a:lnTo>
                  <a:pt x="36" y="190"/>
                </a:lnTo>
                <a:lnTo>
                  <a:pt x="36" y="185"/>
                </a:lnTo>
                <a:lnTo>
                  <a:pt x="36" y="181"/>
                </a:lnTo>
                <a:lnTo>
                  <a:pt x="34" y="179"/>
                </a:lnTo>
                <a:lnTo>
                  <a:pt x="34" y="177"/>
                </a:lnTo>
                <a:lnTo>
                  <a:pt x="36" y="177"/>
                </a:lnTo>
                <a:lnTo>
                  <a:pt x="36" y="175"/>
                </a:lnTo>
                <a:lnTo>
                  <a:pt x="36" y="172"/>
                </a:lnTo>
                <a:lnTo>
                  <a:pt x="38" y="168"/>
                </a:lnTo>
                <a:lnTo>
                  <a:pt x="34" y="162"/>
                </a:lnTo>
                <a:lnTo>
                  <a:pt x="32" y="160"/>
                </a:lnTo>
                <a:lnTo>
                  <a:pt x="34" y="157"/>
                </a:lnTo>
                <a:lnTo>
                  <a:pt x="34" y="151"/>
                </a:lnTo>
                <a:lnTo>
                  <a:pt x="32" y="151"/>
                </a:lnTo>
                <a:lnTo>
                  <a:pt x="30" y="149"/>
                </a:lnTo>
                <a:lnTo>
                  <a:pt x="28" y="149"/>
                </a:lnTo>
                <a:lnTo>
                  <a:pt x="28" y="147"/>
                </a:lnTo>
                <a:lnTo>
                  <a:pt x="23" y="144"/>
                </a:lnTo>
                <a:lnTo>
                  <a:pt x="23" y="136"/>
                </a:lnTo>
                <a:lnTo>
                  <a:pt x="19" y="134"/>
                </a:lnTo>
                <a:lnTo>
                  <a:pt x="19" y="129"/>
                </a:lnTo>
                <a:lnTo>
                  <a:pt x="19" y="127"/>
                </a:lnTo>
                <a:lnTo>
                  <a:pt x="21" y="125"/>
                </a:lnTo>
                <a:lnTo>
                  <a:pt x="19" y="121"/>
                </a:lnTo>
                <a:lnTo>
                  <a:pt x="17" y="119"/>
                </a:lnTo>
                <a:lnTo>
                  <a:pt x="15" y="116"/>
                </a:lnTo>
                <a:lnTo>
                  <a:pt x="15" y="114"/>
                </a:lnTo>
                <a:lnTo>
                  <a:pt x="15" y="110"/>
                </a:lnTo>
                <a:lnTo>
                  <a:pt x="17" y="108"/>
                </a:lnTo>
                <a:lnTo>
                  <a:pt x="17" y="103"/>
                </a:lnTo>
                <a:lnTo>
                  <a:pt x="15" y="103"/>
                </a:lnTo>
                <a:lnTo>
                  <a:pt x="10" y="99"/>
                </a:lnTo>
                <a:lnTo>
                  <a:pt x="10" y="97"/>
                </a:lnTo>
                <a:lnTo>
                  <a:pt x="10" y="95"/>
                </a:lnTo>
                <a:lnTo>
                  <a:pt x="10" y="90"/>
                </a:lnTo>
                <a:lnTo>
                  <a:pt x="6" y="86"/>
                </a:lnTo>
                <a:lnTo>
                  <a:pt x="4" y="86"/>
                </a:lnTo>
                <a:lnTo>
                  <a:pt x="0" y="82"/>
                </a:lnTo>
                <a:lnTo>
                  <a:pt x="0" y="80"/>
                </a:lnTo>
                <a:lnTo>
                  <a:pt x="0" y="77"/>
                </a:lnTo>
                <a:lnTo>
                  <a:pt x="2" y="75"/>
                </a:lnTo>
                <a:lnTo>
                  <a:pt x="4" y="69"/>
                </a:lnTo>
                <a:lnTo>
                  <a:pt x="4" y="71"/>
                </a:lnTo>
                <a:lnTo>
                  <a:pt x="4" y="69"/>
                </a:lnTo>
                <a:lnTo>
                  <a:pt x="6" y="65"/>
                </a:lnTo>
                <a:lnTo>
                  <a:pt x="10" y="60"/>
                </a:lnTo>
                <a:lnTo>
                  <a:pt x="10" y="58"/>
                </a:lnTo>
                <a:lnTo>
                  <a:pt x="10" y="54"/>
                </a:lnTo>
                <a:lnTo>
                  <a:pt x="6" y="49"/>
                </a:lnTo>
                <a:lnTo>
                  <a:pt x="13" y="49"/>
                </a:lnTo>
                <a:lnTo>
                  <a:pt x="13" y="47"/>
                </a:lnTo>
                <a:lnTo>
                  <a:pt x="13" y="45"/>
                </a:lnTo>
                <a:lnTo>
                  <a:pt x="13" y="34"/>
                </a:lnTo>
                <a:lnTo>
                  <a:pt x="10" y="34"/>
                </a:lnTo>
                <a:lnTo>
                  <a:pt x="4" y="34"/>
                </a:lnTo>
                <a:lnTo>
                  <a:pt x="4" y="32"/>
                </a:lnTo>
                <a:lnTo>
                  <a:pt x="4" y="30"/>
                </a:lnTo>
                <a:lnTo>
                  <a:pt x="4" y="28"/>
                </a:lnTo>
                <a:lnTo>
                  <a:pt x="6" y="28"/>
                </a:lnTo>
                <a:lnTo>
                  <a:pt x="6" y="21"/>
                </a:lnTo>
                <a:lnTo>
                  <a:pt x="6" y="19"/>
                </a:lnTo>
                <a:lnTo>
                  <a:pt x="6" y="17"/>
                </a:lnTo>
                <a:lnTo>
                  <a:pt x="4" y="15"/>
                </a:lnTo>
                <a:lnTo>
                  <a:pt x="4" y="11"/>
                </a:lnTo>
                <a:lnTo>
                  <a:pt x="2" y="6"/>
                </a:lnTo>
                <a:lnTo>
                  <a:pt x="13" y="11"/>
                </a:lnTo>
                <a:lnTo>
                  <a:pt x="38" y="11"/>
                </a:lnTo>
                <a:lnTo>
                  <a:pt x="51" y="11"/>
                </a:lnTo>
                <a:lnTo>
                  <a:pt x="79" y="11"/>
                </a:lnTo>
                <a:lnTo>
                  <a:pt x="84" y="6"/>
                </a:lnTo>
                <a:lnTo>
                  <a:pt x="116" y="6"/>
                </a:lnTo>
                <a:lnTo>
                  <a:pt x="121" y="6"/>
                </a:lnTo>
                <a:lnTo>
                  <a:pt x="149" y="6"/>
                </a:lnTo>
                <a:lnTo>
                  <a:pt x="164" y="6"/>
                </a:lnTo>
                <a:lnTo>
                  <a:pt x="181" y="6"/>
                </a:lnTo>
                <a:lnTo>
                  <a:pt x="203" y="6"/>
                </a:lnTo>
                <a:lnTo>
                  <a:pt x="213" y="6"/>
                </a:lnTo>
                <a:lnTo>
                  <a:pt x="244" y="4"/>
                </a:lnTo>
                <a:lnTo>
                  <a:pt x="246" y="4"/>
                </a:lnTo>
                <a:lnTo>
                  <a:pt x="278" y="4"/>
                </a:lnTo>
                <a:lnTo>
                  <a:pt x="282" y="4"/>
                </a:lnTo>
                <a:lnTo>
                  <a:pt x="311" y="2"/>
                </a:lnTo>
                <a:lnTo>
                  <a:pt x="332" y="2"/>
                </a:lnTo>
                <a:lnTo>
                  <a:pt x="341" y="2"/>
                </a:lnTo>
                <a:lnTo>
                  <a:pt x="367" y="0"/>
                </a:lnTo>
                <a:lnTo>
                  <a:pt x="367" y="4"/>
                </a:lnTo>
                <a:lnTo>
                  <a:pt x="367" y="6"/>
                </a:lnTo>
                <a:lnTo>
                  <a:pt x="371" y="13"/>
                </a:lnTo>
                <a:lnTo>
                  <a:pt x="371" y="15"/>
                </a:lnTo>
                <a:lnTo>
                  <a:pt x="377" y="17"/>
                </a:lnTo>
                <a:lnTo>
                  <a:pt x="380" y="19"/>
                </a:lnTo>
                <a:lnTo>
                  <a:pt x="380" y="21"/>
                </a:lnTo>
                <a:lnTo>
                  <a:pt x="373" y="32"/>
                </a:lnTo>
                <a:lnTo>
                  <a:pt x="373" y="39"/>
                </a:lnTo>
                <a:lnTo>
                  <a:pt x="375" y="47"/>
                </a:lnTo>
                <a:lnTo>
                  <a:pt x="375" y="54"/>
                </a:lnTo>
                <a:lnTo>
                  <a:pt x="380" y="60"/>
                </a:lnTo>
                <a:lnTo>
                  <a:pt x="380" y="67"/>
                </a:lnTo>
                <a:lnTo>
                  <a:pt x="382" y="69"/>
                </a:lnTo>
                <a:lnTo>
                  <a:pt x="388" y="75"/>
                </a:lnTo>
                <a:lnTo>
                  <a:pt x="393" y="77"/>
                </a:lnTo>
                <a:lnTo>
                  <a:pt x="395" y="77"/>
                </a:lnTo>
                <a:lnTo>
                  <a:pt x="406" y="77"/>
                </a:lnTo>
                <a:lnTo>
                  <a:pt x="408" y="80"/>
                </a:lnTo>
                <a:lnTo>
                  <a:pt x="410" y="84"/>
                </a:lnTo>
                <a:lnTo>
                  <a:pt x="412" y="86"/>
                </a:lnTo>
                <a:lnTo>
                  <a:pt x="412" y="90"/>
                </a:lnTo>
                <a:lnTo>
                  <a:pt x="412" y="93"/>
                </a:lnTo>
                <a:lnTo>
                  <a:pt x="412" y="95"/>
                </a:lnTo>
                <a:lnTo>
                  <a:pt x="414" y="95"/>
                </a:lnTo>
                <a:lnTo>
                  <a:pt x="416" y="99"/>
                </a:lnTo>
                <a:lnTo>
                  <a:pt x="423" y="101"/>
                </a:lnTo>
                <a:lnTo>
                  <a:pt x="427" y="103"/>
                </a:lnTo>
                <a:lnTo>
                  <a:pt x="427" y="108"/>
                </a:lnTo>
                <a:lnTo>
                  <a:pt x="429" y="112"/>
                </a:lnTo>
                <a:lnTo>
                  <a:pt x="429" y="114"/>
                </a:lnTo>
                <a:lnTo>
                  <a:pt x="431" y="116"/>
                </a:lnTo>
                <a:lnTo>
                  <a:pt x="436" y="119"/>
                </a:lnTo>
                <a:lnTo>
                  <a:pt x="442" y="121"/>
                </a:lnTo>
                <a:lnTo>
                  <a:pt x="444" y="125"/>
                </a:lnTo>
                <a:lnTo>
                  <a:pt x="447" y="125"/>
                </a:lnTo>
                <a:lnTo>
                  <a:pt x="447" y="127"/>
                </a:lnTo>
                <a:lnTo>
                  <a:pt x="447" y="131"/>
                </a:lnTo>
                <a:lnTo>
                  <a:pt x="449" y="134"/>
                </a:lnTo>
                <a:lnTo>
                  <a:pt x="449" y="140"/>
                </a:lnTo>
                <a:lnTo>
                  <a:pt x="449" y="144"/>
                </a:lnTo>
                <a:lnTo>
                  <a:pt x="447" y="153"/>
                </a:lnTo>
                <a:lnTo>
                  <a:pt x="442" y="157"/>
                </a:lnTo>
                <a:lnTo>
                  <a:pt x="440" y="160"/>
                </a:lnTo>
                <a:lnTo>
                  <a:pt x="438" y="164"/>
                </a:lnTo>
                <a:lnTo>
                  <a:pt x="438" y="168"/>
                </a:lnTo>
                <a:lnTo>
                  <a:pt x="438" y="175"/>
                </a:lnTo>
                <a:lnTo>
                  <a:pt x="438" y="177"/>
                </a:lnTo>
                <a:lnTo>
                  <a:pt x="431" y="179"/>
                </a:lnTo>
                <a:lnTo>
                  <a:pt x="431" y="181"/>
                </a:lnTo>
                <a:lnTo>
                  <a:pt x="429" y="181"/>
                </a:lnTo>
                <a:lnTo>
                  <a:pt x="425" y="181"/>
                </a:lnTo>
                <a:lnTo>
                  <a:pt x="421" y="183"/>
                </a:lnTo>
                <a:lnTo>
                  <a:pt x="416" y="190"/>
                </a:lnTo>
                <a:lnTo>
                  <a:pt x="412" y="190"/>
                </a:lnTo>
                <a:lnTo>
                  <a:pt x="408" y="192"/>
                </a:lnTo>
                <a:lnTo>
                  <a:pt x="403" y="192"/>
                </a:lnTo>
                <a:lnTo>
                  <a:pt x="397" y="194"/>
                </a:lnTo>
                <a:lnTo>
                  <a:pt x="393" y="194"/>
                </a:lnTo>
                <a:lnTo>
                  <a:pt x="390" y="194"/>
                </a:lnTo>
                <a:lnTo>
                  <a:pt x="390" y="196"/>
                </a:lnTo>
                <a:lnTo>
                  <a:pt x="388" y="201"/>
                </a:lnTo>
                <a:lnTo>
                  <a:pt x="388" y="209"/>
                </a:lnTo>
                <a:lnTo>
                  <a:pt x="388" y="211"/>
                </a:lnTo>
                <a:lnTo>
                  <a:pt x="390" y="216"/>
                </a:lnTo>
                <a:lnTo>
                  <a:pt x="393" y="218"/>
                </a:lnTo>
                <a:lnTo>
                  <a:pt x="395" y="218"/>
                </a:lnTo>
                <a:lnTo>
                  <a:pt x="397" y="224"/>
                </a:lnTo>
                <a:lnTo>
                  <a:pt x="397" y="226"/>
                </a:lnTo>
                <a:lnTo>
                  <a:pt x="397" y="239"/>
                </a:lnTo>
                <a:lnTo>
                  <a:pt x="397" y="242"/>
                </a:lnTo>
                <a:lnTo>
                  <a:pt x="393" y="244"/>
                </a:lnTo>
                <a:lnTo>
                  <a:pt x="390" y="248"/>
                </a:lnTo>
                <a:lnTo>
                  <a:pt x="390" y="257"/>
                </a:lnTo>
                <a:lnTo>
                  <a:pt x="388" y="261"/>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204" name="Freeform 37">
            <a:extLst>
              <a:ext uri="{FF2B5EF4-FFF2-40B4-BE49-F238E27FC236}">
                <a16:creationId xmlns:a16="http://schemas.microsoft.com/office/drawing/2014/main" id="{30F2477B-C4D5-4A6D-90ED-039E2BB80A5B}"/>
              </a:ext>
            </a:extLst>
          </p:cNvPr>
          <p:cNvSpPr>
            <a:spLocks/>
          </p:cNvSpPr>
          <p:nvPr>
            <p:custDataLst>
              <p:tags r:id="rId28"/>
            </p:custDataLst>
          </p:nvPr>
        </p:nvSpPr>
        <p:spPr bwMode="auto">
          <a:xfrm>
            <a:off x="9228729" y="2587747"/>
            <a:ext cx="501968" cy="285345"/>
          </a:xfrm>
          <a:custGeom>
            <a:avLst/>
            <a:gdLst>
              <a:gd name="T0" fmla="*/ 2147483647 w 248"/>
              <a:gd name="T1" fmla="*/ 2147483647 h 132"/>
              <a:gd name="T2" fmla="*/ 2147483647 w 248"/>
              <a:gd name="T3" fmla="*/ 2147483647 h 132"/>
              <a:gd name="T4" fmla="*/ 2147483647 w 248"/>
              <a:gd name="T5" fmla="*/ 2147483647 h 132"/>
              <a:gd name="T6" fmla="*/ 2147483647 w 248"/>
              <a:gd name="T7" fmla="*/ 2147483647 h 132"/>
              <a:gd name="T8" fmla="*/ 2147483647 w 248"/>
              <a:gd name="T9" fmla="*/ 2147483647 h 132"/>
              <a:gd name="T10" fmla="*/ 2147483647 w 248"/>
              <a:gd name="T11" fmla="*/ 2147483647 h 132"/>
              <a:gd name="T12" fmla="*/ 2147483647 w 248"/>
              <a:gd name="T13" fmla="*/ 2147483647 h 132"/>
              <a:gd name="T14" fmla="*/ 2147483647 w 248"/>
              <a:gd name="T15" fmla="*/ 2147483647 h 132"/>
              <a:gd name="T16" fmla="*/ 2147483647 w 248"/>
              <a:gd name="T17" fmla="*/ 2147483647 h 132"/>
              <a:gd name="T18" fmla="*/ 2147483647 w 248"/>
              <a:gd name="T19" fmla="*/ 2147483647 h 132"/>
              <a:gd name="T20" fmla="*/ 2147483647 w 248"/>
              <a:gd name="T21" fmla="*/ 2147483647 h 132"/>
              <a:gd name="T22" fmla="*/ 2147483647 w 248"/>
              <a:gd name="T23" fmla="*/ 2147483647 h 132"/>
              <a:gd name="T24" fmla="*/ 0 w 248"/>
              <a:gd name="T25" fmla="*/ 2147483647 h 132"/>
              <a:gd name="T26" fmla="*/ 2147483647 w 248"/>
              <a:gd name="T27" fmla="*/ 2147483647 h 132"/>
              <a:gd name="T28" fmla="*/ 2147483647 w 248"/>
              <a:gd name="T29" fmla="*/ 2147483647 h 132"/>
              <a:gd name="T30" fmla="*/ 2147483647 w 248"/>
              <a:gd name="T31" fmla="*/ 2147483647 h 132"/>
              <a:gd name="T32" fmla="*/ 2147483647 w 248"/>
              <a:gd name="T33" fmla="*/ 2147483647 h 132"/>
              <a:gd name="T34" fmla="*/ 2147483647 w 248"/>
              <a:gd name="T35" fmla="*/ 2147483647 h 132"/>
              <a:gd name="T36" fmla="*/ 2147483647 w 248"/>
              <a:gd name="T37" fmla="*/ 2147483647 h 132"/>
              <a:gd name="T38" fmla="*/ 2147483647 w 248"/>
              <a:gd name="T39" fmla="*/ 2147483647 h 132"/>
              <a:gd name="T40" fmla="*/ 2147483647 w 248"/>
              <a:gd name="T41" fmla="*/ 2147483647 h 132"/>
              <a:gd name="T42" fmla="*/ 2147483647 w 248"/>
              <a:gd name="T43" fmla="*/ 2147483647 h 132"/>
              <a:gd name="T44" fmla="*/ 2147483647 w 248"/>
              <a:gd name="T45" fmla="*/ 2147483647 h 132"/>
              <a:gd name="T46" fmla="*/ 2147483647 w 248"/>
              <a:gd name="T47" fmla="*/ 2147483647 h 132"/>
              <a:gd name="T48" fmla="*/ 2147483647 w 248"/>
              <a:gd name="T49" fmla="*/ 2147483647 h 132"/>
              <a:gd name="T50" fmla="*/ 2147483647 w 248"/>
              <a:gd name="T51" fmla="*/ 2147483647 h 132"/>
              <a:gd name="T52" fmla="*/ 2147483647 w 248"/>
              <a:gd name="T53" fmla="*/ 2147483647 h 132"/>
              <a:gd name="T54" fmla="*/ 2147483647 w 248"/>
              <a:gd name="T55" fmla="*/ 2147483647 h 132"/>
              <a:gd name="T56" fmla="*/ 2147483647 w 248"/>
              <a:gd name="T57" fmla="*/ 2147483647 h 132"/>
              <a:gd name="T58" fmla="*/ 2147483647 w 248"/>
              <a:gd name="T59" fmla="*/ 2147483647 h 132"/>
              <a:gd name="T60" fmla="*/ 2147483647 w 248"/>
              <a:gd name="T61" fmla="*/ 2147483647 h 132"/>
              <a:gd name="T62" fmla="*/ 2147483647 w 248"/>
              <a:gd name="T63" fmla="*/ 2147483647 h 132"/>
              <a:gd name="T64" fmla="*/ 2147483647 w 248"/>
              <a:gd name="T65" fmla="*/ 2147483647 h 132"/>
              <a:gd name="T66" fmla="*/ 2147483647 w 248"/>
              <a:gd name="T67" fmla="*/ 2147483647 h 132"/>
              <a:gd name="T68" fmla="*/ 2147483647 w 248"/>
              <a:gd name="T69" fmla="*/ 2147483647 h 132"/>
              <a:gd name="T70" fmla="*/ 2147483647 w 248"/>
              <a:gd name="T71" fmla="*/ 2147483647 h 132"/>
              <a:gd name="T72" fmla="*/ 2147483647 w 248"/>
              <a:gd name="T73" fmla="*/ 2147483647 h 132"/>
              <a:gd name="T74" fmla="*/ 2147483647 w 248"/>
              <a:gd name="T75" fmla="*/ 2147483647 h 132"/>
              <a:gd name="T76" fmla="*/ 2147483647 w 248"/>
              <a:gd name="T77" fmla="*/ 2147483647 h 132"/>
              <a:gd name="T78" fmla="*/ 2147483647 w 248"/>
              <a:gd name="T79" fmla="*/ 2147483647 h 132"/>
              <a:gd name="T80" fmla="*/ 2147483647 w 248"/>
              <a:gd name="T81" fmla="*/ 2147483647 h 132"/>
              <a:gd name="T82" fmla="*/ 2147483647 w 248"/>
              <a:gd name="T83" fmla="*/ 2147483647 h 132"/>
              <a:gd name="T84" fmla="*/ 2147483647 w 248"/>
              <a:gd name="T85" fmla="*/ 2147483647 h 1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8"/>
              <a:gd name="T130" fmla="*/ 0 h 132"/>
              <a:gd name="T131" fmla="*/ 248 w 248"/>
              <a:gd name="T132" fmla="*/ 132 h 13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8" h="132">
                <a:moveTo>
                  <a:pt x="153" y="110"/>
                </a:moveTo>
                <a:lnTo>
                  <a:pt x="151" y="110"/>
                </a:lnTo>
                <a:lnTo>
                  <a:pt x="151" y="108"/>
                </a:lnTo>
                <a:lnTo>
                  <a:pt x="151" y="101"/>
                </a:lnTo>
                <a:lnTo>
                  <a:pt x="149" y="99"/>
                </a:lnTo>
                <a:lnTo>
                  <a:pt x="149" y="97"/>
                </a:lnTo>
                <a:lnTo>
                  <a:pt x="146" y="99"/>
                </a:lnTo>
                <a:lnTo>
                  <a:pt x="144" y="93"/>
                </a:lnTo>
                <a:lnTo>
                  <a:pt x="144" y="91"/>
                </a:lnTo>
                <a:lnTo>
                  <a:pt x="136" y="93"/>
                </a:lnTo>
                <a:lnTo>
                  <a:pt x="116" y="97"/>
                </a:lnTo>
                <a:lnTo>
                  <a:pt x="114" y="95"/>
                </a:lnTo>
                <a:lnTo>
                  <a:pt x="95" y="99"/>
                </a:lnTo>
                <a:lnTo>
                  <a:pt x="92" y="99"/>
                </a:lnTo>
                <a:lnTo>
                  <a:pt x="67" y="108"/>
                </a:lnTo>
                <a:lnTo>
                  <a:pt x="64" y="108"/>
                </a:lnTo>
                <a:lnTo>
                  <a:pt x="62" y="110"/>
                </a:lnTo>
                <a:lnTo>
                  <a:pt x="51" y="110"/>
                </a:lnTo>
                <a:lnTo>
                  <a:pt x="51" y="114"/>
                </a:lnTo>
                <a:lnTo>
                  <a:pt x="47" y="114"/>
                </a:lnTo>
                <a:lnTo>
                  <a:pt x="47" y="112"/>
                </a:lnTo>
                <a:lnTo>
                  <a:pt x="34" y="114"/>
                </a:lnTo>
                <a:lnTo>
                  <a:pt x="32" y="114"/>
                </a:lnTo>
                <a:lnTo>
                  <a:pt x="2" y="123"/>
                </a:lnTo>
                <a:lnTo>
                  <a:pt x="0" y="119"/>
                </a:lnTo>
                <a:lnTo>
                  <a:pt x="0" y="78"/>
                </a:lnTo>
                <a:lnTo>
                  <a:pt x="2" y="54"/>
                </a:lnTo>
                <a:lnTo>
                  <a:pt x="17" y="50"/>
                </a:lnTo>
                <a:lnTo>
                  <a:pt x="23" y="50"/>
                </a:lnTo>
                <a:lnTo>
                  <a:pt x="54" y="43"/>
                </a:lnTo>
                <a:lnTo>
                  <a:pt x="67" y="41"/>
                </a:lnTo>
                <a:lnTo>
                  <a:pt x="88" y="34"/>
                </a:lnTo>
                <a:lnTo>
                  <a:pt x="92" y="34"/>
                </a:lnTo>
                <a:lnTo>
                  <a:pt x="133" y="26"/>
                </a:lnTo>
                <a:lnTo>
                  <a:pt x="133" y="24"/>
                </a:lnTo>
                <a:lnTo>
                  <a:pt x="136" y="19"/>
                </a:lnTo>
                <a:lnTo>
                  <a:pt x="138" y="19"/>
                </a:lnTo>
                <a:lnTo>
                  <a:pt x="136" y="13"/>
                </a:lnTo>
                <a:lnTo>
                  <a:pt x="142" y="11"/>
                </a:lnTo>
                <a:lnTo>
                  <a:pt x="146" y="13"/>
                </a:lnTo>
                <a:lnTo>
                  <a:pt x="146" y="9"/>
                </a:lnTo>
                <a:lnTo>
                  <a:pt x="153" y="2"/>
                </a:lnTo>
                <a:lnTo>
                  <a:pt x="153" y="0"/>
                </a:lnTo>
                <a:lnTo>
                  <a:pt x="159" y="2"/>
                </a:lnTo>
                <a:lnTo>
                  <a:pt x="162" y="0"/>
                </a:lnTo>
                <a:lnTo>
                  <a:pt x="170" y="17"/>
                </a:lnTo>
                <a:lnTo>
                  <a:pt x="181" y="17"/>
                </a:lnTo>
                <a:lnTo>
                  <a:pt x="179" y="24"/>
                </a:lnTo>
                <a:lnTo>
                  <a:pt x="168" y="30"/>
                </a:lnTo>
                <a:lnTo>
                  <a:pt x="166" y="41"/>
                </a:lnTo>
                <a:lnTo>
                  <a:pt x="162" y="43"/>
                </a:lnTo>
                <a:lnTo>
                  <a:pt x="162" y="58"/>
                </a:lnTo>
                <a:lnTo>
                  <a:pt x="168" y="60"/>
                </a:lnTo>
                <a:lnTo>
                  <a:pt x="168" y="58"/>
                </a:lnTo>
                <a:lnTo>
                  <a:pt x="174" y="58"/>
                </a:lnTo>
                <a:lnTo>
                  <a:pt x="179" y="58"/>
                </a:lnTo>
                <a:lnTo>
                  <a:pt x="185" y="62"/>
                </a:lnTo>
                <a:lnTo>
                  <a:pt x="196" y="80"/>
                </a:lnTo>
                <a:lnTo>
                  <a:pt x="200" y="80"/>
                </a:lnTo>
                <a:lnTo>
                  <a:pt x="207" y="93"/>
                </a:lnTo>
                <a:lnTo>
                  <a:pt x="213" y="95"/>
                </a:lnTo>
                <a:lnTo>
                  <a:pt x="226" y="95"/>
                </a:lnTo>
                <a:lnTo>
                  <a:pt x="220" y="97"/>
                </a:lnTo>
                <a:lnTo>
                  <a:pt x="228" y="95"/>
                </a:lnTo>
                <a:lnTo>
                  <a:pt x="241" y="84"/>
                </a:lnTo>
                <a:lnTo>
                  <a:pt x="241" y="78"/>
                </a:lnTo>
                <a:lnTo>
                  <a:pt x="228" y="67"/>
                </a:lnTo>
                <a:lnTo>
                  <a:pt x="218" y="65"/>
                </a:lnTo>
                <a:lnTo>
                  <a:pt x="226" y="60"/>
                </a:lnTo>
                <a:lnTo>
                  <a:pt x="231" y="62"/>
                </a:lnTo>
                <a:lnTo>
                  <a:pt x="241" y="73"/>
                </a:lnTo>
                <a:lnTo>
                  <a:pt x="248" y="84"/>
                </a:lnTo>
                <a:lnTo>
                  <a:pt x="248" y="93"/>
                </a:lnTo>
                <a:lnTo>
                  <a:pt x="218" y="108"/>
                </a:lnTo>
                <a:lnTo>
                  <a:pt x="218" y="112"/>
                </a:lnTo>
                <a:lnTo>
                  <a:pt x="207" y="116"/>
                </a:lnTo>
                <a:lnTo>
                  <a:pt x="203" y="116"/>
                </a:lnTo>
                <a:lnTo>
                  <a:pt x="200" y="99"/>
                </a:lnTo>
                <a:lnTo>
                  <a:pt x="187" y="114"/>
                </a:lnTo>
                <a:lnTo>
                  <a:pt x="185" y="114"/>
                </a:lnTo>
                <a:lnTo>
                  <a:pt x="181" y="127"/>
                </a:lnTo>
                <a:lnTo>
                  <a:pt x="174" y="132"/>
                </a:lnTo>
                <a:lnTo>
                  <a:pt x="168" y="116"/>
                </a:lnTo>
                <a:lnTo>
                  <a:pt x="164" y="114"/>
                </a:lnTo>
                <a:lnTo>
                  <a:pt x="162" y="114"/>
                </a:lnTo>
                <a:lnTo>
                  <a:pt x="155" y="110"/>
                </a:lnTo>
                <a:lnTo>
                  <a:pt x="153" y="110"/>
                </a:lnTo>
                <a:close/>
              </a:path>
            </a:pathLst>
          </a:custGeom>
          <a:solidFill>
            <a:schemeClr val="bg1"/>
          </a:solidFill>
          <a:ln w="9525">
            <a:noFill/>
            <a:round/>
            <a:headEnd/>
            <a:tailEnd/>
          </a:ln>
        </p:spPr>
        <p:txBody>
          <a:bodyPr/>
          <a:lstStyle/>
          <a:p>
            <a:endParaRPr lang="en-US" dirty="0">
              <a:solidFill>
                <a:prstClr val="black"/>
              </a:solidFill>
            </a:endParaRPr>
          </a:p>
        </p:txBody>
      </p:sp>
      <p:sp>
        <p:nvSpPr>
          <p:cNvPr id="205" name="Freeform 38">
            <a:extLst>
              <a:ext uri="{FF2B5EF4-FFF2-40B4-BE49-F238E27FC236}">
                <a16:creationId xmlns:a16="http://schemas.microsoft.com/office/drawing/2014/main" id="{9E480B6F-7B11-45C7-8AA6-836EFC48FDE9}"/>
              </a:ext>
            </a:extLst>
          </p:cNvPr>
          <p:cNvSpPr>
            <a:spLocks/>
          </p:cNvSpPr>
          <p:nvPr>
            <p:custDataLst>
              <p:tags r:id="rId29"/>
            </p:custDataLst>
          </p:nvPr>
        </p:nvSpPr>
        <p:spPr bwMode="auto">
          <a:xfrm>
            <a:off x="9228729" y="2587747"/>
            <a:ext cx="501968" cy="285345"/>
          </a:xfrm>
          <a:custGeom>
            <a:avLst/>
            <a:gdLst>
              <a:gd name="T0" fmla="*/ 2147483647 w 248"/>
              <a:gd name="T1" fmla="*/ 2147483647 h 132"/>
              <a:gd name="T2" fmla="*/ 2147483647 w 248"/>
              <a:gd name="T3" fmla="*/ 2147483647 h 132"/>
              <a:gd name="T4" fmla="*/ 2147483647 w 248"/>
              <a:gd name="T5" fmla="*/ 2147483647 h 132"/>
              <a:gd name="T6" fmla="*/ 2147483647 w 248"/>
              <a:gd name="T7" fmla="*/ 2147483647 h 132"/>
              <a:gd name="T8" fmla="*/ 2147483647 w 248"/>
              <a:gd name="T9" fmla="*/ 2147483647 h 132"/>
              <a:gd name="T10" fmla="*/ 2147483647 w 248"/>
              <a:gd name="T11" fmla="*/ 2147483647 h 132"/>
              <a:gd name="T12" fmla="*/ 2147483647 w 248"/>
              <a:gd name="T13" fmla="*/ 2147483647 h 132"/>
              <a:gd name="T14" fmla="*/ 2147483647 w 248"/>
              <a:gd name="T15" fmla="*/ 2147483647 h 132"/>
              <a:gd name="T16" fmla="*/ 2147483647 w 248"/>
              <a:gd name="T17" fmla="*/ 2147483647 h 132"/>
              <a:gd name="T18" fmla="*/ 2147483647 w 248"/>
              <a:gd name="T19" fmla="*/ 2147483647 h 132"/>
              <a:gd name="T20" fmla="*/ 2147483647 w 248"/>
              <a:gd name="T21" fmla="*/ 2147483647 h 132"/>
              <a:gd name="T22" fmla="*/ 2147483647 w 248"/>
              <a:gd name="T23" fmla="*/ 2147483647 h 132"/>
              <a:gd name="T24" fmla="*/ 0 w 248"/>
              <a:gd name="T25" fmla="*/ 2147483647 h 132"/>
              <a:gd name="T26" fmla="*/ 2147483647 w 248"/>
              <a:gd name="T27" fmla="*/ 2147483647 h 132"/>
              <a:gd name="T28" fmla="*/ 2147483647 w 248"/>
              <a:gd name="T29" fmla="*/ 2147483647 h 132"/>
              <a:gd name="T30" fmla="*/ 2147483647 w 248"/>
              <a:gd name="T31" fmla="*/ 2147483647 h 132"/>
              <a:gd name="T32" fmla="*/ 2147483647 w 248"/>
              <a:gd name="T33" fmla="*/ 2147483647 h 132"/>
              <a:gd name="T34" fmla="*/ 2147483647 w 248"/>
              <a:gd name="T35" fmla="*/ 2147483647 h 132"/>
              <a:gd name="T36" fmla="*/ 2147483647 w 248"/>
              <a:gd name="T37" fmla="*/ 2147483647 h 132"/>
              <a:gd name="T38" fmla="*/ 2147483647 w 248"/>
              <a:gd name="T39" fmla="*/ 2147483647 h 132"/>
              <a:gd name="T40" fmla="*/ 2147483647 w 248"/>
              <a:gd name="T41" fmla="*/ 2147483647 h 132"/>
              <a:gd name="T42" fmla="*/ 2147483647 w 248"/>
              <a:gd name="T43" fmla="*/ 2147483647 h 132"/>
              <a:gd name="T44" fmla="*/ 2147483647 w 248"/>
              <a:gd name="T45" fmla="*/ 2147483647 h 132"/>
              <a:gd name="T46" fmla="*/ 2147483647 w 248"/>
              <a:gd name="T47" fmla="*/ 2147483647 h 132"/>
              <a:gd name="T48" fmla="*/ 2147483647 w 248"/>
              <a:gd name="T49" fmla="*/ 2147483647 h 132"/>
              <a:gd name="T50" fmla="*/ 2147483647 w 248"/>
              <a:gd name="T51" fmla="*/ 2147483647 h 132"/>
              <a:gd name="T52" fmla="*/ 2147483647 w 248"/>
              <a:gd name="T53" fmla="*/ 2147483647 h 132"/>
              <a:gd name="T54" fmla="*/ 2147483647 w 248"/>
              <a:gd name="T55" fmla="*/ 2147483647 h 132"/>
              <a:gd name="T56" fmla="*/ 2147483647 w 248"/>
              <a:gd name="T57" fmla="*/ 2147483647 h 132"/>
              <a:gd name="T58" fmla="*/ 2147483647 w 248"/>
              <a:gd name="T59" fmla="*/ 2147483647 h 132"/>
              <a:gd name="T60" fmla="*/ 2147483647 w 248"/>
              <a:gd name="T61" fmla="*/ 2147483647 h 132"/>
              <a:gd name="T62" fmla="*/ 2147483647 w 248"/>
              <a:gd name="T63" fmla="*/ 2147483647 h 132"/>
              <a:gd name="T64" fmla="*/ 2147483647 w 248"/>
              <a:gd name="T65" fmla="*/ 2147483647 h 132"/>
              <a:gd name="T66" fmla="*/ 2147483647 w 248"/>
              <a:gd name="T67" fmla="*/ 2147483647 h 132"/>
              <a:gd name="T68" fmla="*/ 2147483647 w 248"/>
              <a:gd name="T69" fmla="*/ 2147483647 h 132"/>
              <a:gd name="T70" fmla="*/ 2147483647 w 248"/>
              <a:gd name="T71" fmla="*/ 2147483647 h 132"/>
              <a:gd name="T72" fmla="*/ 2147483647 w 248"/>
              <a:gd name="T73" fmla="*/ 2147483647 h 132"/>
              <a:gd name="T74" fmla="*/ 2147483647 w 248"/>
              <a:gd name="T75" fmla="*/ 2147483647 h 132"/>
              <a:gd name="T76" fmla="*/ 2147483647 w 248"/>
              <a:gd name="T77" fmla="*/ 2147483647 h 132"/>
              <a:gd name="T78" fmla="*/ 2147483647 w 248"/>
              <a:gd name="T79" fmla="*/ 2147483647 h 132"/>
              <a:gd name="T80" fmla="*/ 2147483647 w 248"/>
              <a:gd name="T81" fmla="*/ 2147483647 h 132"/>
              <a:gd name="T82" fmla="*/ 2147483647 w 248"/>
              <a:gd name="T83" fmla="*/ 2147483647 h 132"/>
              <a:gd name="T84" fmla="*/ 2147483647 w 248"/>
              <a:gd name="T85" fmla="*/ 2147483647 h 1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8"/>
              <a:gd name="T130" fmla="*/ 0 h 132"/>
              <a:gd name="T131" fmla="*/ 248 w 248"/>
              <a:gd name="T132" fmla="*/ 132 h 13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8" h="132">
                <a:moveTo>
                  <a:pt x="153" y="110"/>
                </a:moveTo>
                <a:lnTo>
                  <a:pt x="151" y="110"/>
                </a:lnTo>
                <a:lnTo>
                  <a:pt x="151" y="108"/>
                </a:lnTo>
                <a:lnTo>
                  <a:pt x="151" y="101"/>
                </a:lnTo>
                <a:lnTo>
                  <a:pt x="149" y="99"/>
                </a:lnTo>
                <a:lnTo>
                  <a:pt x="149" y="97"/>
                </a:lnTo>
                <a:lnTo>
                  <a:pt x="146" y="99"/>
                </a:lnTo>
                <a:lnTo>
                  <a:pt x="144" y="93"/>
                </a:lnTo>
                <a:lnTo>
                  <a:pt x="144" y="91"/>
                </a:lnTo>
                <a:lnTo>
                  <a:pt x="136" y="93"/>
                </a:lnTo>
                <a:lnTo>
                  <a:pt x="116" y="97"/>
                </a:lnTo>
                <a:lnTo>
                  <a:pt x="114" y="95"/>
                </a:lnTo>
                <a:lnTo>
                  <a:pt x="95" y="99"/>
                </a:lnTo>
                <a:lnTo>
                  <a:pt x="92" y="99"/>
                </a:lnTo>
                <a:lnTo>
                  <a:pt x="67" y="108"/>
                </a:lnTo>
                <a:lnTo>
                  <a:pt x="64" y="108"/>
                </a:lnTo>
                <a:lnTo>
                  <a:pt x="62" y="110"/>
                </a:lnTo>
                <a:lnTo>
                  <a:pt x="51" y="110"/>
                </a:lnTo>
                <a:lnTo>
                  <a:pt x="51" y="114"/>
                </a:lnTo>
                <a:lnTo>
                  <a:pt x="47" y="114"/>
                </a:lnTo>
                <a:lnTo>
                  <a:pt x="47" y="112"/>
                </a:lnTo>
                <a:lnTo>
                  <a:pt x="34" y="114"/>
                </a:lnTo>
                <a:lnTo>
                  <a:pt x="32" y="114"/>
                </a:lnTo>
                <a:lnTo>
                  <a:pt x="2" y="123"/>
                </a:lnTo>
                <a:lnTo>
                  <a:pt x="0" y="119"/>
                </a:lnTo>
                <a:lnTo>
                  <a:pt x="0" y="78"/>
                </a:lnTo>
                <a:lnTo>
                  <a:pt x="2" y="54"/>
                </a:lnTo>
                <a:lnTo>
                  <a:pt x="17" y="50"/>
                </a:lnTo>
                <a:lnTo>
                  <a:pt x="23" y="50"/>
                </a:lnTo>
                <a:lnTo>
                  <a:pt x="54" y="43"/>
                </a:lnTo>
                <a:lnTo>
                  <a:pt x="67" y="41"/>
                </a:lnTo>
                <a:lnTo>
                  <a:pt x="88" y="34"/>
                </a:lnTo>
                <a:lnTo>
                  <a:pt x="92" y="34"/>
                </a:lnTo>
                <a:lnTo>
                  <a:pt x="133" y="26"/>
                </a:lnTo>
                <a:lnTo>
                  <a:pt x="133" y="24"/>
                </a:lnTo>
                <a:lnTo>
                  <a:pt x="136" y="19"/>
                </a:lnTo>
                <a:lnTo>
                  <a:pt x="138" y="19"/>
                </a:lnTo>
                <a:lnTo>
                  <a:pt x="136" y="13"/>
                </a:lnTo>
                <a:lnTo>
                  <a:pt x="142" y="11"/>
                </a:lnTo>
                <a:lnTo>
                  <a:pt x="146" y="13"/>
                </a:lnTo>
                <a:lnTo>
                  <a:pt x="146" y="9"/>
                </a:lnTo>
                <a:lnTo>
                  <a:pt x="153" y="2"/>
                </a:lnTo>
                <a:lnTo>
                  <a:pt x="153" y="0"/>
                </a:lnTo>
                <a:lnTo>
                  <a:pt x="159" y="2"/>
                </a:lnTo>
                <a:lnTo>
                  <a:pt x="162" y="0"/>
                </a:lnTo>
                <a:lnTo>
                  <a:pt x="170" y="17"/>
                </a:lnTo>
                <a:lnTo>
                  <a:pt x="181" y="17"/>
                </a:lnTo>
                <a:lnTo>
                  <a:pt x="179" y="24"/>
                </a:lnTo>
                <a:lnTo>
                  <a:pt x="168" y="30"/>
                </a:lnTo>
                <a:lnTo>
                  <a:pt x="166" y="41"/>
                </a:lnTo>
                <a:lnTo>
                  <a:pt x="162" y="43"/>
                </a:lnTo>
                <a:lnTo>
                  <a:pt x="162" y="58"/>
                </a:lnTo>
                <a:lnTo>
                  <a:pt x="168" y="60"/>
                </a:lnTo>
                <a:lnTo>
                  <a:pt x="168" y="58"/>
                </a:lnTo>
                <a:lnTo>
                  <a:pt x="174" y="58"/>
                </a:lnTo>
                <a:lnTo>
                  <a:pt x="179" y="58"/>
                </a:lnTo>
                <a:lnTo>
                  <a:pt x="185" y="62"/>
                </a:lnTo>
                <a:lnTo>
                  <a:pt x="196" y="80"/>
                </a:lnTo>
                <a:lnTo>
                  <a:pt x="200" y="80"/>
                </a:lnTo>
                <a:lnTo>
                  <a:pt x="207" y="93"/>
                </a:lnTo>
                <a:lnTo>
                  <a:pt x="213" y="95"/>
                </a:lnTo>
                <a:lnTo>
                  <a:pt x="226" y="95"/>
                </a:lnTo>
                <a:lnTo>
                  <a:pt x="220" y="97"/>
                </a:lnTo>
                <a:lnTo>
                  <a:pt x="228" y="95"/>
                </a:lnTo>
                <a:lnTo>
                  <a:pt x="241" y="84"/>
                </a:lnTo>
                <a:lnTo>
                  <a:pt x="241" y="78"/>
                </a:lnTo>
                <a:lnTo>
                  <a:pt x="228" y="67"/>
                </a:lnTo>
                <a:lnTo>
                  <a:pt x="218" y="65"/>
                </a:lnTo>
                <a:lnTo>
                  <a:pt x="226" y="60"/>
                </a:lnTo>
                <a:lnTo>
                  <a:pt x="231" y="62"/>
                </a:lnTo>
                <a:lnTo>
                  <a:pt x="241" y="73"/>
                </a:lnTo>
                <a:lnTo>
                  <a:pt x="248" y="84"/>
                </a:lnTo>
                <a:lnTo>
                  <a:pt x="248" y="93"/>
                </a:lnTo>
                <a:lnTo>
                  <a:pt x="218" y="108"/>
                </a:lnTo>
                <a:lnTo>
                  <a:pt x="218" y="112"/>
                </a:lnTo>
                <a:lnTo>
                  <a:pt x="207" y="116"/>
                </a:lnTo>
                <a:lnTo>
                  <a:pt x="203" y="116"/>
                </a:lnTo>
                <a:lnTo>
                  <a:pt x="200" y="99"/>
                </a:lnTo>
                <a:lnTo>
                  <a:pt x="187" y="114"/>
                </a:lnTo>
                <a:lnTo>
                  <a:pt x="185" y="114"/>
                </a:lnTo>
                <a:lnTo>
                  <a:pt x="181" y="127"/>
                </a:lnTo>
                <a:lnTo>
                  <a:pt x="174" y="132"/>
                </a:lnTo>
                <a:lnTo>
                  <a:pt x="168" y="116"/>
                </a:lnTo>
                <a:lnTo>
                  <a:pt x="164" y="114"/>
                </a:lnTo>
                <a:lnTo>
                  <a:pt x="162" y="114"/>
                </a:lnTo>
                <a:lnTo>
                  <a:pt x="155" y="110"/>
                </a:lnTo>
                <a:lnTo>
                  <a:pt x="153" y="110"/>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06" name="Freeform 39">
            <a:extLst>
              <a:ext uri="{FF2B5EF4-FFF2-40B4-BE49-F238E27FC236}">
                <a16:creationId xmlns:a16="http://schemas.microsoft.com/office/drawing/2014/main" id="{FEC193A9-2E45-4AB5-97BB-301CA4EB39F5}"/>
              </a:ext>
            </a:extLst>
          </p:cNvPr>
          <p:cNvSpPr>
            <a:spLocks/>
          </p:cNvSpPr>
          <p:nvPr>
            <p:custDataLst>
              <p:tags r:id="rId30"/>
            </p:custDataLst>
          </p:nvPr>
        </p:nvSpPr>
        <p:spPr bwMode="auto">
          <a:xfrm>
            <a:off x="4958709" y="3007104"/>
            <a:ext cx="1251632" cy="659319"/>
          </a:xfrm>
          <a:custGeom>
            <a:avLst/>
            <a:gdLst>
              <a:gd name="T0" fmla="*/ 2147483647 w 618"/>
              <a:gd name="T1" fmla="*/ 2147483647 h 305"/>
              <a:gd name="T2" fmla="*/ 2147483647 w 618"/>
              <a:gd name="T3" fmla="*/ 2147483647 h 305"/>
              <a:gd name="T4" fmla="*/ 2147483647 w 618"/>
              <a:gd name="T5" fmla="*/ 2147483647 h 305"/>
              <a:gd name="T6" fmla="*/ 0 w 618"/>
              <a:gd name="T7" fmla="*/ 2147483647 h 305"/>
              <a:gd name="T8" fmla="*/ 2147483647 w 618"/>
              <a:gd name="T9" fmla="*/ 2147483647 h 305"/>
              <a:gd name="T10" fmla="*/ 2147483647 w 618"/>
              <a:gd name="T11" fmla="*/ 0 h 305"/>
              <a:gd name="T12" fmla="*/ 2147483647 w 618"/>
              <a:gd name="T13" fmla="*/ 2147483647 h 305"/>
              <a:gd name="T14" fmla="*/ 2147483647 w 618"/>
              <a:gd name="T15" fmla="*/ 2147483647 h 305"/>
              <a:gd name="T16" fmla="*/ 2147483647 w 618"/>
              <a:gd name="T17" fmla="*/ 2147483647 h 305"/>
              <a:gd name="T18" fmla="*/ 2147483647 w 618"/>
              <a:gd name="T19" fmla="*/ 2147483647 h 305"/>
              <a:gd name="T20" fmla="*/ 2147483647 w 618"/>
              <a:gd name="T21" fmla="*/ 2147483647 h 305"/>
              <a:gd name="T22" fmla="*/ 2147483647 w 618"/>
              <a:gd name="T23" fmla="*/ 2147483647 h 305"/>
              <a:gd name="T24" fmla="*/ 2147483647 w 618"/>
              <a:gd name="T25" fmla="*/ 2147483647 h 305"/>
              <a:gd name="T26" fmla="*/ 2147483647 w 618"/>
              <a:gd name="T27" fmla="*/ 2147483647 h 305"/>
              <a:gd name="T28" fmla="*/ 2147483647 w 618"/>
              <a:gd name="T29" fmla="*/ 2147483647 h 305"/>
              <a:gd name="T30" fmla="*/ 2147483647 w 618"/>
              <a:gd name="T31" fmla="*/ 2147483647 h 305"/>
              <a:gd name="T32" fmla="*/ 2147483647 w 618"/>
              <a:gd name="T33" fmla="*/ 2147483647 h 305"/>
              <a:gd name="T34" fmla="*/ 2147483647 w 618"/>
              <a:gd name="T35" fmla="*/ 2147483647 h 305"/>
              <a:gd name="T36" fmla="*/ 2147483647 w 618"/>
              <a:gd name="T37" fmla="*/ 2147483647 h 305"/>
              <a:gd name="T38" fmla="*/ 2147483647 w 618"/>
              <a:gd name="T39" fmla="*/ 2147483647 h 305"/>
              <a:gd name="T40" fmla="*/ 2147483647 w 618"/>
              <a:gd name="T41" fmla="*/ 2147483647 h 305"/>
              <a:gd name="T42" fmla="*/ 2147483647 w 618"/>
              <a:gd name="T43" fmla="*/ 2147483647 h 305"/>
              <a:gd name="T44" fmla="*/ 2147483647 w 618"/>
              <a:gd name="T45" fmla="*/ 2147483647 h 305"/>
              <a:gd name="T46" fmla="*/ 2147483647 w 618"/>
              <a:gd name="T47" fmla="*/ 2147483647 h 305"/>
              <a:gd name="T48" fmla="*/ 2147483647 w 618"/>
              <a:gd name="T49" fmla="*/ 2147483647 h 305"/>
              <a:gd name="T50" fmla="*/ 2147483647 w 618"/>
              <a:gd name="T51" fmla="*/ 2147483647 h 305"/>
              <a:gd name="T52" fmla="*/ 2147483647 w 618"/>
              <a:gd name="T53" fmla="*/ 2147483647 h 305"/>
              <a:gd name="T54" fmla="*/ 2147483647 w 618"/>
              <a:gd name="T55" fmla="*/ 2147483647 h 305"/>
              <a:gd name="T56" fmla="*/ 2147483647 w 618"/>
              <a:gd name="T57" fmla="*/ 2147483647 h 305"/>
              <a:gd name="T58" fmla="*/ 2147483647 w 618"/>
              <a:gd name="T59" fmla="*/ 2147483647 h 305"/>
              <a:gd name="T60" fmla="*/ 2147483647 w 618"/>
              <a:gd name="T61" fmla="*/ 2147483647 h 305"/>
              <a:gd name="T62" fmla="*/ 2147483647 w 618"/>
              <a:gd name="T63" fmla="*/ 2147483647 h 305"/>
              <a:gd name="T64" fmla="*/ 2147483647 w 618"/>
              <a:gd name="T65" fmla="*/ 2147483647 h 305"/>
              <a:gd name="T66" fmla="*/ 2147483647 w 618"/>
              <a:gd name="T67" fmla="*/ 2147483647 h 305"/>
              <a:gd name="T68" fmla="*/ 2147483647 w 618"/>
              <a:gd name="T69" fmla="*/ 2147483647 h 305"/>
              <a:gd name="T70" fmla="*/ 2147483647 w 618"/>
              <a:gd name="T71" fmla="*/ 2147483647 h 305"/>
              <a:gd name="T72" fmla="*/ 2147483647 w 618"/>
              <a:gd name="T73" fmla="*/ 2147483647 h 305"/>
              <a:gd name="T74" fmla="*/ 2147483647 w 618"/>
              <a:gd name="T75" fmla="*/ 2147483647 h 305"/>
              <a:gd name="T76" fmla="*/ 2147483647 w 618"/>
              <a:gd name="T77" fmla="*/ 2147483647 h 305"/>
              <a:gd name="T78" fmla="*/ 2147483647 w 618"/>
              <a:gd name="T79" fmla="*/ 2147483647 h 305"/>
              <a:gd name="T80" fmla="*/ 2147483647 w 618"/>
              <a:gd name="T81" fmla="*/ 2147483647 h 305"/>
              <a:gd name="T82" fmla="*/ 2147483647 w 618"/>
              <a:gd name="T83" fmla="*/ 2147483647 h 305"/>
              <a:gd name="T84" fmla="*/ 2147483647 w 618"/>
              <a:gd name="T85" fmla="*/ 2147483647 h 305"/>
              <a:gd name="T86" fmla="*/ 2147483647 w 618"/>
              <a:gd name="T87" fmla="*/ 2147483647 h 305"/>
              <a:gd name="T88" fmla="*/ 2147483647 w 618"/>
              <a:gd name="T89" fmla="*/ 2147483647 h 305"/>
              <a:gd name="T90" fmla="*/ 2147483647 w 618"/>
              <a:gd name="T91" fmla="*/ 2147483647 h 305"/>
              <a:gd name="T92" fmla="*/ 2147483647 w 618"/>
              <a:gd name="T93" fmla="*/ 2147483647 h 305"/>
              <a:gd name="T94" fmla="*/ 2147483647 w 618"/>
              <a:gd name="T95" fmla="*/ 2147483647 h 305"/>
              <a:gd name="T96" fmla="*/ 2147483647 w 618"/>
              <a:gd name="T97" fmla="*/ 2147483647 h 305"/>
              <a:gd name="T98" fmla="*/ 2147483647 w 618"/>
              <a:gd name="T99" fmla="*/ 2147483647 h 305"/>
              <a:gd name="T100" fmla="*/ 2147483647 w 618"/>
              <a:gd name="T101" fmla="*/ 2147483647 h 305"/>
              <a:gd name="T102" fmla="*/ 2147483647 w 618"/>
              <a:gd name="T103" fmla="*/ 2147483647 h 305"/>
              <a:gd name="T104" fmla="*/ 2147483647 w 618"/>
              <a:gd name="T105" fmla="*/ 2147483647 h 305"/>
              <a:gd name="T106" fmla="*/ 2147483647 w 618"/>
              <a:gd name="T107" fmla="*/ 2147483647 h 305"/>
              <a:gd name="T108" fmla="*/ 2147483647 w 618"/>
              <a:gd name="T109" fmla="*/ 2147483647 h 305"/>
              <a:gd name="T110" fmla="*/ 2147483647 w 618"/>
              <a:gd name="T111" fmla="*/ 2147483647 h 305"/>
              <a:gd name="T112" fmla="*/ 2147483647 w 618"/>
              <a:gd name="T113" fmla="*/ 2147483647 h 305"/>
              <a:gd name="T114" fmla="*/ 2147483647 w 618"/>
              <a:gd name="T115" fmla="*/ 2147483647 h 305"/>
              <a:gd name="T116" fmla="*/ 2147483647 w 618"/>
              <a:gd name="T117" fmla="*/ 2147483647 h 305"/>
              <a:gd name="T118" fmla="*/ 2147483647 w 618"/>
              <a:gd name="T119" fmla="*/ 2147483647 h 3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305"/>
              <a:gd name="T182" fmla="*/ 618 w 618"/>
              <a:gd name="T183" fmla="*/ 305 h 3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305">
                <a:moveTo>
                  <a:pt x="181" y="294"/>
                </a:moveTo>
                <a:lnTo>
                  <a:pt x="134" y="292"/>
                </a:lnTo>
                <a:lnTo>
                  <a:pt x="136" y="259"/>
                </a:lnTo>
                <a:lnTo>
                  <a:pt x="140" y="248"/>
                </a:lnTo>
                <a:lnTo>
                  <a:pt x="140" y="225"/>
                </a:lnTo>
                <a:lnTo>
                  <a:pt x="140" y="223"/>
                </a:lnTo>
                <a:lnTo>
                  <a:pt x="143" y="197"/>
                </a:lnTo>
                <a:lnTo>
                  <a:pt x="102" y="194"/>
                </a:lnTo>
                <a:lnTo>
                  <a:pt x="99" y="194"/>
                </a:lnTo>
                <a:lnTo>
                  <a:pt x="48" y="190"/>
                </a:lnTo>
                <a:lnTo>
                  <a:pt x="35" y="190"/>
                </a:lnTo>
                <a:lnTo>
                  <a:pt x="0" y="186"/>
                </a:lnTo>
                <a:lnTo>
                  <a:pt x="4" y="149"/>
                </a:lnTo>
                <a:lnTo>
                  <a:pt x="4" y="134"/>
                </a:lnTo>
                <a:lnTo>
                  <a:pt x="7" y="121"/>
                </a:lnTo>
                <a:lnTo>
                  <a:pt x="11" y="93"/>
                </a:lnTo>
                <a:lnTo>
                  <a:pt x="15" y="35"/>
                </a:lnTo>
                <a:lnTo>
                  <a:pt x="17" y="0"/>
                </a:lnTo>
                <a:lnTo>
                  <a:pt x="54" y="2"/>
                </a:lnTo>
                <a:lnTo>
                  <a:pt x="89" y="4"/>
                </a:lnTo>
                <a:lnTo>
                  <a:pt x="102" y="7"/>
                </a:lnTo>
                <a:lnTo>
                  <a:pt x="151" y="11"/>
                </a:lnTo>
                <a:lnTo>
                  <a:pt x="210" y="15"/>
                </a:lnTo>
                <a:lnTo>
                  <a:pt x="279" y="17"/>
                </a:lnTo>
                <a:lnTo>
                  <a:pt x="326" y="20"/>
                </a:lnTo>
                <a:lnTo>
                  <a:pt x="343" y="20"/>
                </a:lnTo>
                <a:lnTo>
                  <a:pt x="395" y="22"/>
                </a:lnTo>
                <a:lnTo>
                  <a:pt x="397" y="28"/>
                </a:lnTo>
                <a:lnTo>
                  <a:pt x="404" y="30"/>
                </a:lnTo>
                <a:lnTo>
                  <a:pt x="408" y="33"/>
                </a:lnTo>
                <a:lnTo>
                  <a:pt x="419" y="37"/>
                </a:lnTo>
                <a:lnTo>
                  <a:pt x="421" y="37"/>
                </a:lnTo>
                <a:lnTo>
                  <a:pt x="421" y="39"/>
                </a:lnTo>
                <a:lnTo>
                  <a:pt x="428" y="43"/>
                </a:lnTo>
                <a:lnTo>
                  <a:pt x="430" y="45"/>
                </a:lnTo>
                <a:lnTo>
                  <a:pt x="432" y="43"/>
                </a:lnTo>
                <a:lnTo>
                  <a:pt x="436" y="43"/>
                </a:lnTo>
                <a:lnTo>
                  <a:pt x="438" y="37"/>
                </a:lnTo>
                <a:lnTo>
                  <a:pt x="438" y="35"/>
                </a:lnTo>
                <a:lnTo>
                  <a:pt x="443" y="35"/>
                </a:lnTo>
                <a:lnTo>
                  <a:pt x="443" y="37"/>
                </a:lnTo>
                <a:lnTo>
                  <a:pt x="445" y="37"/>
                </a:lnTo>
                <a:lnTo>
                  <a:pt x="447" y="35"/>
                </a:lnTo>
                <a:lnTo>
                  <a:pt x="451" y="37"/>
                </a:lnTo>
                <a:lnTo>
                  <a:pt x="456" y="35"/>
                </a:lnTo>
                <a:lnTo>
                  <a:pt x="460" y="37"/>
                </a:lnTo>
                <a:lnTo>
                  <a:pt x="462" y="35"/>
                </a:lnTo>
                <a:lnTo>
                  <a:pt x="464" y="35"/>
                </a:lnTo>
                <a:lnTo>
                  <a:pt x="469" y="37"/>
                </a:lnTo>
                <a:lnTo>
                  <a:pt x="473" y="35"/>
                </a:lnTo>
                <a:lnTo>
                  <a:pt x="477" y="35"/>
                </a:lnTo>
                <a:lnTo>
                  <a:pt x="479" y="37"/>
                </a:lnTo>
                <a:lnTo>
                  <a:pt x="482" y="37"/>
                </a:lnTo>
                <a:lnTo>
                  <a:pt x="482" y="39"/>
                </a:lnTo>
                <a:lnTo>
                  <a:pt x="488" y="43"/>
                </a:lnTo>
                <a:lnTo>
                  <a:pt x="490" y="45"/>
                </a:lnTo>
                <a:lnTo>
                  <a:pt x="497" y="45"/>
                </a:lnTo>
                <a:lnTo>
                  <a:pt x="501" y="45"/>
                </a:lnTo>
                <a:lnTo>
                  <a:pt x="501" y="48"/>
                </a:lnTo>
                <a:lnTo>
                  <a:pt x="501" y="50"/>
                </a:lnTo>
                <a:lnTo>
                  <a:pt x="505" y="48"/>
                </a:lnTo>
                <a:lnTo>
                  <a:pt x="510" y="50"/>
                </a:lnTo>
                <a:lnTo>
                  <a:pt x="510" y="52"/>
                </a:lnTo>
                <a:lnTo>
                  <a:pt x="512" y="54"/>
                </a:lnTo>
                <a:lnTo>
                  <a:pt x="518" y="54"/>
                </a:lnTo>
                <a:lnTo>
                  <a:pt x="520" y="58"/>
                </a:lnTo>
                <a:lnTo>
                  <a:pt x="518" y="58"/>
                </a:lnTo>
                <a:lnTo>
                  <a:pt x="518" y="61"/>
                </a:lnTo>
                <a:lnTo>
                  <a:pt x="523" y="65"/>
                </a:lnTo>
                <a:lnTo>
                  <a:pt x="523" y="67"/>
                </a:lnTo>
                <a:lnTo>
                  <a:pt x="525" y="69"/>
                </a:lnTo>
                <a:lnTo>
                  <a:pt x="527" y="67"/>
                </a:lnTo>
                <a:lnTo>
                  <a:pt x="529" y="67"/>
                </a:lnTo>
                <a:lnTo>
                  <a:pt x="533" y="71"/>
                </a:lnTo>
                <a:lnTo>
                  <a:pt x="538" y="71"/>
                </a:lnTo>
                <a:lnTo>
                  <a:pt x="540" y="71"/>
                </a:lnTo>
                <a:lnTo>
                  <a:pt x="540" y="76"/>
                </a:lnTo>
                <a:lnTo>
                  <a:pt x="538" y="78"/>
                </a:lnTo>
                <a:lnTo>
                  <a:pt x="538" y="82"/>
                </a:lnTo>
                <a:lnTo>
                  <a:pt x="538" y="84"/>
                </a:lnTo>
                <a:lnTo>
                  <a:pt x="540" y="87"/>
                </a:lnTo>
                <a:lnTo>
                  <a:pt x="542" y="89"/>
                </a:lnTo>
                <a:lnTo>
                  <a:pt x="544" y="93"/>
                </a:lnTo>
                <a:lnTo>
                  <a:pt x="542" y="95"/>
                </a:lnTo>
                <a:lnTo>
                  <a:pt x="542" y="97"/>
                </a:lnTo>
                <a:lnTo>
                  <a:pt x="542" y="102"/>
                </a:lnTo>
                <a:lnTo>
                  <a:pt x="546" y="104"/>
                </a:lnTo>
                <a:lnTo>
                  <a:pt x="546" y="112"/>
                </a:lnTo>
                <a:lnTo>
                  <a:pt x="551" y="115"/>
                </a:lnTo>
                <a:lnTo>
                  <a:pt x="551" y="117"/>
                </a:lnTo>
                <a:lnTo>
                  <a:pt x="553" y="117"/>
                </a:lnTo>
                <a:lnTo>
                  <a:pt x="555" y="119"/>
                </a:lnTo>
                <a:lnTo>
                  <a:pt x="557" y="119"/>
                </a:lnTo>
                <a:lnTo>
                  <a:pt x="557" y="125"/>
                </a:lnTo>
                <a:lnTo>
                  <a:pt x="555" y="128"/>
                </a:lnTo>
                <a:lnTo>
                  <a:pt x="557" y="130"/>
                </a:lnTo>
                <a:lnTo>
                  <a:pt x="561" y="136"/>
                </a:lnTo>
                <a:lnTo>
                  <a:pt x="559" y="140"/>
                </a:lnTo>
                <a:lnTo>
                  <a:pt x="559" y="143"/>
                </a:lnTo>
                <a:lnTo>
                  <a:pt x="559" y="145"/>
                </a:lnTo>
                <a:lnTo>
                  <a:pt x="557" y="145"/>
                </a:lnTo>
                <a:lnTo>
                  <a:pt x="557" y="147"/>
                </a:lnTo>
                <a:lnTo>
                  <a:pt x="559" y="149"/>
                </a:lnTo>
                <a:lnTo>
                  <a:pt x="559" y="153"/>
                </a:lnTo>
                <a:lnTo>
                  <a:pt x="559" y="158"/>
                </a:lnTo>
                <a:lnTo>
                  <a:pt x="559" y="160"/>
                </a:lnTo>
                <a:lnTo>
                  <a:pt x="561" y="162"/>
                </a:lnTo>
                <a:lnTo>
                  <a:pt x="568" y="160"/>
                </a:lnTo>
                <a:lnTo>
                  <a:pt x="568" y="162"/>
                </a:lnTo>
                <a:lnTo>
                  <a:pt x="564" y="164"/>
                </a:lnTo>
                <a:lnTo>
                  <a:pt x="568" y="164"/>
                </a:lnTo>
                <a:lnTo>
                  <a:pt x="570" y="166"/>
                </a:lnTo>
                <a:lnTo>
                  <a:pt x="572" y="166"/>
                </a:lnTo>
                <a:lnTo>
                  <a:pt x="570" y="175"/>
                </a:lnTo>
                <a:lnTo>
                  <a:pt x="570" y="179"/>
                </a:lnTo>
                <a:lnTo>
                  <a:pt x="574" y="181"/>
                </a:lnTo>
                <a:lnTo>
                  <a:pt x="574" y="184"/>
                </a:lnTo>
                <a:lnTo>
                  <a:pt x="572" y="181"/>
                </a:lnTo>
                <a:lnTo>
                  <a:pt x="572" y="190"/>
                </a:lnTo>
                <a:lnTo>
                  <a:pt x="572" y="192"/>
                </a:lnTo>
                <a:lnTo>
                  <a:pt x="577" y="194"/>
                </a:lnTo>
                <a:lnTo>
                  <a:pt x="574" y="194"/>
                </a:lnTo>
                <a:lnTo>
                  <a:pt x="577" y="199"/>
                </a:lnTo>
                <a:lnTo>
                  <a:pt x="574" y="203"/>
                </a:lnTo>
                <a:lnTo>
                  <a:pt x="577" y="207"/>
                </a:lnTo>
                <a:lnTo>
                  <a:pt x="577" y="210"/>
                </a:lnTo>
                <a:lnTo>
                  <a:pt x="577" y="214"/>
                </a:lnTo>
                <a:lnTo>
                  <a:pt x="577" y="218"/>
                </a:lnTo>
                <a:lnTo>
                  <a:pt x="577" y="223"/>
                </a:lnTo>
                <a:lnTo>
                  <a:pt x="577" y="225"/>
                </a:lnTo>
                <a:lnTo>
                  <a:pt x="577" y="229"/>
                </a:lnTo>
                <a:lnTo>
                  <a:pt x="574" y="235"/>
                </a:lnTo>
                <a:lnTo>
                  <a:pt x="583" y="244"/>
                </a:lnTo>
                <a:lnTo>
                  <a:pt x="585" y="246"/>
                </a:lnTo>
                <a:lnTo>
                  <a:pt x="583" y="248"/>
                </a:lnTo>
                <a:lnTo>
                  <a:pt x="583" y="255"/>
                </a:lnTo>
                <a:lnTo>
                  <a:pt x="585" y="255"/>
                </a:lnTo>
                <a:lnTo>
                  <a:pt x="590" y="255"/>
                </a:lnTo>
                <a:lnTo>
                  <a:pt x="590" y="251"/>
                </a:lnTo>
                <a:lnTo>
                  <a:pt x="590" y="255"/>
                </a:lnTo>
                <a:lnTo>
                  <a:pt x="590" y="257"/>
                </a:lnTo>
                <a:lnTo>
                  <a:pt x="587" y="259"/>
                </a:lnTo>
                <a:lnTo>
                  <a:pt x="592" y="266"/>
                </a:lnTo>
                <a:lnTo>
                  <a:pt x="592" y="272"/>
                </a:lnTo>
                <a:lnTo>
                  <a:pt x="594" y="272"/>
                </a:lnTo>
                <a:lnTo>
                  <a:pt x="594" y="274"/>
                </a:lnTo>
                <a:lnTo>
                  <a:pt x="592" y="274"/>
                </a:lnTo>
                <a:lnTo>
                  <a:pt x="592" y="276"/>
                </a:lnTo>
                <a:lnTo>
                  <a:pt x="594" y="276"/>
                </a:lnTo>
                <a:lnTo>
                  <a:pt x="600" y="279"/>
                </a:lnTo>
                <a:lnTo>
                  <a:pt x="605" y="283"/>
                </a:lnTo>
                <a:lnTo>
                  <a:pt x="605" y="289"/>
                </a:lnTo>
                <a:lnTo>
                  <a:pt x="607" y="292"/>
                </a:lnTo>
                <a:lnTo>
                  <a:pt x="609" y="294"/>
                </a:lnTo>
                <a:lnTo>
                  <a:pt x="609" y="296"/>
                </a:lnTo>
                <a:lnTo>
                  <a:pt x="609" y="298"/>
                </a:lnTo>
                <a:lnTo>
                  <a:pt x="611" y="300"/>
                </a:lnTo>
                <a:lnTo>
                  <a:pt x="615" y="300"/>
                </a:lnTo>
                <a:lnTo>
                  <a:pt x="618" y="305"/>
                </a:lnTo>
                <a:lnTo>
                  <a:pt x="615" y="305"/>
                </a:lnTo>
                <a:lnTo>
                  <a:pt x="583" y="305"/>
                </a:lnTo>
                <a:lnTo>
                  <a:pt x="568" y="305"/>
                </a:lnTo>
                <a:lnTo>
                  <a:pt x="551" y="305"/>
                </a:lnTo>
                <a:lnTo>
                  <a:pt x="536" y="305"/>
                </a:lnTo>
                <a:lnTo>
                  <a:pt x="510" y="305"/>
                </a:lnTo>
                <a:lnTo>
                  <a:pt x="503" y="305"/>
                </a:lnTo>
                <a:lnTo>
                  <a:pt x="471" y="305"/>
                </a:lnTo>
                <a:lnTo>
                  <a:pt x="438" y="305"/>
                </a:lnTo>
                <a:lnTo>
                  <a:pt x="428" y="305"/>
                </a:lnTo>
                <a:lnTo>
                  <a:pt x="406" y="300"/>
                </a:lnTo>
                <a:lnTo>
                  <a:pt x="389" y="300"/>
                </a:lnTo>
                <a:lnTo>
                  <a:pt x="374" y="300"/>
                </a:lnTo>
                <a:lnTo>
                  <a:pt x="348" y="300"/>
                </a:lnTo>
                <a:lnTo>
                  <a:pt x="341" y="300"/>
                </a:lnTo>
                <a:lnTo>
                  <a:pt x="309" y="298"/>
                </a:lnTo>
                <a:lnTo>
                  <a:pt x="268" y="298"/>
                </a:lnTo>
                <a:lnTo>
                  <a:pt x="268" y="296"/>
                </a:lnTo>
                <a:lnTo>
                  <a:pt x="229" y="296"/>
                </a:lnTo>
                <a:lnTo>
                  <a:pt x="186" y="294"/>
                </a:lnTo>
                <a:lnTo>
                  <a:pt x="181" y="294"/>
                </a:lnTo>
                <a:close/>
              </a:path>
            </a:pathLst>
          </a:custGeom>
          <a:noFill/>
          <a:ln w="9525">
            <a:noFill/>
            <a:round/>
            <a:headEnd/>
            <a:tailEnd/>
          </a:ln>
        </p:spPr>
        <p:txBody>
          <a:bodyPr/>
          <a:lstStyle/>
          <a:p>
            <a:endParaRPr lang="en-US" dirty="0">
              <a:solidFill>
                <a:prstClr val="black"/>
              </a:solidFill>
            </a:endParaRPr>
          </a:p>
        </p:txBody>
      </p:sp>
      <p:sp>
        <p:nvSpPr>
          <p:cNvPr id="207" name="Freeform 40">
            <a:extLst>
              <a:ext uri="{FF2B5EF4-FFF2-40B4-BE49-F238E27FC236}">
                <a16:creationId xmlns:a16="http://schemas.microsoft.com/office/drawing/2014/main" id="{943D19E0-ECBE-4D81-A5C2-065B7F8714D7}"/>
              </a:ext>
            </a:extLst>
          </p:cNvPr>
          <p:cNvSpPr>
            <a:spLocks/>
          </p:cNvSpPr>
          <p:nvPr>
            <p:custDataLst>
              <p:tags r:id="rId31"/>
            </p:custDataLst>
          </p:nvPr>
        </p:nvSpPr>
        <p:spPr bwMode="auto">
          <a:xfrm>
            <a:off x="4958709" y="3007104"/>
            <a:ext cx="1251632" cy="659319"/>
          </a:xfrm>
          <a:custGeom>
            <a:avLst/>
            <a:gdLst>
              <a:gd name="T0" fmla="*/ 2147483647 w 618"/>
              <a:gd name="T1" fmla="*/ 2147483647 h 305"/>
              <a:gd name="T2" fmla="*/ 2147483647 w 618"/>
              <a:gd name="T3" fmla="*/ 2147483647 h 305"/>
              <a:gd name="T4" fmla="*/ 2147483647 w 618"/>
              <a:gd name="T5" fmla="*/ 2147483647 h 305"/>
              <a:gd name="T6" fmla="*/ 0 w 618"/>
              <a:gd name="T7" fmla="*/ 2147483647 h 305"/>
              <a:gd name="T8" fmla="*/ 2147483647 w 618"/>
              <a:gd name="T9" fmla="*/ 2147483647 h 305"/>
              <a:gd name="T10" fmla="*/ 2147483647 w 618"/>
              <a:gd name="T11" fmla="*/ 0 h 305"/>
              <a:gd name="T12" fmla="*/ 2147483647 w 618"/>
              <a:gd name="T13" fmla="*/ 2147483647 h 305"/>
              <a:gd name="T14" fmla="*/ 2147483647 w 618"/>
              <a:gd name="T15" fmla="*/ 2147483647 h 305"/>
              <a:gd name="T16" fmla="*/ 2147483647 w 618"/>
              <a:gd name="T17" fmla="*/ 2147483647 h 305"/>
              <a:gd name="T18" fmla="*/ 2147483647 w 618"/>
              <a:gd name="T19" fmla="*/ 2147483647 h 305"/>
              <a:gd name="T20" fmla="*/ 2147483647 w 618"/>
              <a:gd name="T21" fmla="*/ 2147483647 h 305"/>
              <a:gd name="T22" fmla="*/ 2147483647 w 618"/>
              <a:gd name="T23" fmla="*/ 2147483647 h 305"/>
              <a:gd name="T24" fmla="*/ 2147483647 w 618"/>
              <a:gd name="T25" fmla="*/ 2147483647 h 305"/>
              <a:gd name="T26" fmla="*/ 2147483647 w 618"/>
              <a:gd name="T27" fmla="*/ 2147483647 h 305"/>
              <a:gd name="T28" fmla="*/ 2147483647 w 618"/>
              <a:gd name="T29" fmla="*/ 2147483647 h 305"/>
              <a:gd name="T30" fmla="*/ 2147483647 w 618"/>
              <a:gd name="T31" fmla="*/ 2147483647 h 305"/>
              <a:gd name="T32" fmla="*/ 2147483647 w 618"/>
              <a:gd name="T33" fmla="*/ 2147483647 h 305"/>
              <a:gd name="T34" fmla="*/ 2147483647 w 618"/>
              <a:gd name="T35" fmla="*/ 2147483647 h 305"/>
              <a:gd name="T36" fmla="*/ 2147483647 w 618"/>
              <a:gd name="T37" fmla="*/ 2147483647 h 305"/>
              <a:gd name="T38" fmla="*/ 2147483647 w 618"/>
              <a:gd name="T39" fmla="*/ 2147483647 h 305"/>
              <a:gd name="T40" fmla="*/ 2147483647 w 618"/>
              <a:gd name="T41" fmla="*/ 2147483647 h 305"/>
              <a:gd name="T42" fmla="*/ 2147483647 w 618"/>
              <a:gd name="T43" fmla="*/ 2147483647 h 305"/>
              <a:gd name="T44" fmla="*/ 2147483647 w 618"/>
              <a:gd name="T45" fmla="*/ 2147483647 h 305"/>
              <a:gd name="T46" fmla="*/ 2147483647 w 618"/>
              <a:gd name="T47" fmla="*/ 2147483647 h 305"/>
              <a:gd name="T48" fmla="*/ 2147483647 w 618"/>
              <a:gd name="T49" fmla="*/ 2147483647 h 305"/>
              <a:gd name="T50" fmla="*/ 2147483647 w 618"/>
              <a:gd name="T51" fmla="*/ 2147483647 h 305"/>
              <a:gd name="T52" fmla="*/ 2147483647 w 618"/>
              <a:gd name="T53" fmla="*/ 2147483647 h 305"/>
              <a:gd name="T54" fmla="*/ 2147483647 w 618"/>
              <a:gd name="T55" fmla="*/ 2147483647 h 305"/>
              <a:gd name="T56" fmla="*/ 2147483647 w 618"/>
              <a:gd name="T57" fmla="*/ 2147483647 h 305"/>
              <a:gd name="T58" fmla="*/ 2147483647 w 618"/>
              <a:gd name="T59" fmla="*/ 2147483647 h 305"/>
              <a:gd name="T60" fmla="*/ 2147483647 w 618"/>
              <a:gd name="T61" fmla="*/ 2147483647 h 305"/>
              <a:gd name="T62" fmla="*/ 2147483647 w 618"/>
              <a:gd name="T63" fmla="*/ 2147483647 h 305"/>
              <a:gd name="T64" fmla="*/ 2147483647 w 618"/>
              <a:gd name="T65" fmla="*/ 2147483647 h 305"/>
              <a:gd name="T66" fmla="*/ 2147483647 w 618"/>
              <a:gd name="T67" fmla="*/ 2147483647 h 305"/>
              <a:gd name="T68" fmla="*/ 2147483647 w 618"/>
              <a:gd name="T69" fmla="*/ 2147483647 h 305"/>
              <a:gd name="T70" fmla="*/ 2147483647 w 618"/>
              <a:gd name="T71" fmla="*/ 2147483647 h 305"/>
              <a:gd name="T72" fmla="*/ 2147483647 w 618"/>
              <a:gd name="T73" fmla="*/ 2147483647 h 305"/>
              <a:gd name="T74" fmla="*/ 2147483647 w 618"/>
              <a:gd name="T75" fmla="*/ 2147483647 h 305"/>
              <a:gd name="T76" fmla="*/ 2147483647 w 618"/>
              <a:gd name="T77" fmla="*/ 2147483647 h 305"/>
              <a:gd name="T78" fmla="*/ 2147483647 w 618"/>
              <a:gd name="T79" fmla="*/ 2147483647 h 305"/>
              <a:gd name="T80" fmla="*/ 2147483647 w 618"/>
              <a:gd name="T81" fmla="*/ 2147483647 h 305"/>
              <a:gd name="T82" fmla="*/ 2147483647 w 618"/>
              <a:gd name="T83" fmla="*/ 2147483647 h 305"/>
              <a:gd name="T84" fmla="*/ 2147483647 w 618"/>
              <a:gd name="T85" fmla="*/ 2147483647 h 305"/>
              <a:gd name="T86" fmla="*/ 2147483647 w 618"/>
              <a:gd name="T87" fmla="*/ 2147483647 h 305"/>
              <a:gd name="T88" fmla="*/ 2147483647 w 618"/>
              <a:gd name="T89" fmla="*/ 2147483647 h 305"/>
              <a:gd name="T90" fmla="*/ 2147483647 w 618"/>
              <a:gd name="T91" fmla="*/ 2147483647 h 305"/>
              <a:gd name="T92" fmla="*/ 2147483647 w 618"/>
              <a:gd name="T93" fmla="*/ 2147483647 h 305"/>
              <a:gd name="T94" fmla="*/ 2147483647 w 618"/>
              <a:gd name="T95" fmla="*/ 2147483647 h 305"/>
              <a:gd name="T96" fmla="*/ 2147483647 w 618"/>
              <a:gd name="T97" fmla="*/ 2147483647 h 305"/>
              <a:gd name="T98" fmla="*/ 2147483647 w 618"/>
              <a:gd name="T99" fmla="*/ 2147483647 h 305"/>
              <a:gd name="T100" fmla="*/ 2147483647 w 618"/>
              <a:gd name="T101" fmla="*/ 2147483647 h 305"/>
              <a:gd name="T102" fmla="*/ 2147483647 w 618"/>
              <a:gd name="T103" fmla="*/ 2147483647 h 305"/>
              <a:gd name="T104" fmla="*/ 2147483647 w 618"/>
              <a:gd name="T105" fmla="*/ 2147483647 h 305"/>
              <a:gd name="T106" fmla="*/ 2147483647 w 618"/>
              <a:gd name="T107" fmla="*/ 2147483647 h 305"/>
              <a:gd name="T108" fmla="*/ 2147483647 w 618"/>
              <a:gd name="T109" fmla="*/ 2147483647 h 305"/>
              <a:gd name="T110" fmla="*/ 2147483647 w 618"/>
              <a:gd name="T111" fmla="*/ 2147483647 h 305"/>
              <a:gd name="T112" fmla="*/ 2147483647 w 618"/>
              <a:gd name="T113" fmla="*/ 2147483647 h 305"/>
              <a:gd name="T114" fmla="*/ 2147483647 w 618"/>
              <a:gd name="T115" fmla="*/ 2147483647 h 305"/>
              <a:gd name="T116" fmla="*/ 2147483647 w 618"/>
              <a:gd name="T117" fmla="*/ 2147483647 h 305"/>
              <a:gd name="T118" fmla="*/ 2147483647 w 618"/>
              <a:gd name="T119" fmla="*/ 2147483647 h 3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18"/>
              <a:gd name="T181" fmla="*/ 0 h 305"/>
              <a:gd name="T182" fmla="*/ 618 w 618"/>
              <a:gd name="T183" fmla="*/ 305 h 3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18" h="305">
                <a:moveTo>
                  <a:pt x="181" y="294"/>
                </a:moveTo>
                <a:lnTo>
                  <a:pt x="134" y="292"/>
                </a:lnTo>
                <a:lnTo>
                  <a:pt x="136" y="259"/>
                </a:lnTo>
                <a:lnTo>
                  <a:pt x="140" y="248"/>
                </a:lnTo>
                <a:lnTo>
                  <a:pt x="140" y="225"/>
                </a:lnTo>
                <a:lnTo>
                  <a:pt x="140" y="223"/>
                </a:lnTo>
                <a:lnTo>
                  <a:pt x="143" y="197"/>
                </a:lnTo>
                <a:lnTo>
                  <a:pt x="102" y="194"/>
                </a:lnTo>
                <a:lnTo>
                  <a:pt x="99" y="194"/>
                </a:lnTo>
                <a:lnTo>
                  <a:pt x="48" y="190"/>
                </a:lnTo>
                <a:lnTo>
                  <a:pt x="35" y="190"/>
                </a:lnTo>
                <a:lnTo>
                  <a:pt x="0" y="186"/>
                </a:lnTo>
                <a:lnTo>
                  <a:pt x="4" y="149"/>
                </a:lnTo>
                <a:lnTo>
                  <a:pt x="4" y="134"/>
                </a:lnTo>
                <a:lnTo>
                  <a:pt x="7" y="121"/>
                </a:lnTo>
                <a:lnTo>
                  <a:pt x="11" y="93"/>
                </a:lnTo>
                <a:lnTo>
                  <a:pt x="15" y="35"/>
                </a:lnTo>
                <a:lnTo>
                  <a:pt x="17" y="0"/>
                </a:lnTo>
                <a:lnTo>
                  <a:pt x="54" y="2"/>
                </a:lnTo>
                <a:lnTo>
                  <a:pt x="89" y="4"/>
                </a:lnTo>
                <a:lnTo>
                  <a:pt x="102" y="7"/>
                </a:lnTo>
                <a:lnTo>
                  <a:pt x="151" y="11"/>
                </a:lnTo>
                <a:lnTo>
                  <a:pt x="210" y="15"/>
                </a:lnTo>
                <a:lnTo>
                  <a:pt x="279" y="17"/>
                </a:lnTo>
                <a:lnTo>
                  <a:pt x="326" y="20"/>
                </a:lnTo>
                <a:lnTo>
                  <a:pt x="343" y="20"/>
                </a:lnTo>
                <a:lnTo>
                  <a:pt x="395" y="22"/>
                </a:lnTo>
                <a:lnTo>
                  <a:pt x="397" y="28"/>
                </a:lnTo>
                <a:lnTo>
                  <a:pt x="404" y="30"/>
                </a:lnTo>
                <a:lnTo>
                  <a:pt x="408" y="33"/>
                </a:lnTo>
                <a:lnTo>
                  <a:pt x="419" y="37"/>
                </a:lnTo>
                <a:lnTo>
                  <a:pt x="421" y="37"/>
                </a:lnTo>
                <a:lnTo>
                  <a:pt x="421" y="39"/>
                </a:lnTo>
                <a:lnTo>
                  <a:pt x="428" y="43"/>
                </a:lnTo>
                <a:lnTo>
                  <a:pt x="430" y="45"/>
                </a:lnTo>
                <a:lnTo>
                  <a:pt x="432" y="43"/>
                </a:lnTo>
                <a:lnTo>
                  <a:pt x="436" y="43"/>
                </a:lnTo>
                <a:lnTo>
                  <a:pt x="438" y="37"/>
                </a:lnTo>
                <a:lnTo>
                  <a:pt x="438" y="35"/>
                </a:lnTo>
                <a:lnTo>
                  <a:pt x="443" y="35"/>
                </a:lnTo>
                <a:lnTo>
                  <a:pt x="443" y="37"/>
                </a:lnTo>
                <a:lnTo>
                  <a:pt x="445" y="37"/>
                </a:lnTo>
                <a:lnTo>
                  <a:pt x="447" y="35"/>
                </a:lnTo>
                <a:lnTo>
                  <a:pt x="451" y="37"/>
                </a:lnTo>
                <a:lnTo>
                  <a:pt x="456" y="35"/>
                </a:lnTo>
                <a:lnTo>
                  <a:pt x="460" y="37"/>
                </a:lnTo>
                <a:lnTo>
                  <a:pt x="462" y="35"/>
                </a:lnTo>
                <a:lnTo>
                  <a:pt x="464" y="35"/>
                </a:lnTo>
                <a:lnTo>
                  <a:pt x="469" y="37"/>
                </a:lnTo>
                <a:lnTo>
                  <a:pt x="473" y="35"/>
                </a:lnTo>
                <a:lnTo>
                  <a:pt x="477" y="35"/>
                </a:lnTo>
                <a:lnTo>
                  <a:pt x="479" y="37"/>
                </a:lnTo>
                <a:lnTo>
                  <a:pt x="482" y="37"/>
                </a:lnTo>
                <a:lnTo>
                  <a:pt x="482" y="39"/>
                </a:lnTo>
                <a:lnTo>
                  <a:pt x="488" y="43"/>
                </a:lnTo>
                <a:lnTo>
                  <a:pt x="490" y="45"/>
                </a:lnTo>
                <a:lnTo>
                  <a:pt x="497" y="45"/>
                </a:lnTo>
                <a:lnTo>
                  <a:pt x="501" y="45"/>
                </a:lnTo>
                <a:lnTo>
                  <a:pt x="501" y="48"/>
                </a:lnTo>
                <a:lnTo>
                  <a:pt x="501" y="50"/>
                </a:lnTo>
                <a:lnTo>
                  <a:pt x="505" y="48"/>
                </a:lnTo>
                <a:lnTo>
                  <a:pt x="510" y="50"/>
                </a:lnTo>
                <a:lnTo>
                  <a:pt x="510" y="52"/>
                </a:lnTo>
                <a:lnTo>
                  <a:pt x="512" y="54"/>
                </a:lnTo>
                <a:lnTo>
                  <a:pt x="518" y="54"/>
                </a:lnTo>
                <a:lnTo>
                  <a:pt x="520" y="58"/>
                </a:lnTo>
                <a:lnTo>
                  <a:pt x="518" y="58"/>
                </a:lnTo>
                <a:lnTo>
                  <a:pt x="518" y="61"/>
                </a:lnTo>
                <a:lnTo>
                  <a:pt x="523" y="65"/>
                </a:lnTo>
                <a:lnTo>
                  <a:pt x="523" y="67"/>
                </a:lnTo>
                <a:lnTo>
                  <a:pt x="525" y="69"/>
                </a:lnTo>
                <a:lnTo>
                  <a:pt x="527" y="67"/>
                </a:lnTo>
                <a:lnTo>
                  <a:pt x="529" y="67"/>
                </a:lnTo>
                <a:lnTo>
                  <a:pt x="533" y="71"/>
                </a:lnTo>
                <a:lnTo>
                  <a:pt x="538" y="71"/>
                </a:lnTo>
                <a:lnTo>
                  <a:pt x="540" y="71"/>
                </a:lnTo>
                <a:lnTo>
                  <a:pt x="540" y="76"/>
                </a:lnTo>
                <a:lnTo>
                  <a:pt x="538" y="78"/>
                </a:lnTo>
                <a:lnTo>
                  <a:pt x="538" y="82"/>
                </a:lnTo>
                <a:lnTo>
                  <a:pt x="538" y="84"/>
                </a:lnTo>
                <a:lnTo>
                  <a:pt x="540" y="87"/>
                </a:lnTo>
                <a:lnTo>
                  <a:pt x="542" y="89"/>
                </a:lnTo>
                <a:lnTo>
                  <a:pt x="544" y="93"/>
                </a:lnTo>
                <a:lnTo>
                  <a:pt x="542" y="95"/>
                </a:lnTo>
                <a:lnTo>
                  <a:pt x="542" y="97"/>
                </a:lnTo>
                <a:lnTo>
                  <a:pt x="542" y="102"/>
                </a:lnTo>
                <a:lnTo>
                  <a:pt x="546" y="104"/>
                </a:lnTo>
                <a:lnTo>
                  <a:pt x="546" y="112"/>
                </a:lnTo>
                <a:lnTo>
                  <a:pt x="551" y="115"/>
                </a:lnTo>
                <a:lnTo>
                  <a:pt x="551" y="117"/>
                </a:lnTo>
                <a:lnTo>
                  <a:pt x="553" y="117"/>
                </a:lnTo>
                <a:lnTo>
                  <a:pt x="555" y="119"/>
                </a:lnTo>
                <a:lnTo>
                  <a:pt x="557" y="119"/>
                </a:lnTo>
                <a:lnTo>
                  <a:pt x="557" y="125"/>
                </a:lnTo>
                <a:lnTo>
                  <a:pt x="555" y="128"/>
                </a:lnTo>
                <a:lnTo>
                  <a:pt x="557" y="130"/>
                </a:lnTo>
                <a:lnTo>
                  <a:pt x="561" y="136"/>
                </a:lnTo>
                <a:lnTo>
                  <a:pt x="559" y="140"/>
                </a:lnTo>
                <a:lnTo>
                  <a:pt x="559" y="143"/>
                </a:lnTo>
                <a:lnTo>
                  <a:pt x="559" y="145"/>
                </a:lnTo>
                <a:lnTo>
                  <a:pt x="557" y="145"/>
                </a:lnTo>
                <a:lnTo>
                  <a:pt x="557" y="147"/>
                </a:lnTo>
                <a:lnTo>
                  <a:pt x="559" y="149"/>
                </a:lnTo>
                <a:lnTo>
                  <a:pt x="559" y="153"/>
                </a:lnTo>
                <a:lnTo>
                  <a:pt x="559" y="158"/>
                </a:lnTo>
                <a:lnTo>
                  <a:pt x="559" y="160"/>
                </a:lnTo>
                <a:lnTo>
                  <a:pt x="561" y="162"/>
                </a:lnTo>
                <a:lnTo>
                  <a:pt x="568" y="160"/>
                </a:lnTo>
                <a:lnTo>
                  <a:pt x="568" y="162"/>
                </a:lnTo>
                <a:lnTo>
                  <a:pt x="564" y="164"/>
                </a:lnTo>
                <a:lnTo>
                  <a:pt x="568" y="164"/>
                </a:lnTo>
                <a:lnTo>
                  <a:pt x="570" y="166"/>
                </a:lnTo>
                <a:lnTo>
                  <a:pt x="572" y="166"/>
                </a:lnTo>
                <a:lnTo>
                  <a:pt x="570" y="175"/>
                </a:lnTo>
                <a:lnTo>
                  <a:pt x="570" y="179"/>
                </a:lnTo>
                <a:lnTo>
                  <a:pt x="574" y="181"/>
                </a:lnTo>
                <a:lnTo>
                  <a:pt x="574" y="184"/>
                </a:lnTo>
                <a:lnTo>
                  <a:pt x="572" y="181"/>
                </a:lnTo>
                <a:lnTo>
                  <a:pt x="572" y="190"/>
                </a:lnTo>
                <a:lnTo>
                  <a:pt x="572" y="192"/>
                </a:lnTo>
                <a:lnTo>
                  <a:pt x="577" y="194"/>
                </a:lnTo>
                <a:lnTo>
                  <a:pt x="574" y="194"/>
                </a:lnTo>
                <a:lnTo>
                  <a:pt x="577" y="199"/>
                </a:lnTo>
                <a:lnTo>
                  <a:pt x="574" y="203"/>
                </a:lnTo>
                <a:lnTo>
                  <a:pt x="577" y="207"/>
                </a:lnTo>
                <a:lnTo>
                  <a:pt x="577" y="210"/>
                </a:lnTo>
                <a:lnTo>
                  <a:pt x="577" y="214"/>
                </a:lnTo>
                <a:lnTo>
                  <a:pt x="577" y="218"/>
                </a:lnTo>
                <a:lnTo>
                  <a:pt x="577" y="223"/>
                </a:lnTo>
                <a:lnTo>
                  <a:pt x="577" y="225"/>
                </a:lnTo>
                <a:lnTo>
                  <a:pt x="577" y="229"/>
                </a:lnTo>
                <a:lnTo>
                  <a:pt x="574" y="235"/>
                </a:lnTo>
                <a:lnTo>
                  <a:pt x="583" y="244"/>
                </a:lnTo>
                <a:lnTo>
                  <a:pt x="585" y="246"/>
                </a:lnTo>
                <a:lnTo>
                  <a:pt x="583" y="248"/>
                </a:lnTo>
                <a:lnTo>
                  <a:pt x="583" y="255"/>
                </a:lnTo>
                <a:lnTo>
                  <a:pt x="585" y="255"/>
                </a:lnTo>
                <a:lnTo>
                  <a:pt x="590" y="255"/>
                </a:lnTo>
                <a:lnTo>
                  <a:pt x="590" y="251"/>
                </a:lnTo>
                <a:lnTo>
                  <a:pt x="590" y="255"/>
                </a:lnTo>
                <a:lnTo>
                  <a:pt x="590" y="257"/>
                </a:lnTo>
                <a:lnTo>
                  <a:pt x="587" y="259"/>
                </a:lnTo>
                <a:lnTo>
                  <a:pt x="592" y="266"/>
                </a:lnTo>
                <a:lnTo>
                  <a:pt x="592" y="272"/>
                </a:lnTo>
                <a:lnTo>
                  <a:pt x="594" y="272"/>
                </a:lnTo>
                <a:lnTo>
                  <a:pt x="594" y="274"/>
                </a:lnTo>
                <a:lnTo>
                  <a:pt x="592" y="274"/>
                </a:lnTo>
                <a:lnTo>
                  <a:pt x="592" y="276"/>
                </a:lnTo>
                <a:lnTo>
                  <a:pt x="594" y="276"/>
                </a:lnTo>
                <a:lnTo>
                  <a:pt x="600" y="279"/>
                </a:lnTo>
                <a:lnTo>
                  <a:pt x="605" y="283"/>
                </a:lnTo>
                <a:lnTo>
                  <a:pt x="605" y="289"/>
                </a:lnTo>
                <a:lnTo>
                  <a:pt x="607" y="292"/>
                </a:lnTo>
                <a:lnTo>
                  <a:pt x="609" y="294"/>
                </a:lnTo>
                <a:lnTo>
                  <a:pt x="609" y="296"/>
                </a:lnTo>
                <a:lnTo>
                  <a:pt x="609" y="298"/>
                </a:lnTo>
                <a:lnTo>
                  <a:pt x="611" y="300"/>
                </a:lnTo>
                <a:lnTo>
                  <a:pt x="615" y="300"/>
                </a:lnTo>
                <a:lnTo>
                  <a:pt x="618" y="305"/>
                </a:lnTo>
                <a:lnTo>
                  <a:pt x="615" y="305"/>
                </a:lnTo>
                <a:lnTo>
                  <a:pt x="583" y="305"/>
                </a:lnTo>
                <a:lnTo>
                  <a:pt x="568" y="305"/>
                </a:lnTo>
                <a:lnTo>
                  <a:pt x="551" y="305"/>
                </a:lnTo>
                <a:lnTo>
                  <a:pt x="536" y="305"/>
                </a:lnTo>
                <a:lnTo>
                  <a:pt x="510" y="305"/>
                </a:lnTo>
                <a:lnTo>
                  <a:pt x="503" y="305"/>
                </a:lnTo>
                <a:lnTo>
                  <a:pt x="471" y="305"/>
                </a:lnTo>
                <a:lnTo>
                  <a:pt x="438" y="305"/>
                </a:lnTo>
                <a:lnTo>
                  <a:pt x="428" y="305"/>
                </a:lnTo>
                <a:lnTo>
                  <a:pt x="406" y="300"/>
                </a:lnTo>
                <a:lnTo>
                  <a:pt x="389" y="300"/>
                </a:lnTo>
                <a:lnTo>
                  <a:pt x="374" y="300"/>
                </a:lnTo>
                <a:lnTo>
                  <a:pt x="348" y="300"/>
                </a:lnTo>
                <a:lnTo>
                  <a:pt x="341" y="300"/>
                </a:lnTo>
                <a:lnTo>
                  <a:pt x="309" y="298"/>
                </a:lnTo>
                <a:lnTo>
                  <a:pt x="268" y="298"/>
                </a:lnTo>
                <a:lnTo>
                  <a:pt x="268" y="296"/>
                </a:lnTo>
                <a:lnTo>
                  <a:pt x="229" y="296"/>
                </a:lnTo>
                <a:lnTo>
                  <a:pt x="186" y="294"/>
                </a:lnTo>
                <a:lnTo>
                  <a:pt x="181" y="294"/>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08" name="Freeform 41">
            <a:extLst>
              <a:ext uri="{FF2B5EF4-FFF2-40B4-BE49-F238E27FC236}">
                <a16:creationId xmlns:a16="http://schemas.microsoft.com/office/drawing/2014/main" id="{EF488313-8AAB-4651-B0CD-E6EEB7A8B907}"/>
              </a:ext>
            </a:extLst>
          </p:cNvPr>
          <p:cNvSpPr>
            <a:spLocks noEditPoints="1"/>
          </p:cNvSpPr>
          <p:nvPr>
            <p:custDataLst>
              <p:tags r:id="rId32"/>
            </p:custDataLst>
          </p:nvPr>
        </p:nvSpPr>
        <p:spPr bwMode="auto">
          <a:xfrm>
            <a:off x="8362893" y="2265649"/>
            <a:ext cx="1135457" cy="914401"/>
          </a:xfrm>
          <a:custGeom>
            <a:avLst/>
            <a:gdLst>
              <a:gd name="T0" fmla="*/ 2147483647 w 561"/>
              <a:gd name="T1" fmla="*/ 2147483647 h 423"/>
              <a:gd name="T2" fmla="*/ 2147483647 w 561"/>
              <a:gd name="T3" fmla="*/ 2147483647 h 423"/>
              <a:gd name="T4" fmla="*/ 2147483647 w 561"/>
              <a:gd name="T5" fmla="*/ 2147483647 h 423"/>
              <a:gd name="T6" fmla="*/ 2147483647 w 561"/>
              <a:gd name="T7" fmla="*/ 2147483647 h 423"/>
              <a:gd name="T8" fmla="*/ 2147483647 w 561"/>
              <a:gd name="T9" fmla="*/ 2147483647 h 423"/>
              <a:gd name="T10" fmla="*/ 2147483647 w 561"/>
              <a:gd name="T11" fmla="*/ 2147483647 h 423"/>
              <a:gd name="T12" fmla="*/ 2147483647 w 561"/>
              <a:gd name="T13" fmla="*/ 2147483647 h 423"/>
              <a:gd name="T14" fmla="*/ 2147483647 w 561"/>
              <a:gd name="T15" fmla="*/ 2147483647 h 423"/>
              <a:gd name="T16" fmla="*/ 2147483647 w 561"/>
              <a:gd name="T17" fmla="*/ 2147483647 h 423"/>
              <a:gd name="T18" fmla="*/ 2147483647 w 561"/>
              <a:gd name="T19" fmla="*/ 2147483647 h 423"/>
              <a:gd name="T20" fmla="*/ 2147483647 w 561"/>
              <a:gd name="T21" fmla="*/ 2147483647 h 423"/>
              <a:gd name="T22" fmla="*/ 2147483647 w 561"/>
              <a:gd name="T23" fmla="*/ 2147483647 h 423"/>
              <a:gd name="T24" fmla="*/ 2147483647 w 561"/>
              <a:gd name="T25" fmla="*/ 0 h 423"/>
              <a:gd name="T26" fmla="*/ 2147483647 w 561"/>
              <a:gd name="T27" fmla="*/ 2147483647 h 423"/>
              <a:gd name="T28" fmla="*/ 2147483647 w 561"/>
              <a:gd name="T29" fmla="*/ 2147483647 h 423"/>
              <a:gd name="T30" fmla="*/ 2147483647 w 561"/>
              <a:gd name="T31" fmla="*/ 2147483647 h 423"/>
              <a:gd name="T32" fmla="*/ 2147483647 w 561"/>
              <a:gd name="T33" fmla="*/ 2147483647 h 423"/>
              <a:gd name="T34" fmla="*/ 2147483647 w 561"/>
              <a:gd name="T35" fmla="*/ 2147483647 h 423"/>
              <a:gd name="T36" fmla="*/ 2147483647 w 561"/>
              <a:gd name="T37" fmla="*/ 2147483647 h 423"/>
              <a:gd name="T38" fmla="*/ 2147483647 w 561"/>
              <a:gd name="T39" fmla="*/ 2147483647 h 423"/>
              <a:gd name="T40" fmla="*/ 2147483647 w 561"/>
              <a:gd name="T41" fmla="*/ 2147483647 h 423"/>
              <a:gd name="T42" fmla="*/ 2147483647 w 561"/>
              <a:gd name="T43" fmla="*/ 2147483647 h 423"/>
              <a:gd name="T44" fmla="*/ 2147483647 w 561"/>
              <a:gd name="T45" fmla="*/ 2147483647 h 423"/>
              <a:gd name="T46" fmla="*/ 2147483647 w 561"/>
              <a:gd name="T47" fmla="*/ 2147483647 h 423"/>
              <a:gd name="T48" fmla="*/ 2147483647 w 561"/>
              <a:gd name="T49" fmla="*/ 2147483647 h 423"/>
              <a:gd name="T50" fmla="*/ 2147483647 w 561"/>
              <a:gd name="T51" fmla="*/ 2147483647 h 423"/>
              <a:gd name="T52" fmla="*/ 2147483647 w 561"/>
              <a:gd name="T53" fmla="*/ 2147483647 h 423"/>
              <a:gd name="T54" fmla="*/ 2147483647 w 561"/>
              <a:gd name="T55" fmla="*/ 2147483647 h 423"/>
              <a:gd name="T56" fmla="*/ 2147483647 w 561"/>
              <a:gd name="T57" fmla="*/ 2147483647 h 423"/>
              <a:gd name="T58" fmla="*/ 2147483647 w 561"/>
              <a:gd name="T59" fmla="*/ 2147483647 h 423"/>
              <a:gd name="T60" fmla="*/ 2147483647 w 561"/>
              <a:gd name="T61" fmla="*/ 2147483647 h 423"/>
              <a:gd name="T62" fmla="*/ 2147483647 w 561"/>
              <a:gd name="T63" fmla="*/ 2147483647 h 423"/>
              <a:gd name="T64" fmla="*/ 2147483647 w 561"/>
              <a:gd name="T65" fmla="*/ 2147483647 h 423"/>
              <a:gd name="T66" fmla="*/ 2147483647 w 561"/>
              <a:gd name="T67" fmla="*/ 2147483647 h 423"/>
              <a:gd name="T68" fmla="*/ 2147483647 w 561"/>
              <a:gd name="T69" fmla="*/ 2147483647 h 423"/>
              <a:gd name="T70" fmla="*/ 2147483647 w 561"/>
              <a:gd name="T71" fmla="*/ 2147483647 h 423"/>
              <a:gd name="T72" fmla="*/ 2147483647 w 561"/>
              <a:gd name="T73" fmla="*/ 2147483647 h 423"/>
              <a:gd name="T74" fmla="*/ 2147483647 w 561"/>
              <a:gd name="T75" fmla="*/ 2147483647 h 423"/>
              <a:gd name="T76" fmla="*/ 2147483647 w 561"/>
              <a:gd name="T77" fmla="*/ 2147483647 h 423"/>
              <a:gd name="T78" fmla="*/ 2147483647 w 561"/>
              <a:gd name="T79" fmla="*/ 2147483647 h 423"/>
              <a:gd name="T80" fmla="*/ 2147483647 w 561"/>
              <a:gd name="T81" fmla="*/ 2147483647 h 423"/>
              <a:gd name="T82" fmla="*/ 2147483647 w 561"/>
              <a:gd name="T83" fmla="*/ 2147483647 h 423"/>
              <a:gd name="T84" fmla="*/ 2147483647 w 561"/>
              <a:gd name="T85" fmla="*/ 2147483647 h 423"/>
              <a:gd name="T86" fmla="*/ 2147483647 w 561"/>
              <a:gd name="T87" fmla="*/ 2147483647 h 423"/>
              <a:gd name="T88" fmla="*/ 2147483647 w 561"/>
              <a:gd name="T89" fmla="*/ 2147483647 h 423"/>
              <a:gd name="T90" fmla="*/ 2147483647 w 561"/>
              <a:gd name="T91" fmla="*/ 2147483647 h 423"/>
              <a:gd name="T92" fmla="*/ 2147483647 w 561"/>
              <a:gd name="T93" fmla="*/ 2147483647 h 423"/>
              <a:gd name="T94" fmla="*/ 2147483647 w 561"/>
              <a:gd name="T95" fmla="*/ 2147483647 h 423"/>
              <a:gd name="T96" fmla="*/ 2147483647 w 561"/>
              <a:gd name="T97" fmla="*/ 2147483647 h 423"/>
              <a:gd name="T98" fmla="*/ 2147483647 w 561"/>
              <a:gd name="T99" fmla="*/ 2147483647 h 423"/>
              <a:gd name="T100" fmla="*/ 2147483647 w 561"/>
              <a:gd name="T101" fmla="*/ 2147483647 h 423"/>
              <a:gd name="T102" fmla="*/ 2147483647 w 561"/>
              <a:gd name="T103" fmla="*/ 2147483647 h 423"/>
              <a:gd name="T104" fmla="*/ 2147483647 w 561"/>
              <a:gd name="T105" fmla="*/ 2147483647 h 423"/>
              <a:gd name="T106" fmla="*/ 2147483647 w 561"/>
              <a:gd name="T107" fmla="*/ 2147483647 h 423"/>
              <a:gd name="T108" fmla="*/ 2147483647 w 561"/>
              <a:gd name="T109" fmla="*/ 2147483647 h 423"/>
              <a:gd name="T110" fmla="*/ 2147483647 w 561"/>
              <a:gd name="T111" fmla="*/ 2147483647 h 423"/>
              <a:gd name="T112" fmla="*/ 2147483647 w 561"/>
              <a:gd name="T113" fmla="*/ 2147483647 h 423"/>
              <a:gd name="T114" fmla="*/ 2147483647 w 561"/>
              <a:gd name="T115" fmla="*/ 2147483647 h 423"/>
              <a:gd name="T116" fmla="*/ 2147483647 w 561"/>
              <a:gd name="T117" fmla="*/ 2147483647 h 423"/>
              <a:gd name="T118" fmla="*/ 2147483647 w 561"/>
              <a:gd name="T119" fmla="*/ 2147483647 h 423"/>
              <a:gd name="T120" fmla="*/ 2147483647 w 561"/>
              <a:gd name="T121" fmla="*/ 2147483647 h 423"/>
              <a:gd name="T122" fmla="*/ 2147483647 w 561"/>
              <a:gd name="T123" fmla="*/ 2147483647 h 423"/>
              <a:gd name="T124" fmla="*/ 2147483647 w 561"/>
              <a:gd name="T125" fmla="*/ 2147483647 h 42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1"/>
              <a:gd name="T190" fmla="*/ 0 h 423"/>
              <a:gd name="T191" fmla="*/ 561 w 561"/>
              <a:gd name="T192" fmla="*/ 423 h 42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1" h="423">
                <a:moveTo>
                  <a:pt x="0" y="339"/>
                </a:moveTo>
                <a:lnTo>
                  <a:pt x="19" y="322"/>
                </a:lnTo>
                <a:lnTo>
                  <a:pt x="24" y="313"/>
                </a:lnTo>
                <a:lnTo>
                  <a:pt x="37" y="304"/>
                </a:lnTo>
                <a:lnTo>
                  <a:pt x="41" y="291"/>
                </a:lnTo>
                <a:lnTo>
                  <a:pt x="52" y="278"/>
                </a:lnTo>
                <a:lnTo>
                  <a:pt x="43" y="263"/>
                </a:lnTo>
                <a:lnTo>
                  <a:pt x="48" y="259"/>
                </a:lnTo>
                <a:lnTo>
                  <a:pt x="43" y="257"/>
                </a:lnTo>
                <a:lnTo>
                  <a:pt x="35" y="255"/>
                </a:lnTo>
                <a:lnTo>
                  <a:pt x="35" y="248"/>
                </a:lnTo>
                <a:lnTo>
                  <a:pt x="32" y="240"/>
                </a:lnTo>
                <a:lnTo>
                  <a:pt x="69" y="222"/>
                </a:lnTo>
                <a:lnTo>
                  <a:pt x="102" y="216"/>
                </a:lnTo>
                <a:lnTo>
                  <a:pt x="119" y="216"/>
                </a:lnTo>
                <a:lnTo>
                  <a:pt x="132" y="222"/>
                </a:lnTo>
                <a:lnTo>
                  <a:pt x="145" y="216"/>
                </a:lnTo>
                <a:lnTo>
                  <a:pt x="173" y="209"/>
                </a:lnTo>
                <a:lnTo>
                  <a:pt x="186" y="201"/>
                </a:lnTo>
                <a:lnTo>
                  <a:pt x="186" y="203"/>
                </a:lnTo>
                <a:lnTo>
                  <a:pt x="190" y="194"/>
                </a:lnTo>
                <a:lnTo>
                  <a:pt x="201" y="183"/>
                </a:lnTo>
                <a:lnTo>
                  <a:pt x="216" y="175"/>
                </a:lnTo>
                <a:lnTo>
                  <a:pt x="216" y="166"/>
                </a:lnTo>
                <a:lnTo>
                  <a:pt x="214" y="162"/>
                </a:lnTo>
                <a:lnTo>
                  <a:pt x="209" y="149"/>
                </a:lnTo>
                <a:lnTo>
                  <a:pt x="212" y="142"/>
                </a:lnTo>
                <a:lnTo>
                  <a:pt x="214" y="140"/>
                </a:lnTo>
                <a:lnTo>
                  <a:pt x="212" y="132"/>
                </a:lnTo>
                <a:lnTo>
                  <a:pt x="205" y="127"/>
                </a:lnTo>
                <a:lnTo>
                  <a:pt x="201" y="132"/>
                </a:lnTo>
                <a:lnTo>
                  <a:pt x="197" y="127"/>
                </a:lnTo>
                <a:lnTo>
                  <a:pt x="222" y="93"/>
                </a:lnTo>
                <a:lnTo>
                  <a:pt x="227" y="80"/>
                </a:lnTo>
                <a:lnTo>
                  <a:pt x="248" y="47"/>
                </a:lnTo>
                <a:lnTo>
                  <a:pt x="268" y="30"/>
                </a:lnTo>
                <a:lnTo>
                  <a:pt x="283" y="22"/>
                </a:lnTo>
                <a:lnTo>
                  <a:pt x="330" y="13"/>
                </a:lnTo>
                <a:lnTo>
                  <a:pt x="374" y="0"/>
                </a:lnTo>
                <a:lnTo>
                  <a:pt x="374" y="2"/>
                </a:lnTo>
                <a:lnTo>
                  <a:pt x="376" y="4"/>
                </a:lnTo>
                <a:lnTo>
                  <a:pt x="376" y="15"/>
                </a:lnTo>
                <a:lnTo>
                  <a:pt x="376" y="17"/>
                </a:lnTo>
                <a:lnTo>
                  <a:pt x="378" y="17"/>
                </a:lnTo>
                <a:lnTo>
                  <a:pt x="378" y="26"/>
                </a:lnTo>
                <a:lnTo>
                  <a:pt x="380" y="30"/>
                </a:lnTo>
                <a:lnTo>
                  <a:pt x="378" y="32"/>
                </a:lnTo>
                <a:lnTo>
                  <a:pt x="380" y="32"/>
                </a:lnTo>
                <a:lnTo>
                  <a:pt x="380" y="34"/>
                </a:lnTo>
                <a:lnTo>
                  <a:pt x="380" y="39"/>
                </a:lnTo>
                <a:lnTo>
                  <a:pt x="382" y="39"/>
                </a:lnTo>
                <a:lnTo>
                  <a:pt x="382" y="43"/>
                </a:lnTo>
                <a:lnTo>
                  <a:pt x="391" y="50"/>
                </a:lnTo>
                <a:lnTo>
                  <a:pt x="391" y="52"/>
                </a:lnTo>
                <a:lnTo>
                  <a:pt x="387" y="58"/>
                </a:lnTo>
                <a:lnTo>
                  <a:pt x="393" y="67"/>
                </a:lnTo>
                <a:lnTo>
                  <a:pt x="387" y="71"/>
                </a:lnTo>
                <a:lnTo>
                  <a:pt x="391" y="75"/>
                </a:lnTo>
                <a:lnTo>
                  <a:pt x="387" y="80"/>
                </a:lnTo>
                <a:lnTo>
                  <a:pt x="387" y="82"/>
                </a:lnTo>
                <a:lnTo>
                  <a:pt x="387" y="86"/>
                </a:lnTo>
                <a:lnTo>
                  <a:pt x="391" y="91"/>
                </a:lnTo>
                <a:lnTo>
                  <a:pt x="391" y="93"/>
                </a:lnTo>
                <a:lnTo>
                  <a:pt x="393" y="99"/>
                </a:lnTo>
                <a:lnTo>
                  <a:pt x="395" y="101"/>
                </a:lnTo>
                <a:lnTo>
                  <a:pt x="397" y="110"/>
                </a:lnTo>
                <a:lnTo>
                  <a:pt x="400" y="112"/>
                </a:lnTo>
                <a:lnTo>
                  <a:pt x="400" y="116"/>
                </a:lnTo>
                <a:lnTo>
                  <a:pt x="397" y="125"/>
                </a:lnTo>
                <a:lnTo>
                  <a:pt x="400" y="129"/>
                </a:lnTo>
                <a:lnTo>
                  <a:pt x="402" y="132"/>
                </a:lnTo>
                <a:lnTo>
                  <a:pt x="402" y="127"/>
                </a:lnTo>
                <a:lnTo>
                  <a:pt x="408" y="125"/>
                </a:lnTo>
                <a:lnTo>
                  <a:pt x="408" y="127"/>
                </a:lnTo>
                <a:lnTo>
                  <a:pt x="408" y="129"/>
                </a:lnTo>
                <a:lnTo>
                  <a:pt x="410" y="129"/>
                </a:lnTo>
                <a:lnTo>
                  <a:pt x="412" y="134"/>
                </a:lnTo>
                <a:lnTo>
                  <a:pt x="417" y="151"/>
                </a:lnTo>
                <a:lnTo>
                  <a:pt x="423" y="186"/>
                </a:lnTo>
                <a:lnTo>
                  <a:pt x="425" y="196"/>
                </a:lnTo>
                <a:lnTo>
                  <a:pt x="425" y="199"/>
                </a:lnTo>
                <a:lnTo>
                  <a:pt x="428" y="203"/>
                </a:lnTo>
                <a:lnTo>
                  <a:pt x="430" y="203"/>
                </a:lnTo>
                <a:lnTo>
                  <a:pt x="428" y="227"/>
                </a:lnTo>
                <a:lnTo>
                  <a:pt x="428" y="268"/>
                </a:lnTo>
                <a:lnTo>
                  <a:pt x="430" y="272"/>
                </a:lnTo>
                <a:lnTo>
                  <a:pt x="434" y="306"/>
                </a:lnTo>
                <a:lnTo>
                  <a:pt x="436" y="317"/>
                </a:lnTo>
                <a:lnTo>
                  <a:pt x="441" y="332"/>
                </a:lnTo>
                <a:lnTo>
                  <a:pt x="443" y="341"/>
                </a:lnTo>
                <a:lnTo>
                  <a:pt x="447" y="345"/>
                </a:lnTo>
                <a:lnTo>
                  <a:pt x="434" y="360"/>
                </a:lnTo>
                <a:lnTo>
                  <a:pt x="441" y="369"/>
                </a:lnTo>
                <a:lnTo>
                  <a:pt x="434" y="380"/>
                </a:lnTo>
                <a:lnTo>
                  <a:pt x="434" y="386"/>
                </a:lnTo>
                <a:lnTo>
                  <a:pt x="428" y="391"/>
                </a:lnTo>
                <a:lnTo>
                  <a:pt x="423" y="401"/>
                </a:lnTo>
                <a:lnTo>
                  <a:pt x="423" y="397"/>
                </a:lnTo>
                <a:lnTo>
                  <a:pt x="423" y="393"/>
                </a:lnTo>
                <a:lnTo>
                  <a:pt x="425" y="382"/>
                </a:lnTo>
                <a:lnTo>
                  <a:pt x="425" y="380"/>
                </a:lnTo>
                <a:lnTo>
                  <a:pt x="425" y="376"/>
                </a:lnTo>
                <a:lnTo>
                  <a:pt x="425" y="373"/>
                </a:lnTo>
                <a:lnTo>
                  <a:pt x="400" y="365"/>
                </a:lnTo>
                <a:lnTo>
                  <a:pt x="397" y="365"/>
                </a:lnTo>
                <a:lnTo>
                  <a:pt x="387" y="363"/>
                </a:lnTo>
                <a:lnTo>
                  <a:pt x="363" y="354"/>
                </a:lnTo>
                <a:lnTo>
                  <a:pt x="361" y="350"/>
                </a:lnTo>
                <a:lnTo>
                  <a:pt x="358" y="347"/>
                </a:lnTo>
                <a:lnTo>
                  <a:pt x="352" y="347"/>
                </a:lnTo>
                <a:lnTo>
                  <a:pt x="348" y="347"/>
                </a:lnTo>
                <a:lnTo>
                  <a:pt x="346" y="345"/>
                </a:lnTo>
                <a:lnTo>
                  <a:pt x="343" y="345"/>
                </a:lnTo>
                <a:lnTo>
                  <a:pt x="341" y="345"/>
                </a:lnTo>
                <a:lnTo>
                  <a:pt x="335" y="341"/>
                </a:lnTo>
                <a:lnTo>
                  <a:pt x="335" y="339"/>
                </a:lnTo>
                <a:lnTo>
                  <a:pt x="330" y="337"/>
                </a:lnTo>
                <a:lnTo>
                  <a:pt x="333" y="332"/>
                </a:lnTo>
                <a:lnTo>
                  <a:pt x="330" y="326"/>
                </a:lnTo>
                <a:lnTo>
                  <a:pt x="328" y="322"/>
                </a:lnTo>
                <a:lnTo>
                  <a:pt x="326" y="322"/>
                </a:lnTo>
                <a:lnTo>
                  <a:pt x="326" y="317"/>
                </a:lnTo>
                <a:lnTo>
                  <a:pt x="326" y="315"/>
                </a:lnTo>
                <a:lnTo>
                  <a:pt x="324" y="315"/>
                </a:lnTo>
                <a:lnTo>
                  <a:pt x="324" y="313"/>
                </a:lnTo>
                <a:lnTo>
                  <a:pt x="320" y="313"/>
                </a:lnTo>
                <a:lnTo>
                  <a:pt x="313" y="315"/>
                </a:lnTo>
                <a:lnTo>
                  <a:pt x="311" y="309"/>
                </a:lnTo>
                <a:lnTo>
                  <a:pt x="309" y="309"/>
                </a:lnTo>
                <a:lnTo>
                  <a:pt x="304" y="306"/>
                </a:lnTo>
                <a:lnTo>
                  <a:pt x="302" y="306"/>
                </a:lnTo>
                <a:lnTo>
                  <a:pt x="296" y="306"/>
                </a:lnTo>
                <a:lnTo>
                  <a:pt x="253" y="315"/>
                </a:lnTo>
                <a:lnTo>
                  <a:pt x="251" y="315"/>
                </a:lnTo>
                <a:lnTo>
                  <a:pt x="220" y="322"/>
                </a:lnTo>
                <a:lnTo>
                  <a:pt x="199" y="326"/>
                </a:lnTo>
                <a:lnTo>
                  <a:pt x="194" y="328"/>
                </a:lnTo>
                <a:lnTo>
                  <a:pt x="151" y="337"/>
                </a:lnTo>
                <a:lnTo>
                  <a:pt x="140" y="339"/>
                </a:lnTo>
                <a:lnTo>
                  <a:pt x="112" y="343"/>
                </a:lnTo>
                <a:lnTo>
                  <a:pt x="104" y="345"/>
                </a:lnTo>
                <a:lnTo>
                  <a:pt x="63" y="354"/>
                </a:lnTo>
                <a:lnTo>
                  <a:pt x="52" y="356"/>
                </a:lnTo>
                <a:lnTo>
                  <a:pt x="15" y="360"/>
                </a:lnTo>
                <a:lnTo>
                  <a:pt x="4" y="363"/>
                </a:lnTo>
                <a:lnTo>
                  <a:pt x="0" y="339"/>
                </a:lnTo>
                <a:close/>
                <a:moveTo>
                  <a:pt x="443" y="408"/>
                </a:moveTo>
                <a:lnTo>
                  <a:pt x="432" y="412"/>
                </a:lnTo>
                <a:lnTo>
                  <a:pt x="443" y="406"/>
                </a:lnTo>
                <a:lnTo>
                  <a:pt x="443" y="404"/>
                </a:lnTo>
                <a:lnTo>
                  <a:pt x="434" y="404"/>
                </a:lnTo>
                <a:lnTo>
                  <a:pt x="430" y="406"/>
                </a:lnTo>
                <a:lnTo>
                  <a:pt x="434" y="410"/>
                </a:lnTo>
                <a:lnTo>
                  <a:pt x="425" y="412"/>
                </a:lnTo>
                <a:lnTo>
                  <a:pt x="423" y="408"/>
                </a:lnTo>
                <a:lnTo>
                  <a:pt x="425" y="397"/>
                </a:lnTo>
                <a:lnTo>
                  <a:pt x="428" y="391"/>
                </a:lnTo>
                <a:lnTo>
                  <a:pt x="441" y="391"/>
                </a:lnTo>
                <a:lnTo>
                  <a:pt x="436" y="382"/>
                </a:lnTo>
                <a:lnTo>
                  <a:pt x="447" y="376"/>
                </a:lnTo>
                <a:lnTo>
                  <a:pt x="456" y="376"/>
                </a:lnTo>
                <a:lnTo>
                  <a:pt x="458" y="373"/>
                </a:lnTo>
                <a:lnTo>
                  <a:pt x="473" y="371"/>
                </a:lnTo>
                <a:lnTo>
                  <a:pt x="477" y="365"/>
                </a:lnTo>
                <a:lnTo>
                  <a:pt x="484" y="360"/>
                </a:lnTo>
                <a:lnTo>
                  <a:pt x="512" y="354"/>
                </a:lnTo>
                <a:lnTo>
                  <a:pt x="529" y="332"/>
                </a:lnTo>
                <a:lnTo>
                  <a:pt x="531" y="332"/>
                </a:lnTo>
                <a:lnTo>
                  <a:pt x="527" y="337"/>
                </a:lnTo>
                <a:lnTo>
                  <a:pt x="525" y="345"/>
                </a:lnTo>
                <a:lnTo>
                  <a:pt x="516" y="354"/>
                </a:lnTo>
                <a:lnTo>
                  <a:pt x="514" y="360"/>
                </a:lnTo>
                <a:lnTo>
                  <a:pt x="523" y="356"/>
                </a:lnTo>
                <a:lnTo>
                  <a:pt x="533" y="343"/>
                </a:lnTo>
                <a:lnTo>
                  <a:pt x="540" y="341"/>
                </a:lnTo>
                <a:lnTo>
                  <a:pt x="548" y="341"/>
                </a:lnTo>
                <a:lnTo>
                  <a:pt x="557" y="330"/>
                </a:lnTo>
                <a:lnTo>
                  <a:pt x="561" y="330"/>
                </a:lnTo>
                <a:lnTo>
                  <a:pt x="559" y="337"/>
                </a:lnTo>
                <a:lnTo>
                  <a:pt x="523" y="365"/>
                </a:lnTo>
                <a:lnTo>
                  <a:pt x="464" y="395"/>
                </a:lnTo>
                <a:lnTo>
                  <a:pt x="443" y="408"/>
                </a:lnTo>
                <a:close/>
                <a:moveTo>
                  <a:pt x="412" y="423"/>
                </a:moveTo>
                <a:lnTo>
                  <a:pt x="410" y="421"/>
                </a:lnTo>
                <a:lnTo>
                  <a:pt x="415" y="410"/>
                </a:lnTo>
                <a:lnTo>
                  <a:pt x="419" y="408"/>
                </a:lnTo>
                <a:lnTo>
                  <a:pt x="423" y="410"/>
                </a:lnTo>
                <a:lnTo>
                  <a:pt x="417" y="419"/>
                </a:lnTo>
                <a:lnTo>
                  <a:pt x="415" y="423"/>
                </a:lnTo>
                <a:lnTo>
                  <a:pt x="412" y="423"/>
                </a:lnTo>
                <a:close/>
              </a:path>
            </a:pathLst>
          </a:custGeom>
          <a:noFill/>
          <a:ln w="9525">
            <a:noFill/>
            <a:round/>
            <a:headEnd/>
            <a:tailEnd/>
          </a:ln>
        </p:spPr>
        <p:txBody>
          <a:bodyPr/>
          <a:lstStyle/>
          <a:p>
            <a:endParaRPr lang="en-US" dirty="0">
              <a:solidFill>
                <a:prstClr val="black"/>
              </a:solidFill>
            </a:endParaRPr>
          </a:p>
        </p:txBody>
      </p:sp>
      <p:sp>
        <p:nvSpPr>
          <p:cNvPr id="209" name="Freeform 42">
            <a:extLst>
              <a:ext uri="{FF2B5EF4-FFF2-40B4-BE49-F238E27FC236}">
                <a16:creationId xmlns:a16="http://schemas.microsoft.com/office/drawing/2014/main" id="{05E037A4-20C8-4B8D-9ED1-F8F776E23C7D}"/>
              </a:ext>
            </a:extLst>
          </p:cNvPr>
          <p:cNvSpPr>
            <a:spLocks/>
          </p:cNvSpPr>
          <p:nvPr>
            <p:custDataLst>
              <p:tags r:id="rId33"/>
            </p:custDataLst>
          </p:nvPr>
        </p:nvSpPr>
        <p:spPr bwMode="auto">
          <a:xfrm>
            <a:off x="8362884" y="2265627"/>
            <a:ext cx="903104" cy="866843"/>
          </a:xfrm>
          <a:custGeom>
            <a:avLst/>
            <a:gdLst>
              <a:gd name="T0" fmla="*/ 2147483647 w 447"/>
              <a:gd name="T1" fmla="*/ 2147483647 h 401"/>
              <a:gd name="T2" fmla="*/ 2147483647 w 447"/>
              <a:gd name="T3" fmla="*/ 2147483647 h 401"/>
              <a:gd name="T4" fmla="*/ 2147483647 w 447"/>
              <a:gd name="T5" fmla="*/ 2147483647 h 401"/>
              <a:gd name="T6" fmla="*/ 2147483647 w 447"/>
              <a:gd name="T7" fmla="*/ 2147483647 h 401"/>
              <a:gd name="T8" fmla="*/ 2147483647 w 447"/>
              <a:gd name="T9" fmla="*/ 2147483647 h 401"/>
              <a:gd name="T10" fmla="*/ 2147483647 w 447"/>
              <a:gd name="T11" fmla="*/ 2147483647 h 401"/>
              <a:gd name="T12" fmla="*/ 2147483647 w 447"/>
              <a:gd name="T13" fmla="*/ 2147483647 h 401"/>
              <a:gd name="T14" fmla="*/ 2147483647 w 447"/>
              <a:gd name="T15" fmla="*/ 2147483647 h 401"/>
              <a:gd name="T16" fmla="*/ 2147483647 w 447"/>
              <a:gd name="T17" fmla="*/ 2147483647 h 401"/>
              <a:gd name="T18" fmla="*/ 2147483647 w 447"/>
              <a:gd name="T19" fmla="*/ 2147483647 h 401"/>
              <a:gd name="T20" fmla="*/ 2147483647 w 447"/>
              <a:gd name="T21" fmla="*/ 2147483647 h 401"/>
              <a:gd name="T22" fmla="*/ 2147483647 w 447"/>
              <a:gd name="T23" fmla="*/ 2147483647 h 401"/>
              <a:gd name="T24" fmla="*/ 2147483647 w 447"/>
              <a:gd name="T25" fmla="*/ 0 h 401"/>
              <a:gd name="T26" fmla="*/ 2147483647 w 447"/>
              <a:gd name="T27" fmla="*/ 2147483647 h 401"/>
              <a:gd name="T28" fmla="*/ 2147483647 w 447"/>
              <a:gd name="T29" fmla="*/ 2147483647 h 401"/>
              <a:gd name="T30" fmla="*/ 2147483647 w 447"/>
              <a:gd name="T31" fmla="*/ 2147483647 h 401"/>
              <a:gd name="T32" fmla="*/ 2147483647 w 447"/>
              <a:gd name="T33" fmla="*/ 2147483647 h 401"/>
              <a:gd name="T34" fmla="*/ 2147483647 w 447"/>
              <a:gd name="T35" fmla="*/ 2147483647 h 401"/>
              <a:gd name="T36" fmla="*/ 2147483647 w 447"/>
              <a:gd name="T37" fmla="*/ 2147483647 h 401"/>
              <a:gd name="T38" fmla="*/ 2147483647 w 447"/>
              <a:gd name="T39" fmla="*/ 2147483647 h 401"/>
              <a:gd name="T40" fmla="*/ 2147483647 w 447"/>
              <a:gd name="T41" fmla="*/ 2147483647 h 401"/>
              <a:gd name="T42" fmla="*/ 2147483647 w 447"/>
              <a:gd name="T43" fmla="*/ 2147483647 h 401"/>
              <a:gd name="T44" fmla="*/ 2147483647 w 447"/>
              <a:gd name="T45" fmla="*/ 2147483647 h 401"/>
              <a:gd name="T46" fmla="*/ 2147483647 w 447"/>
              <a:gd name="T47" fmla="*/ 2147483647 h 401"/>
              <a:gd name="T48" fmla="*/ 2147483647 w 447"/>
              <a:gd name="T49" fmla="*/ 2147483647 h 401"/>
              <a:gd name="T50" fmla="*/ 2147483647 w 447"/>
              <a:gd name="T51" fmla="*/ 2147483647 h 401"/>
              <a:gd name="T52" fmla="*/ 2147483647 w 447"/>
              <a:gd name="T53" fmla="*/ 2147483647 h 401"/>
              <a:gd name="T54" fmla="*/ 2147483647 w 447"/>
              <a:gd name="T55" fmla="*/ 2147483647 h 401"/>
              <a:gd name="T56" fmla="*/ 2147483647 w 447"/>
              <a:gd name="T57" fmla="*/ 2147483647 h 401"/>
              <a:gd name="T58" fmla="*/ 2147483647 w 447"/>
              <a:gd name="T59" fmla="*/ 2147483647 h 401"/>
              <a:gd name="T60" fmla="*/ 2147483647 w 447"/>
              <a:gd name="T61" fmla="*/ 2147483647 h 401"/>
              <a:gd name="T62" fmla="*/ 2147483647 w 447"/>
              <a:gd name="T63" fmla="*/ 2147483647 h 401"/>
              <a:gd name="T64" fmla="*/ 2147483647 w 447"/>
              <a:gd name="T65" fmla="*/ 2147483647 h 401"/>
              <a:gd name="T66" fmla="*/ 2147483647 w 447"/>
              <a:gd name="T67" fmla="*/ 2147483647 h 401"/>
              <a:gd name="T68" fmla="*/ 2147483647 w 447"/>
              <a:gd name="T69" fmla="*/ 2147483647 h 401"/>
              <a:gd name="T70" fmla="*/ 2147483647 w 447"/>
              <a:gd name="T71" fmla="*/ 2147483647 h 401"/>
              <a:gd name="T72" fmla="*/ 2147483647 w 447"/>
              <a:gd name="T73" fmla="*/ 2147483647 h 401"/>
              <a:gd name="T74" fmla="*/ 2147483647 w 447"/>
              <a:gd name="T75" fmla="*/ 2147483647 h 401"/>
              <a:gd name="T76" fmla="*/ 2147483647 w 447"/>
              <a:gd name="T77" fmla="*/ 2147483647 h 401"/>
              <a:gd name="T78" fmla="*/ 2147483647 w 447"/>
              <a:gd name="T79" fmla="*/ 2147483647 h 401"/>
              <a:gd name="T80" fmla="*/ 2147483647 w 447"/>
              <a:gd name="T81" fmla="*/ 2147483647 h 401"/>
              <a:gd name="T82" fmla="*/ 2147483647 w 447"/>
              <a:gd name="T83" fmla="*/ 2147483647 h 401"/>
              <a:gd name="T84" fmla="*/ 2147483647 w 447"/>
              <a:gd name="T85" fmla="*/ 2147483647 h 401"/>
              <a:gd name="T86" fmla="*/ 2147483647 w 447"/>
              <a:gd name="T87" fmla="*/ 2147483647 h 401"/>
              <a:gd name="T88" fmla="*/ 2147483647 w 447"/>
              <a:gd name="T89" fmla="*/ 2147483647 h 401"/>
              <a:gd name="T90" fmla="*/ 2147483647 w 447"/>
              <a:gd name="T91" fmla="*/ 2147483647 h 401"/>
              <a:gd name="T92" fmla="*/ 2147483647 w 447"/>
              <a:gd name="T93" fmla="*/ 2147483647 h 401"/>
              <a:gd name="T94" fmla="*/ 2147483647 w 447"/>
              <a:gd name="T95" fmla="*/ 2147483647 h 40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47"/>
              <a:gd name="T145" fmla="*/ 0 h 401"/>
              <a:gd name="T146" fmla="*/ 447 w 447"/>
              <a:gd name="T147" fmla="*/ 401 h 40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47" h="401">
                <a:moveTo>
                  <a:pt x="0" y="339"/>
                </a:moveTo>
                <a:lnTo>
                  <a:pt x="19" y="322"/>
                </a:lnTo>
                <a:lnTo>
                  <a:pt x="24" y="313"/>
                </a:lnTo>
                <a:lnTo>
                  <a:pt x="37" y="304"/>
                </a:lnTo>
                <a:lnTo>
                  <a:pt x="41" y="291"/>
                </a:lnTo>
                <a:lnTo>
                  <a:pt x="52" y="278"/>
                </a:lnTo>
                <a:lnTo>
                  <a:pt x="43" y="263"/>
                </a:lnTo>
                <a:lnTo>
                  <a:pt x="48" y="259"/>
                </a:lnTo>
                <a:lnTo>
                  <a:pt x="43" y="257"/>
                </a:lnTo>
                <a:lnTo>
                  <a:pt x="35" y="255"/>
                </a:lnTo>
                <a:lnTo>
                  <a:pt x="35" y="248"/>
                </a:lnTo>
                <a:lnTo>
                  <a:pt x="32" y="240"/>
                </a:lnTo>
                <a:lnTo>
                  <a:pt x="69" y="222"/>
                </a:lnTo>
                <a:lnTo>
                  <a:pt x="102" y="216"/>
                </a:lnTo>
                <a:lnTo>
                  <a:pt x="119" y="216"/>
                </a:lnTo>
                <a:lnTo>
                  <a:pt x="132" y="222"/>
                </a:lnTo>
                <a:lnTo>
                  <a:pt x="145" y="216"/>
                </a:lnTo>
                <a:lnTo>
                  <a:pt x="173" y="209"/>
                </a:lnTo>
                <a:lnTo>
                  <a:pt x="186" y="201"/>
                </a:lnTo>
                <a:lnTo>
                  <a:pt x="186" y="203"/>
                </a:lnTo>
                <a:lnTo>
                  <a:pt x="190" y="194"/>
                </a:lnTo>
                <a:lnTo>
                  <a:pt x="201" y="183"/>
                </a:lnTo>
                <a:lnTo>
                  <a:pt x="216" y="175"/>
                </a:lnTo>
                <a:lnTo>
                  <a:pt x="216" y="166"/>
                </a:lnTo>
                <a:lnTo>
                  <a:pt x="214" y="162"/>
                </a:lnTo>
                <a:lnTo>
                  <a:pt x="209" y="149"/>
                </a:lnTo>
                <a:lnTo>
                  <a:pt x="212" y="142"/>
                </a:lnTo>
                <a:lnTo>
                  <a:pt x="214" y="140"/>
                </a:lnTo>
                <a:lnTo>
                  <a:pt x="212" y="132"/>
                </a:lnTo>
                <a:lnTo>
                  <a:pt x="205" y="127"/>
                </a:lnTo>
                <a:lnTo>
                  <a:pt x="201" y="132"/>
                </a:lnTo>
                <a:lnTo>
                  <a:pt x="197" y="127"/>
                </a:lnTo>
                <a:lnTo>
                  <a:pt x="222" y="93"/>
                </a:lnTo>
                <a:lnTo>
                  <a:pt x="227" y="80"/>
                </a:lnTo>
                <a:lnTo>
                  <a:pt x="248" y="47"/>
                </a:lnTo>
                <a:lnTo>
                  <a:pt x="268" y="30"/>
                </a:lnTo>
                <a:lnTo>
                  <a:pt x="283" y="22"/>
                </a:lnTo>
                <a:lnTo>
                  <a:pt x="330" y="13"/>
                </a:lnTo>
                <a:lnTo>
                  <a:pt x="374" y="0"/>
                </a:lnTo>
                <a:lnTo>
                  <a:pt x="374" y="2"/>
                </a:lnTo>
                <a:lnTo>
                  <a:pt x="376" y="4"/>
                </a:lnTo>
                <a:lnTo>
                  <a:pt x="376" y="15"/>
                </a:lnTo>
                <a:lnTo>
                  <a:pt x="376" y="17"/>
                </a:lnTo>
                <a:lnTo>
                  <a:pt x="378" y="17"/>
                </a:lnTo>
                <a:lnTo>
                  <a:pt x="378" y="26"/>
                </a:lnTo>
                <a:lnTo>
                  <a:pt x="380" y="30"/>
                </a:lnTo>
                <a:lnTo>
                  <a:pt x="378" y="32"/>
                </a:lnTo>
                <a:lnTo>
                  <a:pt x="380" y="32"/>
                </a:lnTo>
                <a:lnTo>
                  <a:pt x="380" y="34"/>
                </a:lnTo>
                <a:lnTo>
                  <a:pt x="380" y="39"/>
                </a:lnTo>
                <a:lnTo>
                  <a:pt x="382" y="39"/>
                </a:lnTo>
                <a:lnTo>
                  <a:pt x="382" y="43"/>
                </a:lnTo>
                <a:lnTo>
                  <a:pt x="391" y="50"/>
                </a:lnTo>
                <a:lnTo>
                  <a:pt x="391" y="52"/>
                </a:lnTo>
                <a:lnTo>
                  <a:pt x="387" y="58"/>
                </a:lnTo>
                <a:lnTo>
                  <a:pt x="393" y="67"/>
                </a:lnTo>
                <a:lnTo>
                  <a:pt x="387" y="71"/>
                </a:lnTo>
                <a:lnTo>
                  <a:pt x="391" y="75"/>
                </a:lnTo>
                <a:lnTo>
                  <a:pt x="387" y="80"/>
                </a:lnTo>
                <a:lnTo>
                  <a:pt x="387" y="82"/>
                </a:lnTo>
                <a:lnTo>
                  <a:pt x="387" y="86"/>
                </a:lnTo>
                <a:lnTo>
                  <a:pt x="391" y="91"/>
                </a:lnTo>
                <a:lnTo>
                  <a:pt x="391" y="93"/>
                </a:lnTo>
                <a:lnTo>
                  <a:pt x="393" y="99"/>
                </a:lnTo>
                <a:lnTo>
                  <a:pt x="395" y="101"/>
                </a:lnTo>
                <a:lnTo>
                  <a:pt x="397" y="110"/>
                </a:lnTo>
                <a:lnTo>
                  <a:pt x="400" y="112"/>
                </a:lnTo>
                <a:lnTo>
                  <a:pt x="400" y="116"/>
                </a:lnTo>
                <a:lnTo>
                  <a:pt x="397" y="125"/>
                </a:lnTo>
                <a:lnTo>
                  <a:pt x="400" y="129"/>
                </a:lnTo>
                <a:lnTo>
                  <a:pt x="402" y="132"/>
                </a:lnTo>
                <a:lnTo>
                  <a:pt x="402" y="127"/>
                </a:lnTo>
                <a:lnTo>
                  <a:pt x="408" y="125"/>
                </a:lnTo>
                <a:lnTo>
                  <a:pt x="408" y="127"/>
                </a:lnTo>
                <a:lnTo>
                  <a:pt x="408" y="129"/>
                </a:lnTo>
                <a:lnTo>
                  <a:pt x="410" y="129"/>
                </a:lnTo>
                <a:lnTo>
                  <a:pt x="412" y="134"/>
                </a:lnTo>
                <a:lnTo>
                  <a:pt x="417" y="151"/>
                </a:lnTo>
                <a:lnTo>
                  <a:pt x="423" y="186"/>
                </a:lnTo>
                <a:lnTo>
                  <a:pt x="425" y="196"/>
                </a:lnTo>
                <a:lnTo>
                  <a:pt x="425" y="199"/>
                </a:lnTo>
                <a:lnTo>
                  <a:pt x="428" y="203"/>
                </a:lnTo>
                <a:lnTo>
                  <a:pt x="430" y="203"/>
                </a:lnTo>
                <a:lnTo>
                  <a:pt x="428" y="227"/>
                </a:lnTo>
                <a:lnTo>
                  <a:pt x="428" y="268"/>
                </a:lnTo>
                <a:lnTo>
                  <a:pt x="430" y="272"/>
                </a:lnTo>
                <a:lnTo>
                  <a:pt x="434" y="306"/>
                </a:lnTo>
                <a:lnTo>
                  <a:pt x="436" y="317"/>
                </a:lnTo>
                <a:lnTo>
                  <a:pt x="441" y="332"/>
                </a:lnTo>
                <a:lnTo>
                  <a:pt x="443" y="341"/>
                </a:lnTo>
                <a:lnTo>
                  <a:pt x="447" y="345"/>
                </a:lnTo>
                <a:lnTo>
                  <a:pt x="434" y="360"/>
                </a:lnTo>
                <a:lnTo>
                  <a:pt x="441" y="369"/>
                </a:lnTo>
                <a:lnTo>
                  <a:pt x="434" y="380"/>
                </a:lnTo>
                <a:lnTo>
                  <a:pt x="434" y="386"/>
                </a:lnTo>
                <a:lnTo>
                  <a:pt x="428" y="391"/>
                </a:lnTo>
                <a:lnTo>
                  <a:pt x="423" y="401"/>
                </a:lnTo>
                <a:lnTo>
                  <a:pt x="423" y="397"/>
                </a:lnTo>
                <a:lnTo>
                  <a:pt x="423" y="393"/>
                </a:lnTo>
                <a:lnTo>
                  <a:pt x="425" y="382"/>
                </a:lnTo>
                <a:lnTo>
                  <a:pt x="425" y="380"/>
                </a:lnTo>
                <a:lnTo>
                  <a:pt x="425" y="376"/>
                </a:lnTo>
                <a:lnTo>
                  <a:pt x="425" y="373"/>
                </a:lnTo>
                <a:lnTo>
                  <a:pt x="400" y="365"/>
                </a:lnTo>
                <a:lnTo>
                  <a:pt x="397" y="365"/>
                </a:lnTo>
                <a:lnTo>
                  <a:pt x="387" y="363"/>
                </a:lnTo>
                <a:lnTo>
                  <a:pt x="363" y="354"/>
                </a:lnTo>
                <a:lnTo>
                  <a:pt x="361" y="350"/>
                </a:lnTo>
                <a:lnTo>
                  <a:pt x="358" y="347"/>
                </a:lnTo>
                <a:lnTo>
                  <a:pt x="352" y="347"/>
                </a:lnTo>
                <a:lnTo>
                  <a:pt x="348" y="347"/>
                </a:lnTo>
                <a:lnTo>
                  <a:pt x="346" y="345"/>
                </a:lnTo>
                <a:lnTo>
                  <a:pt x="343" y="345"/>
                </a:lnTo>
                <a:lnTo>
                  <a:pt x="341" y="345"/>
                </a:lnTo>
                <a:lnTo>
                  <a:pt x="335" y="341"/>
                </a:lnTo>
                <a:lnTo>
                  <a:pt x="335" y="339"/>
                </a:lnTo>
                <a:lnTo>
                  <a:pt x="330" y="337"/>
                </a:lnTo>
                <a:lnTo>
                  <a:pt x="333" y="332"/>
                </a:lnTo>
                <a:lnTo>
                  <a:pt x="330" y="326"/>
                </a:lnTo>
                <a:lnTo>
                  <a:pt x="328" y="322"/>
                </a:lnTo>
                <a:lnTo>
                  <a:pt x="326" y="322"/>
                </a:lnTo>
                <a:lnTo>
                  <a:pt x="326" y="317"/>
                </a:lnTo>
                <a:lnTo>
                  <a:pt x="326" y="315"/>
                </a:lnTo>
                <a:lnTo>
                  <a:pt x="324" y="315"/>
                </a:lnTo>
                <a:lnTo>
                  <a:pt x="324" y="313"/>
                </a:lnTo>
                <a:lnTo>
                  <a:pt x="320" y="313"/>
                </a:lnTo>
                <a:lnTo>
                  <a:pt x="313" y="315"/>
                </a:lnTo>
                <a:lnTo>
                  <a:pt x="311" y="309"/>
                </a:lnTo>
                <a:lnTo>
                  <a:pt x="309" y="309"/>
                </a:lnTo>
                <a:lnTo>
                  <a:pt x="304" y="306"/>
                </a:lnTo>
                <a:lnTo>
                  <a:pt x="302" y="306"/>
                </a:lnTo>
                <a:lnTo>
                  <a:pt x="296" y="306"/>
                </a:lnTo>
                <a:lnTo>
                  <a:pt x="253" y="315"/>
                </a:lnTo>
                <a:lnTo>
                  <a:pt x="251" y="315"/>
                </a:lnTo>
                <a:lnTo>
                  <a:pt x="220" y="322"/>
                </a:lnTo>
                <a:lnTo>
                  <a:pt x="199" y="326"/>
                </a:lnTo>
                <a:lnTo>
                  <a:pt x="194" y="328"/>
                </a:lnTo>
                <a:lnTo>
                  <a:pt x="151" y="337"/>
                </a:lnTo>
                <a:lnTo>
                  <a:pt x="140" y="339"/>
                </a:lnTo>
                <a:lnTo>
                  <a:pt x="112" y="343"/>
                </a:lnTo>
                <a:lnTo>
                  <a:pt x="104" y="345"/>
                </a:lnTo>
                <a:lnTo>
                  <a:pt x="63" y="354"/>
                </a:lnTo>
                <a:lnTo>
                  <a:pt x="52" y="356"/>
                </a:lnTo>
                <a:lnTo>
                  <a:pt x="15" y="360"/>
                </a:lnTo>
                <a:lnTo>
                  <a:pt x="4" y="363"/>
                </a:lnTo>
                <a:lnTo>
                  <a:pt x="0" y="339"/>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10" name="Freeform 43">
            <a:extLst>
              <a:ext uri="{FF2B5EF4-FFF2-40B4-BE49-F238E27FC236}">
                <a16:creationId xmlns:a16="http://schemas.microsoft.com/office/drawing/2014/main" id="{DB07D092-B8F9-4303-9095-D926973C93A3}"/>
              </a:ext>
            </a:extLst>
          </p:cNvPr>
          <p:cNvSpPr>
            <a:spLocks/>
          </p:cNvSpPr>
          <p:nvPr>
            <p:custDataLst>
              <p:tags r:id="rId34"/>
            </p:custDataLst>
          </p:nvPr>
        </p:nvSpPr>
        <p:spPr bwMode="auto">
          <a:xfrm>
            <a:off x="9217768" y="2978984"/>
            <a:ext cx="280576" cy="177260"/>
          </a:xfrm>
          <a:custGeom>
            <a:avLst/>
            <a:gdLst>
              <a:gd name="T0" fmla="*/ 2147483647 w 138"/>
              <a:gd name="T1" fmla="*/ 2147483647 h 82"/>
              <a:gd name="T2" fmla="*/ 2147483647 w 138"/>
              <a:gd name="T3" fmla="*/ 2147483647 h 82"/>
              <a:gd name="T4" fmla="*/ 2147483647 w 138"/>
              <a:gd name="T5" fmla="*/ 2147483647 h 82"/>
              <a:gd name="T6" fmla="*/ 2147483647 w 138"/>
              <a:gd name="T7" fmla="*/ 2147483647 h 82"/>
              <a:gd name="T8" fmla="*/ 2147483647 w 138"/>
              <a:gd name="T9" fmla="*/ 2147483647 h 82"/>
              <a:gd name="T10" fmla="*/ 2147483647 w 138"/>
              <a:gd name="T11" fmla="*/ 2147483647 h 82"/>
              <a:gd name="T12" fmla="*/ 2147483647 w 138"/>
              <a:gd name="T13" fmla="*/ 2147483647 h 82"/>
              <a:gd name="T14" fmla="*/ 2147483647 w 138"/>
              <a:gd name="T15" fmla="*/ 2147483647 h 82"/>
              <a:gd name="T16" fmla="*/ 0 w 138"/>
              <a:gd name="T17" fmla="*/ 2147483647 h 82"/>
              <a:gd name="T18" fmla="*/ 2147483647 w 138"/>
              <a:gd name="T19" fmla="*/ 2147483647 h 82"/>
              <a:gd name="T20" fmla="*/ 2147483647 w 138"/>
              <a:gd name="T21" fmla="*/ 2147483647 h 82"/>
              <a:gd name="T22" fmla="*/ 2147483647 w 138"/>
              <a:gd name="T23" fmla="*/ 2147483647 h 82"/>
              <a:gd name="T24" fmla="*/ 2147483647 w 138"/>
              <a:gd name="T25" fmla="*/ 2147483647 h 82"/>
              <a:gd name="T26" fmla="*/ 2147483647 w 138"/>
              <a:gd name="T27" fmla="*/ 2147483647 h 82"/>
              <a:gd name="T28" fmla="*/ 2147483647 w 138"/>
              <a:gd name="T29" fmla="*/ 2147483647 h 82"/>
              <a:gd name="T30" fmla="*/ 2147483647 w 138"/>
              <a:gd name="T31" fmla="*/ 2147483647 h 82"/>
              <a:gd name="T32" fmla="*/ 2147483647 w 138"/>
              <a:gd name="T33" fmla="*/ 2147483647 h 82"/>
              <a:gd name="T34" fmla="*/ 2147483647 w 138"/>
              <a:gd name="T35" fmla="*/ 2147483647 h 82"/>
              <a:gd name="T36" fmla="*/ 2147483647 w 138"/>
              <a:gd name="T37" fmla="*/ 2147483647 h 82"/>
              <a:gd name="T38" fmla="*/ 2147483647 w 138"/>
              <a:gd name="T39" fmla="*/ 2147483647 h 82"/>
              <a:gd name="T40" fmla="*/ 2147483647 w 138"/>
              <a:gd name="T41" fmla="*/ 2147483647 h 82"/>
              <a:gd name="T42" fmla="*/ 2147483647 w 138"/>
              <a:gd name="T43" fmla="*/ 2147483647 h 82"/>
              <a:gd name="T44" fmla="*/ 2147483647 w 138"/>
              <a:gd name="T45" fmla="*/ 2147483647 h 82"/>
              <a:gd name="T46" fmla="*/ 2147483647 w 138"/>
              <a:gd name="T47" fmla="*/ 2147483647 h 82"/>
              <a:gd name="T48" fmla="*/ 2147483647 w 138"/>
              <a:gd name="T49" fmla="*/ 2147483647 h 82"/>
              <a:gd name="T50" fmla="*/ 2147483647 w 138"/>
              <a:gd name="T51" fmla="*/ 2147483647 h 82"/>
              <a:gd name="T52" fmla="*/ 2147483647 w 138"/>
              <a:gd name="T53" fmla="*/ 2147483647 h 82"/>
              <a:gd name="T54" fmla="*/ 2147483647 w 138"/>
              <a:gd name="T55" fmla="*/ 2147483647 h 82"/>
              <a:gd name="T56" fmla="*/ 2147483647 w 138"/>
              <a:gd name="T57" fmla="*/ 2147483647 h 82"/>
              <a:gd name="T58" fmla="*/ 2147483647 w 138"/>
              <a:gd name="T59" fmla="*/ 2147483647 h 82"/>
              <a:gd name="T60" fmla="*/ 2147483647 w 138"/>
              <a:gd name="T61" fmla="*/ 0 h 82"/>
              <a:gd name="T62" fmla="*/ 2147483647 w 138"/>
              <a:gd name="T63" fmla="*/ 0 h 82"/>
              <a:gd name="T64" fmla="*/ 2147483647 w 138"/>
              <a:gd name="T65" fmla="*/ 2147483647 h 82"/>
              <a:gd name="T66" fmla="*/ 2147483647 w 138"/>
              <a:gd name="T67" fmla="*/ 2147483647 h 82"/>
              <a:gd name="T68" fmla="*/ 2147483647 w 138"/>
              <a:gd name="T69" fmla="*/ 2147483647 h 82"/>
              <a:gd name="T70" fmla="*/ 2147483647 w 138"/>
              <a:gd name="T71" fmla="*/ 2147483647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
              <a:gd name="T109" fmla="*/ 0 h 82"/>
              <a:gd name="T110" fmla="*/ 138 w 138"/>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 h="82">
                <a:moveTo>
                  <a:pt x="20" y="78"/>
                </a:moveTo>
                <a:lnTo>
                  <a:pt x="9" y="82"/>
                </a:lnTo>
                <a:lnTo>
                  <a:pt x="20" y="76"/>
                </a:lnTo>
                <a:lnTo>
                  <a:pt x="20" y="74"/>
                </a:lnTo>
                <a:lnTo>
                  <a:pt x="11" y="74"/>
                </a:lnTo>
                <a:lnTo>
                  <a:pt x="7" y="76"/>
                </a:lnTo>
                <a:lnTo>
                  <a:pt x="11" y="80"/>
                </a:lnTo>
                <a:lnTo>
                  <a:pt x="2" y="82"/>
                </a:lnTo>
                <a:lnTo>
                  <a:pt x="0" y="78"/>
                </a:lnTo>
                <a:lnTo>
                  <a:pt x="2" y="67"/>
                </a:lnTo>
                <a:lnTo>
                  <a:pt x="5" y="61"/>
                </a:lnTo>
                <a:lnTo>
                  <a:pt x="18" y="61"/>
                </a:lnTo>
                <a:lnTo>
                  <a:pt x="13" y="52"/>
                </a:lnTo>
                <a:lnTo>
                  <a:pt x="24" y="46"/>
                </a:lnTo>
                <a:lnTo>
                  <a:pt x="33" y="46"/>
                </a:lnTo>
                <a:lnTo>
                  <a:pt x="35" y="43"/>
                </a:lnTo>
                <a:lnTo>
                  <a:pt x="50" y="41"/>
                </a:lnTo>
                <a:lnTo>
                  <a:pt x="54" y="35"/>
                </a:lnTo>
                <a:lnTo>
                  <a:pt x="61" y="30"/>
                </a:lnTo>
                <a:lnTo>
                  <a:pt x="89" y="24"/>
                </a:lnTo>
                <a:lnTo>
                  <a:pt x="106" y="2"/>
                </a:lnTo>
                <a:lnTo>
                  <a:pt x="108" y="2"/>
                </a:lnTo>
                <a:lnTo>
                  <a:pt x="104" y="7"/>
                </a:lnTo>
                <a:lnTo>
                  <a:pt x="102" y="15"/>
                </a:lnTo>
                <a:lnTo>
                  <a:pt x="93" y="24"/>
                </a:lnTo>
                <a:lnTo>
                  <a:pt x="91" y="30"/>
                </a:lnTo>
                <a:lnTo>
                  <a:pt x="100" y="26"/>
                </a:lnTo>
                <a:lnTo>
                  <a:pt x="110" y="13"/>
                </a:lnTo>
                <a:lnTo>
                  <a:pt x="117" y="11"/>
                </a:lnTo>
                <a:lnTo>
                  <a:pt x="125" y="11"/>
                </a:lnTo>
                <a:lnTo>
                  <a:pt x="134" y="0"/>
                </a:lnTo>
                <a:lnTo>
                  <a:pt x="138" y="0"/>
                </a:lnTo>
                <a:lnTo>
                  <a:pt x="136" y="7"/>
                </a:lnTo>
                <a:lnTo>
                  <a:pt x="100" y="35"/>
                </a:lnTo>
                <a:lnTo>
                  <a:pt x="41" y="65"/>
                </a:lnTo>
                <a:lnTo>
                  <a:pt x="20" y="78"/>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11" name="Freeform 44">
            <a:extLst>
              <a:ext uri="{FF2B5EF4-FFF2-40B4-BE49-F238E27FC236}">
                <a16:creationId xmlns:a16="http://schemas.microsoft.com/office/drawing/2014/main" id="{A670355C-8C5B-4FB9-8C1E-852F7B45FC5E}"/>
              </a:ext>
            </a:extLst>
          </p:cNvPr>
          <p:cNvSpPr>
            <a:spLocks/>
          </p:cNvSpPr>
          <p:nvPr>
            <p:custDataLst>
              <p:tags r:id="rId35"/>
            </p:custDataLst>
          </p:nvPr>
        </p:nvSpPr>
        <p:spPr bwMode="auto">
          <a:xfrm>
            <a:off x="9191477" y="3147595"/>
            <a:ext cx="26305" cy="32427"/>
          </a:xfrm>
          <a:custGeom>
            <a:avLst/>
            <a:gdLst>
              <a:gd name="T0" fmla="*/ 2147483647 w 13"/>
              <a:gd name="T1" fmla="*/ 2147483647 h 15"/>
              <a:gd name="T2" fmla="*/ 0 w 13"/>
              <a:gd name="T3" fmla="*/ 2147483647 h 15"/>
              <a:gd name="T4" fmla="*/ 2147483647 w 13"/>
              <a:gd name="T5" fmla="*/ 2147483647 h 15"/>
              <a:gd name="T6" fmla="*/ 2147483647 w 13"/>
              <a:gd name="T7" fmla="*/ 0 h 15"/>
              <a:gd name="T8" fmla="*/ 2147483647 w 13"/>
              <a:gd name="T9" fmla="*/ 2147483647 h 15"/>
              <a:gd name="T10" fmla="*/ 2147483647 w 13"/>
              <a:gd name="T11" fmla="*/ 2147483647 h 15"/>
              <a:gd name="T12" fmla="*/ 2147483647 w 13"/>
              <a:gd name="T13" fmla="*/ 2147483647 h 15"/>
              <a:gd name="T14" fmla="*/ 2147483647 w 13"/>
              <a:gd name="T15" fmla="*/ 2147483647 h 1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5"/>
              <a:gd name="T26" fmla="*/ 13 w 1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5">
                <a:moveTo>
                  <a:pt x="2" y="15"/>
                </a:moveTo>
                <a:lnTo>
                  <a:pt x="0" y="13"/>
                </a:lnTo>
                <a:lnTo>
                  <a:pt x="5" y="2"/>
                </a:lnTo>
                <a:lnTo>
                  <a:pt x="9" y="0"/>
                </a:lnTo>
                <a:lnTo>
                  <a:pt x="13" y="2"/>
                </a:lnTo>
                <a:lnTo>
                  <a:pt x="7" y="11"/>
                </a:lnTo>
                <a:lnTo>
                  <a:pt x="5" y="15"/>
                </a:lnTo>
                <a:lnTo>
                  <a:pt x="2" y="15"/>
                </a:lnTo>
              </a:path>
            </a:pathLst>
          </a:custGeom>
          <a:solidFill>
            <a:schemeClr val="bg1"/>
          </a:solidFill>
          <a:ln w="6350">
            <a:solidFill>
              <a:srgbClr val="404040"/>
            </a:solidFill>
            <a:round/>
            <a:headEnd/>
            <a:tailEnd/>
          </a:ln>
        </p:spPr>
        <p:txBody>
          <a:bodyPr/>
          <a:lstStyle/>
          <a:p>
            <a:endParaRPr lang="en-US" dirty="0">
              <a:solidFill>
                <a:prstClr val="black"/>
              </a:solidFill>
            </a:endParaRPr>
          </a:p>
        </p:txBody>
      </p:sp>
      <p:sp>
        <p:nvSpPr>
          <p:cNvPr id="212" name="Freeform 45">
            <a:extLst>
              <a:ext uri="{FF2B5EF4-FFF2-40B4-BE49-F238E27FC236}">
                <a16:creationId xmlns:a16="http://schemas.microsoft.com/office/drawing/2014/main" id="{C85C1263-AD88-4A25-A505-7F2B25D1DE59}"/>
              </a:ext>
            </a:extLst>
          </p:cNvPr>
          <p:cNvSpPr>
            <a:spLocks/>
          </p:cNvSpPr>
          <p:nvPr>
            <p:custDataLst>
              <p:tags r:id="rId36"/>
            </p:custDataLst>
          </p:nvPr>
        </p:nvSpPr>
        <p:spPr bwMode="auto">
          <a:xfrm>
            <a:off x="8266453" y="2927101"/>
            <a:ext cx="872417" cy="598792"/>
          </a:xfrm>
          <a:custGeom>
            <a:avLst/>
            <a:gdLst>
              <a:gd name="T0" fmla="*/ 2147483647 w 431"/>
              <a:gd name="T1" fmla="*/ 2147483647 h 277"/>
              <a:gd name="T2" fmla="*/ 2147483647 w 431"/>
              <a:gd name="T3" fmla="*/ 2147483647 h 277"/>
              <a:gd name="T4" fmla="*/ 2147483647 w 431"/>
              <a:gd name="T5" fmla="*/ 2147483647 h 277"/>
              <a:gd name="T6" fmla="*/ 2147483647 w 431"/>
              <a:gd name="T7" fmla="*/ 2147483647 h 277"/>
              <a:gd name="T8" fmla="*/ 2147483647 w 431"/>
              <a:gd name="T9" fmla="*/ 2147483647 h 277"/>
              <a:gd name="T10" fmla="*/ 2147483647 w 431"/>
              <a:gd name="T11" fmla="*/ 2147483647 h 277"/>
              <a:gd name="T12" fmla="*/ 2147483647 w 431"/>
              <a:gd name="T13" fmla="*/ 2147483647 h 277"/>
              <a:gd name="T14" fmla="*/ 2147483647 w 431"/>
              <a:gd name="T15" fmla="*/ 2147483647 h 277"/>
              <a:gd name="T16" fmla="*/ 2147483647 w 431"/>
              <a:gd name="T17" fmla="*/ 2147483647 h 277"/>
              <a:gd name="T18" fmla="*/ 2147483647 w 431"/>
              <a:gd name="T19" fmla="*/ 2147483647 h 277"/>
              <a:gd name="T20" fmla="*/ 2147483647 w 431"/>
              <a:gd name="T21" fmla="*/ 2147483647 h 277"/>
              <a:gd name="T22" fmla="*/ 2147483647 w 431"/>
              <a:gd name="T23" fmla="*/ 2147483647 h 277"/>
              <a:gd name="T24" fmla="*/ 2147483647 w 431"/>
              <a:gd name="T25" fmla="*/ 2147483647 h 277"/>
              <a:gd name="T26" fmla="*/ 2147483647 w 431"/>
              <a:gd name="T27" fmla="*/ 0 h 277"/>
              <a:gd name="T28" fmla="*/ 2147483647 w 431"/>
              <a:gd name="T29" fmla="*/ 2147483647 h 277"/>
              <a:gd name="T30" fmla="*/ 2147483647 w 431"/>
              <a:gd name="T31" fmla="*/ 2147483647 h 277"/>
              <a:gd name="T32" fmla="*/ 2147483647 w 431"/>
              <a:gd name="T33" fmla="*/ 2147483647 h 277"/>
              <a:gd name="T34" fmla="*/ 2147483647 w 431"/>
              <a:gd name="T35" fmla="*/ 2147483647 h 277"/>
              <a:gd name="T36" fmla="*/ 2147483647 w 431"/>
              <a:gd name="T37" fmla="*/ 2147483647 h 277"/>
              <a:gd name="T38" fmla="*/ 2147483647 w 431"/>
              <a:gd name="T39" fmla="*/ 2147483647 h 277"/>
              <a:gd name="T40" fmla="*/ 2147483647 w 431"/>
              <a:gd name="T41" fmla="*/ 2147483647 h 277"/>
              <a:gd name="T42" fmla="*/ 2147483647 w 431"/>
              <a:gd name="T43" fmla="*/ 2147483647 h 277"/>
              <a:gd name="T44" fmla="*/ 2147483647 w 431"/>
              <a:gd name="T45" fmla="*/ 2147483647 h 277"/>
              <a:gd name="T46" fmla="*/ 2147483647 w 431"/>
              <a:gd name="T47" fmla="*/ 2147483647 h 277"/>
              <a:gd name="T48" fmla="*/ 2147483647 w 431"/>
              <a:gd name="T49" fmla="*/ 2147483647 h 277"/>
              <a:gd name="T50" fmla="*/ 2147483647 w 431"/>
              <a:gd name="T51" fmla="*/ 2147483647 h 277"/>
              <a:gd name="T52" fmla="*/ 2147483647 w 431"/>
              <a:gd name="T53" fmla="*/ 2147483647 h 277"/>
              <a:gd name="T54" fmla="*/ 2147483647 w 431"/>
              <a:gd name="T55" fmla="*/ 2147483647 h 277"/>
              <a:gd name="T56" fmla="*/ 2147483647 w 431"/>
              <a:gd name="T57" fmla="*/ 2147483647 h 277"/>
              <a:gd name="T58" fmla="*/ 2147483647 w 431"/>
              <a:gd name="T59" fmla="*/ 2147483647 h 277"/>
              <a:gd name="T60" fmla="*/ 2147483647 w 431"/>
              <a:gd name="T61" fmla="*/ 2147483647 h 277"/>
              <a:gd name="T62" fmla="*/ 2147483647 w 431"/>
              <a:gd name="T63" fmla="*/ 2147483647 h 277"/>
              <a:gd name="T64" fmla="*/ 2147483647 w 431"/>
              <a:gd name="T65" fmla="*/ 2147483647 h 277"/>
              <a:gd name="T66" fmla="*/ 2147483647 w 431"/>
              <a:gd name="T67" fmla="*/ 2147483647 h 277"/>
              <a:gd name="T68" fmla="*/ 2147483647 w 431"/>
              <a:gd name="T69" fmla="*/ 2147483647 h 277"/>
              <a:gd name="T70" fmla="*/ 2147483647 w 431"/>
              <a:gd name="T71" fmla="*/ 2147483647 h 277"/>
              <a:gd name="T72" fmla="*/ 2147483647 w 431"/>
              <a:gd name="T73" fmla="*/ 2147483647 h 277"/>
              <a:gd name="T74" fmla="*/ 2147483647 w 431"/>
              <a:gd name="T75" fmla="*/ 2147483647 h 277"/>
              <a:gd name="T76" fmla="*/ 2147483647 w 431"/>
              <a:gd name="T77" fmla="*/ 2147483647 h 277"/>
              <a:gd name="T78" fmla="*/ 2147483647 w 431"/>
              <a:gd name="T79" fmla="*/ 2147483647 h 277"/>
              <a:gd name="T80" fmla="*/ 2147483647 w 431"/>
              <a:gd name="T81" fmla="*/ 2147483647 h 277"/>
              <a:gd name="T82" fmla="*/ 2147483647 w 431"/>
              <a:gd name="T83" fmla="*/ 2147483647 h 277"/>
              <a:gd name="T84" fmla="*/ 2147483647 w 431"/>
              <a:gd name="T85" fmla="*/ 2147483647 h 277"/>
              <a:gd name="T86" fmla="*/ 2147483647 w 431"/>
              <a:gd name="T87" fmla="*/ 2147483647 h 277"/>
              <a:gd name="T88" fmla="*/ 2147483647 w 431"/>
              <a:gd name="T89" fmla="*/ 2147483647 h 277"/>
              <a:gd name="T90" fmla="*/ 2147483647 w 431"/>
              <a:gd name="T91" fmla="*/ 2147483647 h 277"/>
              <a:gd name="T92" fmla="*/ 2147483647 w 431"/>
              <a:gd name="T93" fmla="*/ 2147483647 h 2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31"/>
              <a:gd name="T142" fmla="*/ 0 h 277"/>
              <a:gd name="T143" fmla="*/ 431 w 431"/>
              <a:gd name="T144" fmla="*/ 277 h 2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31" h="277">
                <a:moveTo>
                  <a:pt x="248" y="238"/>
                </a:moveTo>
                <a:lnTo>
                  <a:pt x="205" y="247"/>
                </a:lnTo>
                <a:lnTo>
                  <a:pt x="187" y="249"/>
                </a:lnTo>
                <a:lnTo>
                  <a:pt x="185" y="249"/>
                </a:lnTo>
                <a:lnTo>
                  <a:pt x="153" y="255"/>
                </a:lnTo>
                <a:lnTo>
                  <a:pt x="146" y="255"/>
                </a:lnTo>
                <a:lnTo>
                  <a:pt x="114" y="264"/>
                </a:lnTo>
                <a:lnTo>
                  <a:pt x="110" y="264"/>
                </a:lnTo>
                <a:lnTo>
                  <a:pt x="88" y="268"/>
                </a:lnTo>
                <a:lnTo>
                  <a:pt x="77" y="268"/>
                </a:lnTo>
                <a:lnTo>
                  <a:pt x="41" y="277"/>
                </a:lnTo>
                <a:lnTo>
                  <a:pt x="34" y="277"/>
                </a:lnTo>
                <a:lnTo>
                  <a:pt x="32" y="253"/>
                </a:lnTo>
                <a:lnTo>
                  <a:pt x="30" y="249"/>
                </a:lnTo>
                <a:lnTo>
                  <a:pt x="28" y="236"/>
                </a:lnTo>
                <a:lnTo>
                  <a:pt x="23" y="214"/>
                </a:lnTo>
                <a:lnTo>
                  <a:pt x="21" y="206"/>
                </a:lnTo>
                <a:lnTo>
                  <a:pt x="19" y="190"/>
                </a:lnTo>
                <a:lnTo>
                  <a:pt x="17" y="171"/>
                </a:lnTo>
                <a:lnTo>
                  <a:pt x="17" y="169"/>
                </a:lnTo>
                <a:lnTo>
                  <a:pt x="13" y="147"/>
                </a:lnTo>
                <a:lnTo>
                  <a:pt x="6" y="115"/>
                </a:lnTo>
                <a:lnTo>
                  <a:pt x="6" y="113"/>
                </a:lnTo>
                <a:lnTo>
                  <a:pt x="2" y="80"/>
                </a:lnTo>
                <a:lnTo>
                  <a:pt x="0" y="67"/>
                </a:lnTo>
                <a:lnTo>
                  <a:pt x="47" y="33"/>
                </a:lnTo>
                <a:lnTo>
                  <a:pt x="51" y="57"/>
                </a:lnTo>
                <a:lnTo>
                  <a:pt x="62" y="54"/>
                </a:lnTo>
                <a:lnTo>
                  <a:pt x="99" y="50"/>
                </a:lnTo>
                <a:lnTo>
                  <a:pt x="110" y="48"/>
                </a:lnTo>
                <a:lnTo>
                  <a:pt x="151" y="39"/>
                </a:lnTo>
                <a:lnTo>
                  <a:pt x="159" y="37"/>
                </a:lnTo>
                <a:lnTo>
                  <a:pt x="187" y="33"/>
                </a:lnTo>
                <a:lnTo>
                  <a:pt x="198" y="31"/>
                </a:lnTo>
                <a:lnTo>
                  <a:pt x="241" y="22"/>
                </a:lnTo>
                <a:lnTo>
                  <a:pt x="246" y="20"/>
                </a:lnTo>
                <a:lnTo>
                  <a:pt x="267" y="16"/>
                </a:lnTo>
                <a:lnTo>
                  <a:pt x="298" y="9"/>
                </a:lnTo>
                <a:lnTo>
                  <a:pt x="300" y="9"/>
                </a:lnTo>
                <a:lnTo>
                  <a:pt x="343" y="0"/>
                </a:lnTo>
                <a:lnTo>
                  <a:pt x="349" y="0"/>
                </a:lnTo>
                <a:lnTo>
                  <a:pt x="351" y="0"/>
                </a:lnTo>
                <a:lnTo>
                  <a:pt x="356" y="3"/>
                </a:lnTo>
                <a:lnTo>
                  <a:pt x="358" y="3"/>
                </a:lnTo>
                <a:lnTo>
                  <a:pt x="360" y="9"/>
                </a:lnTo>
                <a:lnTo>
                  <a:pt x="367" y="7"/>
                </a:lnTo>
                <a:lnTo>
                  <a:pt x="371" y="7"/>
                </a:lnTo>
                <a:lnTo>
                  <a:pt x="371" y="9"/>
                </a:lnTo>
                <a:lnTo>
                  <a:pt x="373" y="9"/>
                </a:lnTo>
                <a:lnTo>
                  <a:pt x="373" y="11"/>
                </a:lnTo>
                <a:lnTo>
                  <a:pt x="373" y="16"/>
                </a:lnTo>
                <a:lnTo>
                  <a:pt x="375" y="16"/>
                </a:lnTo>
                <a:lnTo>
                  <a:pt x="377" y="20"/>
                </a:lnTo>
                <a:lnTo>
                  <a:pt x="380" y="26"/>
                </a:lnTo>
                <a:lnTo>
                  <a:pt x="377" y="31"/>
                </a:lnTo>
                <a:lnTo>
                  <a:pt x="382" y="33"/>
                </a:lnTo>
                <a:lnTo>
                  <a:pt x="382" y="35"/>
                </a:lnTo>
                <a:lnTo>
                  <a:pt x="388" y="39"/>
                </a:lnTo>
                <a:lnTo>
                  <a:pt x="390" y="39"/>
                </a:lnTo>
                <a:lnTo>
                  <a:pt x="393" y="39"/>
                </a:lnTo>
                <a:lnTo>
                  <a:pt x="395" y="41"/>
                </a:lnTo>
                <a:lnTo>
                  <a:pt x="399" y="41"/>
                </a:lnTo>
                <a:lnTo>
                  <a:pt x="405" y="41"/>
                </a:lnTo>
                <a:lnTo>
                  <a:pt x="408" y="44"/>
                </a:lnTo>
                <a:lnTo>
                  <a:pt x="410" y="48"/>
                </a:lnTo>
                <a:lnTo>
                  <a:pt x="405" y="52"/>
                </a:lnTo>
                <a:lnTo>
                  <a:pt x="405" y="54"/>
                </a:lnTo>
                <a:lnTo>
                  <a:pt x="401" y="54"/>
                </a:lnTo>
                <a:lnTo>
                  <a:pt x="399" y="63"/>
                </a:lnTo>
                <a:lnTo>
                  <a:pt x="399" y="70"/>
                </a:lnTo>
                <a:lnTo>
                  <a:pt x="397" y="72"/>
                </a:lnTo>
                <a:lnTo>
                  <a:pt x="395" y="74"/>
                </a:lnTo>
                <a:lnTo>
                  <a:pt x="395" y="76"/>
                </a:lnTo>
                <a:lnTo>
                  <a:pt x="397" y="76"/>
                </a:lnTo>
                <a:lnTo>
                  <a:pt x="395" y="80"/>
                </a:lnTo>
                <a:lnTo>
                  <a:pt x="393" y="82"/>
                </a:lnTo>
                <a:lnTo>
                  <a:pt x="390" y="85"/>
                </a:lnTo>
                <a:lnTo>
                  <a:pt x="388" y="87"/>
                </a:lnTo>
                <a:lnTo>
                  <a:pt x="388" y="89"/>
                </a:lnTo>
                <a:lnTo>
                  <a:pt x="393" y="95"/>
                </a:lnTo>
                <a:lnTo>
                  <a:pt x="393" y="98"/>
                </a:lnTo>
                <a:lnTo>
                  <a:pt x="395" y="98"/>
                </a:lnTo>
                <a:lnTo>
                  <a:pt x="393" y="100"/>
                </a:lnTo>
                <a:lnTo>
                  <a:pt x="393" y="102"/>
                </a:lnTo>
                <a:lnTo>
                  <a:pt x="393" y="104"/>
                </a:lnTo>
                <a:lnTo>
                  <a:pt x="393" y="106"/>
                </a:lnTo>
                <a:lnTo>
                  <a:pt x="390" y="106"/>
                </a:lnTo>
                <a:lnTo>
                  <a:pt x="388" y="108"/>
                </a:lnTo>
                <a:lnTo>
                  <a:pt x="388" y="113"/>
                </a:lnTo>
                <a:lnTo>
                  <a:pt x="388" y="117"/>
                </a:lnTo>
                <a:lnTo>
                  <a:pt x="390" y="117"/>
                </a:lnTo>
                <a:lnTo>
                  <a:pt x="388" y="119"/>
                </a:lnTo>
                <a:lnTo>
                  <a:pt x="390" y="121"/>
                </a:lnTo>
                <a:lnTo>
                  <a:pt x="390" y="124"/>
                </a:lnTo>
                <a:lnTo>
                  <a:pt x="390" y="126"/>
                </a:lnTo>
                <a:lnTo>
                  <a:pt x="393" y="126"/>
                </a:lnTo>
                <a:lnTo>
                  <a:pt x="397" y="126"/>
                </a:lnTo>
                <a:lnTo>
                  <a:pt x="399" y="126"/>
                </a:lnTo>
                <a:lnTo>
                  <a:pt x="401" y="130"/>
                </a:lnTo>
                <a:lnTo>
                  <a:pt x="401" y="134"/>
                </a:lnTo>
                <a:lnTo>
                  <a:pt x="405" y="136"/>
                </a:lnTo>
                <a:lnTo>
                  <a:pt x="408" y="139"/>
                </a:lnTo>
                <a:lnTo>
                  <a:pt x="410" y="139"/>
                </a:lnTo>
                <a:lnTo>
                  <a:pt x="412" y="145"/>
                </a:lnTo>
                <a:lnTo>
                  <a:pt x="414" y="145"/>
                </a:lnTo>
                <a:lnTo>
                  <a:pt x="414" y="147"/>
                </a:lnTo>
                <a:lnTo>
                  <a:pt x="421" y="147"/>
                </a:lnTo>
                <a:lnTo>
                  <a:pt x="423" y="149"/>
                </a:lnTo>
                <a:lnTo>
                  <a:pt x="429" y="154"/>
                </a:lnTo>
                <a:lnTo>
                  <a:pt x="431" y="156"/>
                </a:lnTo>
                <a:lnTo>
                  <a:pt x="431" y="158"/>
                </a:lnTo>
                <a:lnTo>
                  <a:pt x="425" y="162"/>
                </a:lnTo>
                <a:lnTo>
                  <a:pt x="425" y="167"/>
                </a:lnTo>
                <a:lnTo>
                  <a:pt x="416" y="169"/>
                </a:lnTo>
                <a:lnTo>
                  <a:pt x="416" y="171"/>
                </a:lnTo>
                <a:lnTo>
                  <a:pt x="412" y="177"/>
                </a:lnTo>
                <a:lnTo>
                  <a:pt x="412" y="180"/>
                </a:lnTo>
                <a:lnTo>
                  <a:pt x="410" y="180"/>
                </a:lnTo>
                <a:lnTo>
                  <a:pt x="408" y="182"/>
                </a:lnTo>
                <a:lnTo>
                  <a:pt x="408" y="184"/>
                </a:lnTo>
                <a:lnTo>
                  <a:pt x="410" y="186"/>
                </a:lnTo>
                <a:lnTo>
                  <a:pt x="410" y="188"/>
                </a:lnTo>
                <a:lnTo>
                  <a:pt x="405" y="188"/>
                </a:lnTo>
                <a:lnTo>
                  <a:pt x="401" y="195"/>
                </a:lnTo>
                <a:lnTo>
                  <a:pt x="395" y="195"/>
                </a:lnTo>
                <a:lnTo>
                  <a:pt x="393" y="201"/>
                </a:lnTo>
                <a:lnTo>
                  <a:pt x="388" y="199"/>
                </a:lnTo>
                <a:lnTo>
                  <a:pt x="380" y="199"/>
                </a:lnTo>
                <a:lnTo>
                  <a:pt x="375" y="199"/>
                </a:lnTo>
                <a:lnTo>
                  <a:pt x="373" y="201"/>
                </a:lnTo>
                <a:lnTo>
                  <a:pt x="371" y="206"/>
                </a:lnTo>
                <a:lnTo>
                  <a:pt x="367" y="212"/>
                </a:lnTo>
                <a:lnTo>
                  <a:pt x="367" y="214"/>
                </a:lnTo>
                <a:lnTo>
                  <a:pt x="343" y="218"/>
                </a:lnTo>
                <a:lnTo>
                  <a:pt x="334" y="218"/>
                </a:lnTo>
                <a:lnTo>
                  <a:pt x="313" y="223"/>
                </a:lnTo>
                <a:lnTo>
                  <a:pt x="298" y="229"/>
                </a:lnTo>
                <a:lnTo>
                  <a:pt x="282" y="231"/>
                </a:lnTo>
                <a:lnTo>
                  <a:pt x="265" y="234"/>
                </a:lnTo>
                <a:lnTo>
                  <a:pt x="250" y="238"/>
                </a:lnTo>
                <a:lnTo>
                  <a:pt x="248" y="238"/>
                </a:lnTo>
                <a:close/>
              </a:path>
            </a:pathLst>
          </a:custGeom>
          <a:noFill/>
          <a:ln w="9525">
            <a:noFill/>
            <a:round/>
            <a:headEnd/>
            <a:tailEnd/>
          </a:ln>
        </p:spPr>
        <p:txBody>
          <a:bodyPr/>
          <a:lstStyle/>
          <a:p>
            <a:endParaRPr lang="en-US" dirty="0">
              <a:solidFill>
                <a:prstClr val="black"/>
              </a:solidFill>
            </a:endParaRPr>
          </a:p>
        </p:txBody>
      </p:sp>
      <p:sp>
        <p:nvSpPr>
          <p:cNvPr id="213" name="Freeform 46">
            <a:extLst>
              <a:ext uri="{FF2B5EF4-FFF2-40B4-BE49-F238E27FC236}">
                <a16:creationId xmlns:a16="http://schemas.microsoft.com/office/drawing/2014/main" id="{5279EFBC-2539-4C97-9787-DFCECD9624E3}"/>
              </a:ext>
            </a:extLst>
          </p:cNvPr>
          <p:cNvSpPr>
            <a:spLocks/>
          </p:cNvSpPr>
          <p:nvPr>
            <p:custDataLst>
              <p:tags r:id="rId37"/>
            </p:custDataLst>
          </p:nvPr>
        </p:nvSpPr>
        <p:spPr bwMode="auto">
          <a:xfrm>
            <a:off x="8266453" y="2927101"/>
            <a:ext cx="872417" cy="598792"/>
          </a:xfrm>
          <a:custGeom>
            <a:avLst/>
            <a:gdLst>
              <a:gd name="T0" fmla="*/ 2147483647 w 431"/>
              <a:gd name="T1" fmla="*/ 2147483647 h 277"/>
              <a:gd name="T2" fmla="*/ 2147483647 w 431"/>
              <a:gd name="T3" fmla="*/ 2147483647 h 277"/>
              <a:gd name="T4" fmla="*/ 2147483647 w 431"/>
              <a:gd name="T5" fmla="*/ 2147483647 h 277"/>
              <a:gd name="T6" fmla="*/ 2147483647 w 431"/>
              <a:gd name="T7" fmla="*/ 2147483647 h 277"/>
              <a:gd name="T8" fmla="*/ 2147483647 w 431"/>
              <a:gd name="T9" fmla="*/ 2147483647 h 277"/>
              <a:gd name="T10" fmla="*/ 2147483647 w 431"/>
              <a:gd name="T11" fmla="*/ 2147483647 h 277"/>
              <a:gd name="T12" fmla="*/ 2147483647 w 431"/>
              <a:gd name="T13" fmla="*/ 2147483647 h 277"/>
              <a:gd name="T14" fmla="*/ 2147483647 w 431"/>
              <a:gd name="T15" fmla="*/ 2147483647 h 277"/>
              <a:gd name="T16" fmla="*/ 2147483647 w 431"/>
              <a:gd name="T17" fmla="*/ 2147483647 h 277"/>
              <a:gd name="T18" fmla="*/ 2147483647 w 431"/>
              <a:gd name="T19" fmla="*/ 2147483647 h 277"/>
              <a:gd name="T20" fmla="*/ 2147483647 w 431"/>
              <a:gd name="T21" fmla="*/ 2147483647 h 277"/>
              <a:gd name="T22" fmla="*/ 2147483647 w 431"/>
              <a:gd name="T23" fmla="*/ 2147483647 h 277"/>
              <a:gd name="T24" fmla="*/ 2147483647 w 431"/>
              <a:gd name="T25" fmla="*/ 2147483647 h 277"/>
              <a:gd name="T26" fmla="*/ 2147483647 w 431"/>
              <a:gd name="T27" fmla="*/ 0 h 277"/>
              <a:gd name="T28" fmla="*/ 2147483647 w 431"/>
              <a:gd name="T29" fmla="*/ 2147483647 h 277"/>
              <a:gd name="T30" fmla="*/ 2147483647 w 431"/>
              <a:gd name="T31" fmla="*/ 2147483647 h 277"/>
              <a:gd name="T32" fmla="*/ 2147483647 w 431"/>
              <a:gd name="T33" fmla="*/ 2147483647 h 277"/>
              <a:gd name="T34" fmla="*/ 2147483647 w 431"/>
              <a:gd name="T35" fmla="*/ 2147483647 h 277"/>
              <a:gd name="T36" fmla="*/ 2147483647 w 431"/>
              <a:gd name="T37" fmla="*/ 2147483647 h 277"/>
              <a:gd name="T38" fmla="*/ 2147483647 w 431"/>
              <a:gd name="T39" fmla="*/ 2147483647 h 277"/>
              <a:gd name="T40" fmla="*/ 2147483647 w 431"/>
              <a:gd name="T41" fmla="*/ 2147483647 h 277"/>
              <a:gd name="T42" fmla="*/ 2147483647 w 431"/>
              <a:gd name="T43" fmla="*/ 2147483647 h 277"/>
              <a:gd name="T44" fmla="*/ 2147483647 w 431"/>
              <a:gd name="T45" fmla="*/ 2147483647 h 277"/>
              <a:gd name="T46" fmla="*/ 2147483647 w 431"/>
              <a:gd name="T47" fmla="*/ 2147483647 h 277"/>
              <a:gd name="T48" fmla="*/ 2147483647 w 431"/>
              <a:gd name="T49" fmla="*/ 2147483647 h 277"/>
              <a:gd name="T50" fmla="*/ 2147483647 w 431"/>
              <a:gd name="T51" fmla="*/ 2147483647 h 277"/>
              <a:gd name="T52" fmla="*/ 2147483647 w 431"/>
              <a:gd name="T53" fmla="*/ 2147483647 h 277"/>
              <a:gd name="T54" fmla="*/ 2147483647 w 431"/>
              <a:gd name="T55" fmla="*/ 2147483647 h 277"/>
              <a:gd name="T56" fmla="*/ 2147483647 w 431"/>
              <a:gd name="T57" fmla="*/ 2147483647 h 277"/>
              <a:gd name="T58" fmla="*/ 2147483647 w 431"/>
              <a:gd name="T59" fmla="*/ 2147483647 h 277"/>
              <a:gd name="T60" fmla="*/ 2147483647 w 431"/>
              <a:gd name="T61" fmla="*/ 2147483647 h 277"/>
              <a:gd name="T62" fmla="*/ 2147483647 w 431"/>
              <a:gd name="T63" fmla="*/ 2147483647 h 277"/>
              <a:gd name="T64" fmla="*/ 2147483647 w 431"/>
              <a:gd name="T65" fmla="*/ 2147483647 h 277"/>
              <a:gd name="T66" fmla="*/ 2147483647 w 431"/>
              <a:gd name="T67" fmla="*/ 2147483647 h 277"/>
              <a:gd name="T68" fmla="*/ 2147483647 w 431"/>
              <a:gd name="T69" fmla="*/ 2147483647 h 277"/>
              <a:gd name="T70" fmla="*/ 2147483647 w 431"/>
              <a:gd name="T71" fmla="*/ 2147483647 h 277"/>
              <a:gd name="T72" fmla="*/ 2147483647 w 431"/>
              <a:gd name="T73" fmla="*/ 2147483647 h 277"/>
              <a:gd name="T74" fmla="*/ 2147483647 w 431"/>
              <a:gd name="T75" fmla="*/ 2147483647 h 277"/>
              <a:gd name="T76" fmla="*/ 2147483647 w 431"/>
              <a:gd name="T77" fmla="*/ 2147483647 h 277"/>
              <a:gd name="T78" fmla="*/ 2147483647 w 431"/>
              <a:gd name="T79" fmla="*/ 2147483647 h 277"/>
              <a:gd name="T80" fmla="*/ 2147483647 w 431"/>
              <a:gd name="T81" fmla="*/ 2147483647 h 277"/>
              <a:gd name="T82" fmla="*/ 2147483647 w 431"/>
              <a:gd name="T83" fmla="*/ 2147483647 h 277"/>
              <a:gd name="T84" fmla="*/ 2147483647 w 431"/>
              <a:gd name="T85" fmla="*/ 2147483647 h 277"/>
              <a:gd name="T86" fmla="*/ 2147483647 w 431"/>
              <a:gd name="T87" fmla="*/ 2147483647 h 277"/>
              <a:gd name="T88" fmla="*/ 2147483647 w 431"/>
              <a:gd name="T89" fmla="*/ 2147483647 h 277"/>
              <a:gd name="T90" fmla="*/ 2147483647 w 431"/>
              <a:gd name="T91" fmla="*/ 2147483647 h 277"/>
              <a:gd name="T92" fmla="*/ 2147483647 w 431"/>
              <a:gd name="T93" fmla="*/ 2147483647 h 2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31"/>
              <a:gd name="T142" fmla="*/ 0 h 277"/>
              <a:gd name="T143" fmla="*/ 431 w 431"/>
              <a:gd name="T144" fmla="*/ 277 h 2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31" h="277">
                <a:moveTo>
                  <a:pt x="248" y="238"/>
                </a:moveTo>
                <a:lnTo>
                  <a:pt x="205" y="247"/>
                </a:lnTo>
                <a:lnTo>
                  <a:pt x="187" y="249"/>
                </a:lnTo>
                <a:lnTo>
                  <a:pt x="185" y="249"/>
                </a:lnTo>
                <a:lnTo>
                  <a:pt x="153" y="255"/>
                </a:lnTo>
                <a:lnTo>
                  <a:pt x="146" y="255"/>
                </a:lnTo>
                <a:lnTo>
                  <a:pt x="114" y="264"/>
                </a:lnTo>
                <a:lnTo>
                  <a:pt x="110" y="264"/>
                </a:lnTo>
                <a:lnTo>
                  <a:pt x="88" y="268"/>
                </a:lnTo>
                <a:lnTo>
                  <a:pt x="77" y="268"/>
                </a:lnTo>
                <a:lnTo>
                  <a:pt x="41" y="277"/>
                </a:lnTo>
                <a:lnTo>
                  <a:pt x="34" y="277"/>
                </a:lnTo>
                <a:lnTo>
                  <a:pt x="32" y="253"/>
                </a:lnTo>
                <a:lnTo>
                  <a:pt x="30" y="249"/>
                </a:lnTo>
                <a:lnTo>
                  <a:pt x="28" y="236"/>
                </a:lnTo>
                <a:lnTo>
                  <a:pt x="23" y="214"/>
                </a:lnTo>
                <a:lnTo>
                  <a:pt x="21" y="206"/>
                </a:lnTo>
                <a:lnTo>
                  <a:pt x="19" y="190"/>
                </a:lnTo>
                <a:lnTo>
                  <a:pt x="17" y="171"/>
                </a:lnTo>
                <a:lnTo>
                  <a:pt x="17" y="169"/>
                </a:lnTo>
                <a:lnTo>
                  <a:pt x="13" y="147"/>
                </a:lnTo>
                <a:lnTo>
                  <a:pt x="6" y="115"/>
                </a:lnTo>
                <a:lnTo>
                  <a:pt x="6" y="113"/>
                </a:lnTo>
                <a:lnTo>
                  <a:pt x="2" y="80"/>
                </a:lnTo>
                <a:lnTo>
                  <a:pt x="0" y="67"/>
                </a:lnTo>
                <a:lnTo>
                  <a:pt x="47" y="33"/>
                </a:lnTo>
                <a:lnTo>
                  <a:pt x="51" y="57"/>
                </a:lnTo>
                <a:lnTo>
                  <a:pt x="62" y="54"/>
                </a:lnTo>
                <a:lnTo>
                  <a:pt x="99" y="50"/>
                </a:lnTo>
                <a:lnTo>
                  <a:pt x="110" y="48"/>
                </a:lnTo>
                <a:lnTo>
                  <a:pt x="151" y="39"/>
                </a:lnTo>
                <a:lnTo>
                  <a:pt x="159" y="37"/>
                </a:lnTo>
                <a:lnTo>
                  <a:pt x="187" y="33"/>
                </a:lnTo>
                <a:lnTo>
                  <a:pt x="198" y="31"/>
                </a:lnTo>
                <a:lnTo>
                  <a:pt x="241" y="22"/>
                </a:lnTo>
                <a:lnTo>
                  <a:pt x="246" y="20"/>
                </a:lnTo>
                <a:lnTo>
                  <a:pt x="267" y="16"/>
                </a:lnTo>
                <a:lnTo>
                  <a:pt x="298" y="9"/>
                </a:lnTo>
                <a:lnTo>
                  <a:pt x="300" y="9"/>
                </a:lnTo>
                <a:lnTo>
                  <a:pt x="343" y="0"/>
                </a:lnTo>
                <a:lnTo>
                  <a:pt x="349" y="0"/>
                </a:lnTo>
                <a:lnTo>
                  <a:pt x="351" y="0"/>
                </a:lnTo>
                <a:lnTo>
                  <a:pt x="356" y="3"/>
                </a:lnTo>
                <a:lnTo>
                  <a:pt x="358" y="3"/>
                </a:lnTo>
                <a:lnTo>
                  <a:pt x="360" y="9"/>
                </a:lnTo>
                <a:lnTo>
                  <a:pt x="367" y="7"/>
                </a:lnTo>
                <a:lnTo>
                  <a:pt x="371" y="7"/>
                </a:lnTo>
                <a:lnTo>
                  <a:pt x="371" y="9"/>
                </a:lnTo>
                <a:lnTo>
                  <a:pt x="373" y="9"/>
                </a:lnTo>
                <a:lnTo>
                  <a:pt x="373" y="11"/>
                </a:lnTo>
                <a:lnTo>
                  <a:pt x="373" y="16"/>
                </a:lnTo>
                <a:lnTo>
                  <a:pt x="375" y="16"/>
                </a:lnTo>
                <a:lnTo>
                  <a:pt x="377" y="20"/>
                </a:lnTo>
                <a:lnTo>
                  <a:pt x="380" y="26"/>
                </a:lnTo>
                <a:lnTo>
                  <a:pt x="377" y="31"/>
                </a:lnTo>
                <a:lnTo>
                  <a:pt x="382" y="33"/>
                </a:lnTo>
                <a:lnTo>
                  <a:pt x="382" y="35"/>
                </a:lnTo>
                <a:lnTo>
                  <a:pt x="388" y="39"/>
                </a:lnTo>
                <a:lnTo>
                  <a:pt x="390" y="39"/>
                </a:lnTo>
                <a:lnTo>
                  <a:pt x="393" y="39"/>
                </a:lnTo>
                <a:lnTo>
                  <a:pt x="395" y="41"/>
                </a:lnTo>
                <a:lnTo>
                  <a:pt x="399" y="41"/>
                </a:lnTo>
                <a:lnTo>
                  <a:pt x="405" y="41"/>
                </a:lnTo>
                <a:lnTo>
                  <a:pt x="408" y="44"/>
                </a:lnTo>
                <a:lnTo>
                  <a:pt x="410" y="48"/>
                </a:lnTo>
                <a:lnTo>
                  <a:pt x="405" y="52"/>
                </a:lnTo>
                <a:lnTo>
                  <a:pt x="405" y="54"/>
                </a:lnTo>
                <a:lnTo>
                  <a:pt x="401" y="54"/>
                </a:lnTo>
                <a:lnTo>
                  <a:pt x="399" y="63"/>
                </a:lnTo>
                <a:lnTo>
                  <a:pt x="399" y="70"/>
                </a:lnTo>
                <a:lnTo>
                  <a:pt x="397" y="72"/>
                </a:lnTo>
                <a:lnTo>
                  <a:pt x="395" y="74"/>
                </a:lnTo>
                <a:lnTo>
                  <a:pt x="395" y="76"/>
                </a:lnTo>
                <a:lnTo>
                  <a:pt x="397" y="76"/>
                </a:lnTo>
                <a:lnTo>
                  <a:pt x="395" y="80"/>
                </a:lnTo>
                <a:lnTo>
                  <a:pt x="393" y="82"/>
                </a:lnTo>
                <a:lnTo>
                  <a:pt x="390" y="85"/>
                </a:lnTo>
                <a:lnTo>
                  <a:pt x="388" y="87"/>
                </a:lnTo>
                <a:lnTo>
                  <a:pt x="388" y="89"/>
                </a:lnTo>
                <a:lnTo>
                  <a:pt x="393" y="95"/>
                </a:lnTo>
                <a:lnTo>
                  <a:pt x="393" y="98"/>
                </a:lnTo>
                <a:lnTo>
                  <a:pt x="395" y="98"/>
                </a:lnTo>
                <a:lnTo>
                  <a:pt x="393" y="100"/>
                </a:lnTo>
                <a:lnTo>
                  <a:pt x="393" y="102"/>
                </a:lnTo>
                <a:lnTo>
                  <a:pt x="393" y="104"/>
                </a:lnTo>
                <a:lnTo>
                  <a:pt x="393" y="106"/>
                </a:lnTo>
                <a:lnTo>
                  <a:pt x="390" y="106"/>
                </a:lnTo>
                <a:lnTo>
                  <a:pt x="388" y="108"/>
                </a:lnTo>
                <a:lnTo>
                  <a:pt x="388" y="113"/>
                </a:lnTo>
                <a:lnTo>
                  <a:pt x="388" y="117"/>
                </a:lnTo>
                <a:lnTo>
                  <a:pt x="390" y="117"/>
                </a:lnTo>
                <a:lnTo>
                  <a:pt x="388" y="119"/>
                </a:lnTo>
                <a:lnTo>
                  <a:pt x="390" y="121"/>
                </a:lnTo>
                <a:lnTo>
                  <a:pt x="390" y="124"/>
                </a:lnTo>
                <a:lnTo>
                  <a:pt x="390" y="126"/>
                </a:lnTo>
                <a:lnTo>
                  <a:pt x="393" y="126"/>
                </a:lnTo>
                <a:lnTo>
                  <a:pt x="397" y="126"/>
                </a:lnTo>
                <a:lnTo>
                  <a:pt x="399" y="126"/>
                </a:lnTo>
                <a:lnTo>
                  <a:pt x="401" y="130"/>
                </a:lnTo>
                <a:lnTo>
                  <a:pt x="401" y="134"/>
                </a:lnTo>
                <a:lnTo>
                  <a:pt x="405" y="136"/>
                </a:lnTo>
                <a:lnTo>
                  <a:pt x="408" y="139"/>
                </a:lnTo>
                <a:lnTo>
                  <a:pt x="410" y="139"/>
                </a:lnTo>
                <a:lnTo>
                  <a:pt x="412" y="145"/>
                </a:lnTo>
                <a:lnTo>
                  <a:pt x="414" y="145"/>
                </a:lnTo>
                <a:lnTo>
                  <a:pt x="414" y="147"/>
                </a:lnTo>
                <a:lnTo>
                  <a:pt x="421" y="147"/>
                </a:lnTo>
                <a:lnTo>
                  <a:pt x="423" y="149"/>
                </a:lnTo>
                <a:lnTo>
                  <a:pt x="429" y="154"/>
                </a:lnTo>
                <a:lnTo>
                  <a:pt x="431" y="156"/>
                </a:lnTo>
                <a:lnTo>
                  <a:pt x="431" y="158"/>
                </a:lnTo>
                <a:lnTo>
                  <a:pt x="425" y="162"/>
                </a:lnTo>
                <a:lnTo>
                  <a:pt x="425" y="167"/>
                </a:lnTo>
                <a:lnTo>
                  <a:pt x="416" y="169"/>
                </a:lnTo>
                <a:lnTo>
                  <a:pt x="416" y="171"/>
                </a:lnTo>
                <a:lnTo>
                  <a:pt x="412" y="177"/>
                </a:lnTo>
                <a:lnTo>
                  <a:pt x="412" y="180"/>
                </a:lnTo>
                <a:lnTo>
                  <a:pt x="410" y="180"/>
                </a:lnTo>
                <a:lnTo>
                  <a:pt x="408" y="182"/>
                </a:lnTo>
                <a:lnTo>
                  <a:pt x="408" y="184"/>
                </a:lnTo>
                <a:lnTo>
                  <a:pt x="410" y="186"/>
                </a:lnTo>
                <a:lnTo>
                  <a:pt x="410" y="188"/>
                </a:lnTo>
                <a:lnTo>
                  <a:pt x="405" y="188"/>
                </a:lnTo>
                <a:lnTo>
                  <a:pt x="401" y="195"/>
                </a:lnTo>
                <a:lnTo>
                  <a:pt x="395" y="195"/>
                </a:lnTo>
                <a:lnTo>
                  <a:pt x="393" y="201"/>
                </a:lnTo>
                <a:lnTo>
                  <a:pt x="388" y="199"/>
                </a:lnTo>
                <a:lnTo>
                  <a:pt x="380" y="199"/>
                </a:lnTo>
                <a:lnTo>
                  <a:pt x="375" y="199"/>
                </a:lnTo>
                <a:lnTo>
                  <a:pt x="373" y="201"/>
                </a:lnTo>
                <a:lnTo>
                  <a:pt x="371" y="206"/>
                </a:lnTo>
                <a:lnTo>
                  <a:pt x="367" y="212"/>
                </a:lnTo>
                <a:lnTo>
                  <a:pt x="367" y="214"/>
                </a:lnTo>
                <a:lnTo>
                  <a:pt x="343" y="218"/>
                </a:lnTo>
                <a:lnTo>
                  <a:pt x="334" y="218"/>
                </a:lnTo>
                <a:lnTo>
                  <a:pt x="313" y="223"/>
                </a:lnTo>
                <a:lnTo>
                  <a:pt x="298" y="229"/>
                </a:lnTo>
                <a:lnTo>
                  <a:pt x="282" y="231"/>
                </a:lnTo>
                <a:lnTo>
                  <a:pt x="265" y="234"/>
                </a:lnTo>
                <a:lnTo>
                  <a:pt x="250" y="238"/>
                </a:lnTo>
                <a:lnTo>
                  <a:pt x="248" y="238"/>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214" name="Freeform 47">
            <a:extLst>
              <a:ext uri="{FF2B5EF4-FFF2-40B4-BE49-F238E27FC236}">
                <a16:creationId xmlns:a16="http://schemas.microsoft.com/office/drawing/2014/main" id="{B12C5503-D158-443A-AC80-77A159D07617}"/>
              </a:ext>
            </a:extLst>
          </p:cNvPr>
          <p:cNvSpPr>
            <a:spLocks/>
          </p:cNvSpPr>
          <p:nvPr>
            <p:custDataLst>
              <p:tags r:id="rId38"/>
            </p:custDataLst>
          </p:nvPr>
        </p:nvSpPr>
        <p:spPr bwMode="auto">
          <a:xfrm>
            <a:off x="9233108" y="2793090"/>
            <a:ext cx="256464" cy="270213"/>
          </a:xfrm>
          <a:custGeom>
            <a:avLst/>
            <a:gdLst>
              <a:gd name="T0" fmla="*/ 2147483647 w 127"/>
              <a:gd name="T1" fmla="*/ 2147483647 h 125"/>
              <a:gd name="T2" fmla="*/ 2147483647 w 127"/>
              <a:gd name="T3" fmla="*/ 2147483647 h 125"/>
              <a:gd name="T4" fmla="*/ 0 w 127"/>
              <a:gd name="T5" fmla="*/ 2147483647 h 125"/>
              <a:gd name="T6" fmla="*/ 2147483647 w 127"/>
              <a:gd name="T7" fmla="*/ 2147483647 h 125"/>
              <a:gd name="T8" fmla="*/ 2147483647 w 127"/>
              <a:gd name="T9" fmla="*/ 2147483647 h 125"/>
              <a:gd name="T10" fmla="*/ 2147483647 w 127"/>
              <a:gd name="T11" fmla="*/ 2147483647 h 125"/>
              <a:gd name="T12" fmla="*/ 2147483647 w 127"/>
              <a:gd name="T13" fmla="*/ 2147483647 h 125"/>
              <a:gd name="T14" fmla="*/ 2147483647 w 127"/>
              <a:gd name="T15" fmla="*/ 2147483647 h 125"/>
              <a:gd name="T16" fmla="*/ 2147483647 w 127"/>
              <a:gd name="T17" fmla="*/ 2147483647 h 125"/>
              <a:gd name="T18" fmla="*/ 2147483647 w 127"/>
              <a:gd name="T19" fmla="*/ 2147483647 h 125"/>
              <a:gd name="T20" fmla="*/ 2147483647 w 127"/>
              <a:gd name="T21" fmla="*/ 2147483647 h 125"/>
              <a:gd name="T22" fmla="*/ 2147483647 w 127"/>
              <a:gd name="T23" fmla="*/ 2147483647 h 125"/>
              <a:gd name="T24" fmla="*/ 2147483647 w 127"/>
              <a:gd name="T25" fmla="*/ 2147483647 h 125"/>
              <a:gd name="T26" fmla="*/ 2147483647 w 127"/>
              <a:gd name="T27" fmla="*/ 2147483647 h 125"/>
              <a:gd name="T28" fmla="*/ 2147483647 w 127"/>
              <a:gd name="T29" fmla="*/ 0 h 125"/>
              <a:gd name="T30" fmla="*/ 2147483647 w 127"/>
              <a:gd name="T31" fmla="*/ 2147483647 h 125"/>
              <a:gd name="T32" fmla="*/ 2147483647 w 127"/>
              <a:gd name="T33" fmla="*/ 2147483647 h 125"/>
              <a:gd name="T34" fmla="*/ 2147483647 w 127"/>
              <a:gd name="T35" fmla="*/ 2147483647 h 125"/>
              <a:gd name="T36" fmla="*/ 2147483647 w 127"/>
              <a:gd name="T37" fmla="*/ 2147483647 h 125"/>
              <a:gd name="T38" fmla="*/ 2147483647 w 127"/>
              <a:gd name="T39" fmla="*/ 2147483647 h 125"/>
              <a:gd name="T40" fmla="*/ 2147483647 w 127"/>
              <a:gd name="T41" fmla="*/ 2147483647 h 125"/>
              <a:gd name="T42" fmla="*/ 2147483647 w 127"/>
              <a:gd name="T43" fmla="*/ 2147483647 h 125"/>
              <a:gd name="T44" fmla="*/ 2147483647 w 127"/>
              <a:gd name="T45" fmla="*/ 2147483647 h 125"/>
              <a:gd name="T46" fmla="*/ 2147483647 w 127"/>
              <a:gd name="T47" fmla="*/ 2147483647 h 125"/>
              <a:gd name="T48" fmla="*/ 2147483647 w 127"/>
              <a:gd name="T49" fmla="*/ 2147483647 h 125"/>
              <a:gd name="T50" fmla="*/ 2147483647 w 127"/>
              <a:gd name="T51" fmla="*/ 2147483647 h 125"/>
              <a:gd name="T52" fmla="*/ 2147483647 w 127"/>
              <a:gd name="T53" fmla="*/ 2147483647 h 125"/>
              <a:gd name="T54" fmla="*/ 2147483647 w 127"/>
              <a:gd name="T55" fmla="*/ 2147483647 h 125"/>
              <a:gd name="T56" fmla="*/ 2147483647 w 127"/>
              <a:gd name="T57" fmla="*/ 2147483647 h 125"/>
              <a:gd name="T58" fmla="*/ 2147483647 w 127"/>
              <a:gd name="T59" fmla="*/ 2147483647 h 125"/>
              <a:gd name="T60" fmla="*/ 2147483647 w 127"/>
              <a:gd name="T61" fmla="*/ 2147483647 h 125"/>
              <a:gd name="T62" fmla="*/ 2147483647 w 127"/>
              <a:gd name="T63" fmla="*/ 2147483647 h 125"/>
              <a:gd name="T64" fmla="*/ 2147483647 w 127"/>
              <a:gd name="T65" fmla="*/ 2147483647 h 125"/>
              <a:gd name="T66" fmla="*/ 2147483647 w 127"/>
              <a:gd name="T67" fmla="*/ 2147483647 h 125"/>
              <a:gd name="T68" fmla="*/ 2147483647 w 127"/>
              <a:gd name="T69" fmla="*/ 2147483647 h 125"/>
              <a:gd name="T70" fmla="*/ 2147483647 w 127"/>
              <a:gd name="T71" fmla="*/ 2147483647 h 125"/>
              <a:gd name="T72" fmla="*/ 2147483647 w 127"/>
              <a:gd name="T73" fmla="*/ 2147483647 h 1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7"/>
              <a:gd name="T112" fmla="*/ 0 h 125"/>
              <a:gd name="T113" fmla="*/ 127 w 127"/>
              <a:gd name="T114" fmla="*/ 125 h 12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7" h="125">
                <a:moveTo>
                  <a:pt x="6" y="73"/>
                </a:moveTo>
                <a:lnTo>
                  <a:pt x="4" y="62"/>
                </a:lnTo>
                <a:lnTo>
                  <a:pt x="0" y="28"/>
                </a:lnTo>
                <a:lnTo>
                  <a:pt x="30" y="19"/>
                </a:lnTo>
                <a:lnTo>
                  <a:pt x="32" y="19"/>
                </a:lnTo>
                <a:lnTo>
                  <a:pt x="45" y="17"/>
                </a:lnTo>
                <a:lnTo>
                  <a:pt x="45" y="19"/>
                </a:lnTo>
                <a:lnTo>
                  <a:pt x="49" y="19"/>
                </a:lnTo>
                <a:lnTo>
                  <a:pt x="49" y="15"/>
                </a:lnTo>
                <a:lnTo>
                  <a:pt x="60" y="15"/>
                </a:lnTo>
                <a:lnTo>
                  <a:pt x="62" y="13"/>
                </a:lnTo>
                <a:lnTo>
                  <a:pt x="65" y="13"/>
                </a:lnTo>
                <a:lnTo>
                  <a:pt x="90" y="4"/>
                </a:lnTo>
                <a:lnTo>
                  <a:pt x="93" y="4"/>
                </a:lnTo>
                <a:lnTo>
                  <a:pt x="112" y="0"/>
                </a:lnTo>
                <a:lnTo>
                  <a:pt x="114" y="2"/>
                </a:lnTo>
                <a:lnTo>
                  <a:pt x="121" y="28"/>
                </a:lnTo>
                <a:lnTo>
                  <a:pt x="121" y="34"/>
                </a:lnTo>
                <a:lnTo>
                  <a:pt x="125" y="37"/>
                </a:lnTo>
                <a:lnTo>
                  <a:pt x="127" y="54"/>
                </a:lnTo>
                <a:lnTo>
                  <a:pt x="125" y="56"/>
                </a:lnTo>
                <a:lnTo>
                  <a:pt x="127" y="62"/>
                </a:lnTo>
                <a:lnTo>
                  <a:pt x="127" y="65"/>
                </a:lnTo>
                <a:lnTo>
                  <a:pt x="125" y="65"/>
                </a:lnTo>
                <a:lnTo>
                  <a:pt x="97" y="78"/>
                </a:lnTo>
                <a:lnTo>
                  <a:pt x="95" y="78"/>
                </a:lnTo>
                <a:lnTo>
                  <a:pt x="90" y="69"/>
                </a:lnTo>
                <a:lnTo>
                  <a:pt x="93" y="78"/>
                </a:lnTo>
                <a:lnTo>
                  <a:pt x="82" y="82"/>
                </a:lnTo>
                <a:lnTo>
                  <a:pt x="54" y="86"/>
                </a:lnTo>
                <a:lnTo>
                  <a:pt x="45" y="101"/>
                </a:lnTo>
                <a:lnTo>
                  <a:pt x="11" y="125"/>
                </a:lnTo>
                <a:lnTo>
                  <a:pt x="4" y="116"/>
                </a:lnTo>
                <a:lnTo>
                  <a:pt x="17" y="101"/>
                </a:lnTo>
                <a:lnTo>
                  <a:pt x="13" y="97"/>
                </a:lnTo>
                <a:lnTo>
                  <a:pt x="11" y="88"/>
                </a:lnTo>
                <a:lnTo>
                  <a:pt x="6" y="73"/>
                </a:lnTo>
                <a:close/>
              </a:path>
            </a:pathLst>
          </a:custGeom>
          <a:solidFill>
            <a:schemeClr val="bg1"/>
          </a:solidFill>
          <a:ln w="9525">
            <a:noFill/>
            <a:round/>
            <a:headEnd/>
            <a:tailEnd/>
          </a:ln>
        </p:spPr>
        <p:txBody>
          <a:bodyPr/>
          <a:lstStyle/>
          <a:p>
            <a:endParaRPr lang="en-US" dirty="0">
              <a:solidFill>
                <a:prstClr val="black"/>
              </a:solidFill>
            </a:endParaRPr>
          </a:p>
        </p:txBody>
      </p:sp>
      <p:sp>
        <p:nvSpPr>
          <p:cNvPr id="215" name="Freeform 48">
            <a:extLst>
              <a:ext uri="{FF2B5EF4-FFF2-40B4-BE49-F238E27FC236}">
                <a16:creationId xmlns:a16="http://schemas.microsoft.com/office/drawing/2014/main" id="{A03BBB5F-88B7-454F-9BA3-259443BE1C6F}"/>
              </a:ext>
            </a:extLst>
          </p:cNvPr>
          <p:cNvSpPr>
            <a:spLocks/>
          </p:cNvSpPr>
          <p:nvPr>
            <p:custDataLst>
              <p:tags r:id="rId39"/>
            </p:custDataLst>
          </p:nvPr>
        </p:nvSpPr>
        <p:spPr bwMode="auto">
          <a:xfrm>
            <a:off x="9233108" y="2793090"/>
            <a:ext cx="256464" cy="270213"/>
          </a:xfrm>
          <a:custGeom>
            <a:avLst/>
            <a:gdLst>
              <a:gd name="T0" fmla="*/ 2147483647 w 127"/>
              <a:gd name="T1" fmla="*/ 2147483647 h 125"/>
              <a:gd name="T2" fmla="*/ 2147483647 w 127"/>
              <a:gd name="T3" fmla="*/ 2147483647 h 125"/>
              <a:gd name="T4" fmla="*/ 0 w 127"/>
              <a:gd name="T5" fmla="*/ 2147483647 h 125"/>
              <a:gd name="T6" fmla="*/ 2147483647 w 127"/>
              <a:gd name="T7" fmla="*/ 2147483647 h 125"/>
              <a:gd name="T8" fmla="*/ 2147483647 w 127"/>
              <a:gd name="T9" fmla="*/ 2147483647 h 125"/>
              <a:gd name="T10" fmla="*/ 2147483647 w 127"/>
              <a:gd name="T11" fmla="*/ 2147483647 h 125"/>
              <a:gd name="T12" fmla="*/ 2147483647 w 127"/>
              <a:gd name="T13" fmla="*/ 2147483647 h 125"/>
              <a:gd name="T14" fmla="*/ 2147483647 w 127"/>
              <a:gd name="T15" fmla="*/ 2147483647 h 125"/>
              <a:gd name="T16" fmla="*/ 2147483647 w 127"/>
              <a:gd name="T17" fmla="*/ 2147483647 h 125"/>
              <a:gd name="T18" fmla="*/ 2147483647 w 127"/>
              <a:gd name="T19" fmla="*/ 2147483647 h 125"/>
              <a:gd name="T20" fmla="*/ 2147483647 w 127"/>
              <a:gd name="T21" fmla="*/ 2147483647 h 125"/>
              <a:gd name="T22" fmla="*/ 2147483647 w 127"/>
              <a:gd name="T23" fmla="*/ 2147483647 h 125"/>
              <a:gd name="T24" fmla="*/ 2147483647 w 127"/>
              <a:gd name="T25" fmla="*/ 2147483647 h 125"/>
              <a:gd name="T26" fmla="*/ 2147483647 w 127"/>
              <a:gd name="T27" fmla="*/ 2147483647 h 125"/>
              <a:gd name="T28" fmla="*/ 2147483647 w 127"/>
              <a:gd name="T29" fmla="*/ 0 h 125"/>
              <a:gd name="T30" fmla="*/ 2147483647 w 127"/>
              <a:gd name="T31" fmla="*/ 2147483647 h 125"/>
              <a:gd name="T32" fmla="*/ 2147483647 w 127"/>
              <a:gd name="T33" fmla="*/ 2147483647 h 125"/>
              <a:gd name="T34" fmla="*/ 2147483647 w 127"/>
              <a:gd name="T35" fmla="*/ 2147483647 h 125"/>
              <a:gd name="T36" fmla="*/ 2147483647 w 127"/>
              <a:gd name="T37" fmla="*/ 2147483647 h 125"/>
              <a:gd name="T38" fmla="*/ 2147483647 w 127"/>
              <a:gd name="T39" fmla="*/ 2147483647 h 125"/>
              <a:gd name="T40" fmla="*/ 2147483647 w 127"/>
              <a:gd name="T41" fmla="*/ 2147483647 h 125"/>
              <a:gd name="T42" fmla="*/ 2147483647 w 127"/>
              <a:gd name="T43" fmla="*/ 2147483647 h 125"/>
              <a:gd name="T44" fmla="*/ 2147483647 w 127"/>
              <a:gd name="T45" fmla="*/ 2147483647 h 125"/>
              <a:gd name="T46" fmla="*/ 2147483647 w 127"/>
              <a:gd name="T47" fmla="*/ 2147483647 h 125"/>
              <a:gd name="T48" fmla="*/ 2147483647 w 127"/>
              <a:gd name="T49" fmla="*/ 2147483647 h 125"/>
              <a:gd name="T50" fmla="*/ 2147483647 w 127"/>
              <a:gd name="T51" fmla="*/ 2147483647 h 125"/>
              <a:gd name="T52" fmla="*/ 2147483647 w 127"/>
              <a:gd name="T53" fmla="*/ 2147483647 h 125"/>
              <a:gd name="T54" fmla="*/ 2147483647 w 127"/>
              <a:gd name="T55" fmla="*/ 2147483647 h 125"/>
              <a:gd name="T56" fmla="*/ 2147483647 w 127"/>
              <a:gd name="T57" fmla="*/ 2147483647 h 125"/>
              <a:gd name="T58" fmla="*/ 2147483647 w 127"/>
              <a:gd name="T59" fmla="*/ 2147483647 h 125"/>
              <a:gd name="T60" fmla="*/ 2147483647 w 127"/>
              <a:gd name="T61" fmla="*/ 2147483647 h 125"/>
              <a:gd name="T62" fmla="*/ 2147483647 w 127"/>
              <a:gd name="T63" fmla="*/ 2147483647 h 125"/>
              <a:gd name="T64" fmla="*/ 2147483647 w 127"/>
              <a:gd name="T65" fmla="*/ 2147483647 h 125"/>
              <a:gd name="T66" fmla="*/ 2147483647 w 127"/>
              <a:gd name="T67" fmla="*/ 2147483647 h 125"/>
              <a:gd name="T68" fmla="*/ 2147483647 w 127"/>
              <a:gd name="T69" fmla="*/ 2147483647 h 125"/>
              <a:gd name="T70" fmla="*/ 2147483647 w 127"/>
              <a:gd name="T71" fmla="*/ 2147483647 h 125"/>
              <a:gd name="T72" fmla="*/ 2147483647 w 127"/>
              <a:gd name="T73" fmla="*/ 2147483647 h 1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7"/>
              <a:gd name="T112" fmla="*/ 0 h 125"/>
              <a:gd name="T113" fmla="*/ 127 w 127"/>
              <a:gd name="T114" fmla="*/ 125 h 12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7" h="125">
                <a:moveTo>
                  <a:pt x="6" y="73"/>
                </a:moveTo>
                <a:lnTo>
                  <a:pt x="4" y="62"/>
                </a:lnTo>
                <a:lnTo>
                  <a:pt x="0" y="28"/>
                </a:lnTo>
                <a:lnTo>
                  <a:pt x="30" y="19"/>
                </a:lnTo>
                <a:lnTo>
                  <a:pt x="32" y="19"/>
                </a:lnTo>
                <a:lnTo>
                  <a:pt x="45" y="17"/>
                </a:lnTo>
                <a:lnTo>
                  <a:pt x="45" y="19"/>
                </a:lnTo>
                <a:lnTo>
                  <a:pt x="49" y="19"/>
                </a:lnTo>
                <a:lnTo>
                  <a:pt x="49" y="15"/>
                </a:lnTo>
                <a:lnTo>
                  <a:pt x="60" y="15"/>
                </a:lnTo>
                <a:lnTo>
                  <a:pt x="62" y="13"/>
                </a:lnTo>
                <a:lnTo>
                  <a:pt x="65" y="13"/>
                </a:lnTo>
                <a:lnTo>
                  <a:pt x="90" y="4"/>
                </a:lnTo>
                <a:lnTo>
                  <a:pt x="93" y="4"/>
                </a:lnTo>
                <a:lnTo>
                  <a:pt x="112" y="0"/>
                </a:lnTo>
                <a:lnTo>
                  <a:pt x="114" y="2"/>
                </a:lnTo>
                <a:lnTo>
                  <a:pt x="121" y="28"/>
                </a:lnTo>
                <a:lnTo>
                  <a:pt x="121" y="34"/>
                </a:lnTo>
                <a:lnTo>
                  <a:pt x="125" y="37"/>
                </a:lnTo>
                <a:lnTo>
                  <a:pt x="127" y="54"/>
                </a:lnTo>
                <a:lnTo>
                  <a:pt x="125" y="56"/>
                </a:lnTo>
                <a:lnTo>
                  <a:pt x="127" y="62"/>
                </a:lnTo>
                <a:lnTo>
                  <a:pt x="127" y="65"/>
                </a:lnTo>
                <a:lnTo>
                  <a:pt x="125" y="65"/>
                </a:lnTo>
                <a:lnTo>
                  <a:pt x="97" y="78"/>
                </a:lnTo>
                <a:lnTo>
                  <a:pt x="95" y="78"/>
                </a:lnTo>
                <a:lnTo>
                  <a:pt x="90" y="69"/>
                </a:lnTo>
                <a:lnTo>
                  <a:pt x="93" y="78"/>
                </a:lnTo>
                <a:lnTo>
                  <a:pt x="82" y="82"/>
                </a:lnTo>
                <a:lnTo>
                  <a:pt x="54" y="86"/>
                </a:lnTo>
                <a:lnTo>
                  <a:pt x="45" y="101"/>
                </a:lnTo>
                <a:lnTo>
                  <a:pt x="11" y="125"/>
                </a:lnTo>
                <a:lnTo>
                  <a:pt x="4" y="116"/>
                </a:lnTo>
                <a:lnTo>
                  <a:pt x="17" y="101"/>
                </a:lnTo>
                <a:lnTo>
                  <a:pt x="13" y="97"/>
                </a:lnTo>
                <a:lnTo>
                  <a:pt x="11" y="88"/>
                </a:lnTo>
                <a:lnTo>
                  <a:pt x="6" y="73"/>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16" name="Freeform 49">
            <a:extLst>
              <a:ext uri="{FF2B5EF4-FFF2-40B4-BE49-F238E27FC236}">
                <a16:creationId xmlns:a16="http://schemas.microsoft.com/office/drawing/2014/main" id="{4926ABB4-3496-412B-883B-17CC6560E213}"/>
              </a:ext>
            </a:extLst>
          </p:cNvPr>
          <p:cNvSpPr>
            <a:spLocks noEditPoints="1"/>
          </p:cNvSpPr>
          <p:nvPr>
            <p:custDataLst>
              <p:tags r:id="rId40"/>
            </p:custDataLst>
          </p:nvPr>
        </p:nvSpPr>
        <p:spPr bwMode="auto">
          <a:xfrm>
            <a:off x="9463279" y="2784447"/>
            <a:ext cx="116177" cy="149159"/>
          </a:xfrm>
          <a:custGeom>
            <a:avLst/>
            <a:gdLst>
              <a:gd name="T0" fmla="*/ 2147483647 w 58"/>
              <a:gd name="T1" fmla="*/ 2147483647 h 69"/>
              <a:gd name="T2" fmla="*/ 2147483647 w 58"/>
              <a:gd name="T3" fmla="*/ 2147483647 h 69"/>
              <a:gd name="T4" fmla="*/ 2147483647 w 58"/>
              <a:gd name="T5" fmla="*/ 2147483647 h 69"/>
              <a:gd name="T6" fmla="*/ 0 w 58"/>
              <a:gd name="T7" fmla="*/ 2147483647 h 69"/>
              <a:gd name="T8" fmla="*/ 2147483647 w 58"/>
              <a:gd name="T9" fmla="*/ 2147483647 h 69"/>
              <a:gd name="T10" fmla="*/ 2147483647 w 58"/>
              <a:gd name="T11" fmla="*/ 0 h 69"/>
              <a:gd name="T12" fmla="*/ 2147483647 w 58"/>
              <a:gd name="T13" fmla="*/ 2147483647 h 69"/>
              <a:gd name="T14" fmla="*/ 2147483647 w 58"/>
              <a:gd name="T15" fmla="*/ 2147483647 h 69"/>
              <a:gd name="T16" fmla="*/ 2147483647 w 58"/>
              <a:gd name="T17" fmla="*/ 2147483647 h 69"/>
              <a:gd name="T18" fmla="*/ 2147483647 w 58"/>
              <a:gd name="T19" fmla="*/ 2147483647 h 69"/>
              <a:gd name="T20" fmla="*/ 2147483647 w 58"/>
              <a:gd name="T21" fmla="*/ 2147483647 h 69"/>
              <a:gd name="T22" fmla="*/ 2147483647 w 58"/>
              <a:gd name="T23" fmla="*/ 2147483647 h 69"/>
              <a:gd name="T24" fmla="*/ 2147483647 w 58"/>
              <a:gd name="T25" fmla="*/ 2147483647 h 69"/>
              <a:gd name="T26" fmla="*/ 2147483647 w 58"/>
              <a:gd name="T27" fmla="*/ 2147483647 h 69"/>
              <a:gd name="T28" fmla="*/ 2147483647 w 58"/>
              <a:gd name="T29" fmla="*/ 2147483647 h 69"/>
              <a:gd name="T30" fmla="*/ 2147483647 w 58"/>
              <a:gd name="T31" fmla="*/ 2147483647 h 69"/>
              <a:gd name="T32" fmla="*/ 2147483647 w 58"/>
              <a:gd name="T33" fmla="*/ 2147483647 h 69"/>
              <a:gd name="T34" fmla="*/ 2147483647 w 58"/>
              <a:gd name="T35" fmla="*/ 2147483647 h 69"/>
              <a:gd name="T36" fmla="*/ 2147483647 w 58"/>
              <a:gd name="T37" fmla="*/ 2147483647 h 69"/>
              <a:gd name="T38" fmla="*/ 2147483647 w 58"/>
              <a:gd name="T39" fmla="*/ 2147483647 h 69"/>
              <a:gd name="T40" fmla="*/ 2147483647 w 58"/>
              <a:gd name="T41" fmla="*/ 2147483647 h 69"/>
              <a:gd name="T42" fmla="*/ 2147483647 w 58"/>
              <a:gd name="T43" fmla="*/ 2147483647 h 69"/>
              <a:gd name="T44" fmla="*/ 2147483647 w 58"/>
              <a:gd name="T45" fmla="*/ 2147483647 h 69"/>
              <a:gd name="T46" fmla="*/ 2147483647 w 58"/>
              <a:gd name="T47" fmla="*/ 2147483647 h 69"/>
              <a:gd name="T48" fmla="*/ 2147483647 w 58"/>
              <a:gd name="T49" fmla="*/ 2147483647 h 69"/>
              <a:gd name="T50" fmla="*/ 2147483647 w 58"/>
              <a:gd name="T51" fmla="*/ 2147483647 h 69"/>
              <a:gd name="T52" fmla="*/ 2147483647 w 58"/>
              <a:gd name="T53" fmla="*/ 2147483647 h 69"/>
              <a:gd name="T54" fmla="*/ 2147483647 w 58"/>
              <a:gd name="T55" fmla="*/ 2147483647 h 69"/>
              <a:gd name="T56" fmla="*/ 2147483647 w 58"/>
              <a:gd name="T57" fmla="*/ 2147483647 h 69"/>
              <a:gd name="T58" fmla="*/ 2147483647 w 58"/>
              <a:gd name="T59" fmla="*/ 2147483647 h 69"/>
              <a:gd name="T60" fmla="*/ 2147483647 w 58"/>
              <a:gd name="T61" fmla="*/ 2147483647 h 69"/>
              <a:gd name="T62" fmla="*/ 2147483647 w 58"/>
              <a:gd name="T63" fmla="*/ 2147483647 h 69"/>
              <a:gd name="T64" fmla="*/ 2147483647 w 58"/>
              <a:gd name="T65" fmla="*/ 2147483647 h 69"/>
              <a:gd name="T66" fmla="*/ 2147483647 w 58"/>
              <a:gd name="T67" fmla="*/ 2147483647 h 69"/>
              <a:gd name="T68" fmla="*/ 2147483647 w 58"/>
              <a:gd name="T69" fmla="*/ 2147483647 h 69"/>
              <a:gd name="T70" fmla="*/ 2147483647 w 58"/>
              <a:gd name="T71" fmla="*/ 2147483647 h 69"/>
              <a:gd name="T72" fmla="*/ 2147483647 w 58"/>
              <a:gd name="T73" fmla="*/ 2147483647 h 69"/>
              <a:gd name="T74" fmla="*/ 2147483647 w 58"/>
              <a:gd name="T75" fmla="*/ 2147483647 h 69"/>
              <a:gd name="T76" fmla="*/ 2147483647 w 58"/>
              <a:gd name="T77" fmla="*/ 2147483647 h 69"/>
              <a:gd name="T78" fmla="*/ 2147483647 w 58"/>
              <a:gd name="T79" fmla="*/ 2147483647 h 69"/>
              <a:gd name="T80" fmla="*/ 2147483647 w 58"/>
              <a:gd name="T81" fmla="*/ 2147483647 h 6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9"/>
              <a:gd name="T125" fmla="*/ 58 w 58"/>
              <a:gd name="T126" fmla="*/ 69 h 6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9">
                <a:moveTo>
                  <a:pt x="11" y="41"/>
                </a:moveTo>
                <a:lnTo>
                  <a:pt x="7" y="38"/>
                </a:lnTo>
                <a:lnTo>
                  <a:pt x="7" y="32"/>
                </a:lnTo>
                <a:lnTo>
                  <a:pt x="0" y="6"/>
                </a:lnTo>
                <a:lnTo>
                  <a:pt x="20" y="2"/>
                </a:lnTo>
                <a:lnTo>
                  <a:pt x="28" y="0"/>
                </a:lnTo>
                <a:lnTo>
                  <a:pt x="28" y="2"/>
                </a:lnTo>
                <a:lnTo>
                  <a:pt x="30" y="8"/>
                </a:lnTo>
                <a:lnTo>
                  <a:pt x="33" y="6"/>
                </a:lnTo>
                <a:lnTo>
                  <a:pt x="33" y="8"/>
                </a:lnTo>
                <a:lnTo>
                  <a:pt x="35" y="10"/>
                </a:lnTo>
                <a:lnTo>
                  <a:pt x="35" y="17"/>
                </a:lnTo>
                <a:lnTo>
                  <a:pt x="35" y="19"/>
                </a:lnTo>
                <a:lnTo>
                  <a:pt x="37" y="19"/>
                </a:lnTo>
                <a:lnTo>
                  <a:pt x="39" y="19"/>
                </a:lnTo>
                <a:lnTo>
                  <a:pt x="46" y="23"/>
                </a:lnTo>
                <a:lnTo>
                  <a:pt x="43" y="25"/>
                </a:lnTo>
                <a:lnTo>
                  <a:pt x="35" y="21"/>
                </a:lnTo>
                <a:lnTo>
                  <a:pt x="33" y="21"/>
                </a:lnTo>
                <a:lnTo>
                  <a:pt x="35" y="25"/>
                </a:lnTo>
                <a:lnTo>
                  <a:pt x="33" y="32"/>
                </a:lnTo>
                <a:lnTo>
                  <a:pt x="37" y="47"/>
                </a:lnTo>
                <a:lnTo>
                  <a:pt x="35" y="56"/>
                </a:lnTo>
                <a:lnTo>
                  <a:pt x="20" y="66"/>
                </a:lnTo>
                <a:lnTo>
                  <a:pt x="11" y="69"/>
                </a:lnTo>
                <a:lnTo>
                  <a:pt x="13" y="69"/>
                </a:lnTo>
                <a:lnTo>
                  <a:pt x="13" y="66"/>
                </a:lnTo>
                <a:lnTo>
                  <a:pt x="11" y="60"/>
                </a:lnTo>
                <a:lnTo>
                  <a:pt x="13" y="58"/>
                </a:lnTo>
                <a:lnTo>
                  <a:pt x="11" y="41"/>
                </a:lnTo>
                <a:close/>
                <a:moveTo>
                  <a:pt x="48" y="23"/>
                </a:moveTo>
                <a:lnTo>
                  <a:pt x="52" y="25"/>
                </a:lnTo>
                <a:lnTo>
                  <a:pt x="58" y="41"/>
                </a:lnTo>
                <a:lnTo>
                  <a:pt x="52" y="43"/>
                </a:lnTo>
                <a:lnTo>
                  <a:pt x="48" y="23"/>
                </a:lnTo>
                <a:close/>
                <a:moveTo>
                  <a:pt x="46" y="32"/>
                </a:moveTo>
                <a:lnTo>
                  <a:pt x="48" y="28"/>
                </a:lnTo>
                <a:lnTo>
                  <a:pt x="50" y="43"/>
                </a:lnTo>
                <a:lnTo>
                  <a:pt x="48" y="43"/>
                </a:lnTo>
                <a:lnTo>
                  <a:pt x="43" y="49"/>
                </a:lnTo>
                <a:lnTo>
                  <a:pt x="46" y="32"/>
                </a:lnTo>
                <a:close/>
              </a:path>
            </a:pathLst>
          </a:custGeom>
          <a:solidFill>
            <a:schemeClr val="bg1"/>
          </a:solidFill>
          <a:ln w="9525">
            <a:noFill/>
            <a:round/>
            <a:headEnd/>
            <a:tailEnd/>
          </a:ln>
        </p:spPr>
        <p:txBody>
          <a:bodyPr/>
          <a:lstStyle/>
          <a:p>
            <a:endParaRPr lang="en-US" dirty="0">
              <a:solidFill>
                <a:prstClr val="black"/>
              </a:solidFill>
            </a:endParaRPr>
          </a:p>
        </p:txBody>
      </p:sp>
      <p:sp>
        <p:nvSpPr>
          <p:cNvPr id="217" name="Freeform 50">
            <a:extLst>
              <a:ext uri="{FF2B5EF4-FFF2-40B4-BE49-F238E27FC236}">
                <a16:creationId xmlns:a16="http://schemas.microsoft.com/office/drawing/2014/main" id="{B52C6412-7A0C-4F1D-89D0-DD2B40EA9058}"/>
              </a:ext>
            </a:extLst>
          </p:cNvPr>
          <p:cNvSpPr>
            <a:spLocks/>
          </p:cNvSpPr>
          <p:nvPr>
            <p:custDataLst>
              <p:tags r:id="rId41"/>
            </p:custDataLst>
          </p:nvPr>
        </p:nvSpPr>
        <p:spPr bwMode="auto">
          <a:xfrm>
            <a:off x="9463269" y="2784447"/>
            <a:ext cx="92064" cy="149159"/>
          </a:xfrm>
          <a:custGeom>
            <a:avLst/>
            <a:gdLst>
              <a:gd name="T0" fmla="*/ 2147483647 w 46"/>
              <a:gd name="T1" fmla="*/ 2147483647 h 69"/>
              <a:gd name="T2" fmla="*/ 2147483647 w 46"/>
              <a:gd name="T3" fmla="*/ 2147483647 h 69"/>
              <a:gd name="T4" fmla="*/ 2147483647 w 46"/>
              <a:gd name="T5" fmla="*/ 2147483647 h 69"/>
              <a:gd name="T6" fmla="*/ 0 w 46"/>
              <a:gd name="T7" fmla="*/ 2147483647 h 69"/>
              <a:gd name="T8" fmla="*/ 2147483647 w 46"/>
              <a:gd name="T9" fmla="*/ 2147483647 h 69"/>
              <a:gd name="T10" fmla="*/ 2147483647 w 46"/>
              <a:gd name="T11" fmla="*/ 0 h 69"/>
              <a:gd name="T12" fmla="*/ 2147483647 w 46"/>
              <a:gd name="T13" fmla="*/ 2147483647 h 69"/>
              <a:gd name="T14" fmla="*/ 2147483647 w 46"/>
              <a:gd name="T15" fmla="*/ 2147483647 h 69"/>
              <a:gd name="T16" fmla="*/ 2147483647 w 46"/>
              <a:gd name="T17" fmla="*/ 2147483647 h 69"/>
              <a:gd name="T18" fmla="*/ 2147483647 w 46"/>
              <a:gd name="T19" fmla="*/ 2147483647 h 69"/>
              <a:gd name="T20" fmla="*/ 2147483647 w 46"/>
              <a:gd name="T21" fmla="*/ 2147483647 h 69"/>
              <a:gd name="T22" fmla="*/ 2147483647 w 46"/>
              <a:gd name="T23" fmla="*/ 2147483647 h 69"/>
              <a:gd name="T24" fmla="*/ 2147483647 w 46"/>
              <a:gd name="T25" fmla="*/ 2147483647 h 69"/>
              <a:gd name="T26" fmla="*/ 2147483647 w 46"/>
              <a:gd name="T27" fmla="*/ 2147483647 h 69"/>
              <a:gd name="T28" fmla="*/ 2147483647 w 46"/>
              <a:gd name="T29" fmla="*/ 2147483647 h 69"/>
              <a:gd name="T30" fmla="*/ 2147483647 w 46"/>
              <a:gd name="T31" fmla="*/ 2147483647 h 69"/>
              <a:gd name="T32" fmla="*/ 2147483647 w 46"/>
              <a:gd name="T33" fmla="*/ 2147483647 h 69"/>
              <a:gd name="T34" fmla="*/ 2147483647 w 46"/>
              <a:gd name="T35" fmla="*/ 2147483647 h 69"/>
              <a:gd name="T36" fmla="*/ 2147483647 w 46"/>
              <a:gd name="T37" fmla="*/ 2147483647 h 69"/>
              <a:gd name="T38" fmla="*/ 2147483647 w 46"/>
              <a:gd name="T39" fmla="*/ 2147483647 h 69"/>
              <a:gd name="T40" fmla="*/ 2147483647 w 46"/>
              <a:gd name="T41" fmla="*/ 2147483647 h 69"/>
              <a:gd name="T42" fmla="*/ 2147483647 w 46"/>
              <a:gd name="T43" fmla="*/ 2147483647 h 69"/>
              <a:gd name="T44" fmla="*/ 2147483647 w 46"/>
              <a:gd name="T45" fmla="*/ 2147483647 h 69"/>
              <a:gd name="T46" fmla="*/ 2147483647 w 46"/>
              <a:gd name="T47" fmla="*/ 2147483647 h 69"/>
              <a:gd name="T48" fmla="*/ 2147483647 w 46"/>
              <a:gd name="T49" fmla="*/ 2147483647 h 69"/>
              <a:gd name="T50" fmla="*/ 2147483647 w 46"/>
              <a:gd name="T51" fmla="*/ 2147483647 h 69"/>
              <a:gd name="T52" fmla="*/ 2147483647 w 46"/>
              <a:gd name="T53" fmla="*/ 2147483647 h 69"/>
              <a:gd name="T54" fmla="*/ 2147483647 w 46"/>
              <a:gd name="T55" fmla="*/ 2147483647 h 69"/>
              <a:gd name="T56" fmla="*/ 2147483647 w 46"/>
              <a:gd name="T57" fmla="*/ 2147483647 h 69"/>
              <a:gd name="T58" fmla="*/ 2147483647 w 46"/>
              <a:gd name="T59" fmla="*/ 2147483647 h 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69"/>
              <a:gd name="T92" fmla="*/ 46 w 46"/>
              <a:gd name="T93" fmla="*/ 69 h 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69">
                <a:moveTo>
                  <a:pt x="11" y="41"/>
                </a:moveTo>
                <a:lnTo>
                  <a:pt x="7" y="38"/>
                </a:lnTo>
                <a:lnTo>
                  <a:pt x="7" y="32"/>
                </a:lnTo>
                <a:lnTo>
                  <a:pt x="0" y="6"/>
                </a:lnTo>
                <a:lnTo>
                  <a:pt x="20" y="2"/>
                </a:lnTo>
                <a:lnTo>
                  <a:pt x="28" y="0"/>
                </a:lnTo>
                <a:lnTo>
                  <a:pt x="28" y="2"/>
                </a:lnTo>
                <a:lnTo>
                  <a:pt x="30" y="8"/>
                </a:lnTo>
                <a:lnTo>
                  <a:pt x="33" y="6"/>
                </a:lnTo>
                <a:lnTo>
                  <a:pt x="33" y="8"/>
                </a:lnTo>
                <a:lnTo>
                  <a:pt x="35" y="10"/>
                </a:lnTo>
                <a:lnTo>
                  <a:pt x="35" y="17"/>
                </a:lnTo>
                <a:lnTo>
                  <a:pt x="35" y="19"/>
                </a:lnTo>
                <a:lnTo>
                  <a:pt x="37" y="19"/>
                </a:lnTo>
                <a:lnTo>
                  <a:pt x="39" y="19"/>
                </a:lnTo>
                <a:lnTo>
                  <a:pt x="46" y="23"/>
                </a:lnTo>
                <a:lnTo>
                  <a:pt x="43" y="25"/>
                </a:lnTo>
                <a:lnTo>
                  <a:pt x="35" y="21"/>
                </a:lnTo>
                <a:lnTo>
                  <a:pt x="33" y="21"/>
                </a:lnTo>
                <a:lnTo>
                  <a:pt x="35" y="25"/>
                </a:lnTo>
                <a:lnTo>
                  <a:pt x="33" y="32"/>
                </a:lnTo>
                <a:lnTo>
                  <a:pt x="37" y="47"/>
                </a:lnTo>
                <a:lnTo>
                  <a:pt x="35" y="56"/>
                </a:lnTo>
                <a:lnTo>
                  <a:pt x="20" y="66"/>
                </a:lnTo>
                <a:lnTo>
                  <a:pt x="11" y="69"/>
                </a:lnTo>
                <a:lnTo>
                  <a:pt x="13" y="69"/>
                </a:lnTo>
                <a:lnTo>
                  <a:pt x="13" y="66"/>
                </a:lnTo>
                <a:lnTo>
                  <a:pt x="11" y="60"/>
                </a:lnTo>
                <a:lnTo>
                  <a:pt x="13" y="58"/>
                </a:lnTo>
                <a:lnTo>
                  <a:pt x="11" y="41"/>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18" name="Freeform 51">
            <a:extLst>
              <a:ext uri="{FF2B5EF4-FFF2-40B4-BE49-F238E27FC236}">
                <a16:creationId xmlns:a16="http://schemas.microsoft.com/office/drawing/2014/main" id="{AC4777FA-C0C0-4680-9315-BE158247852F}"/>
              </a:ext>
            </a:extLst>
          </p:cNvPr>
          <p:cNvSpPr>
            <a:spLocks/>
          </p:cNvSpPr>
          <p:nvPr>
            <p:custDataLst>
              <p:tags r:id="rId42"/>
            </p:custDataLst>
          </p:nvPr>
        </p:nvSpPr>
        <p:spPr bwMode="auto">
          <a:xfrm>
            <a:off x="9559729" y="2834147"/>
            <a:ext cx="19729" cy="43235"/>
          </a:xfrm>
          <a:custGeom>
            <a:avLst/>
            <a:gdLst>
              <a:gd name="T0" fmla="*/ 0 w 10"/>
              <a:gd name="T1" fmla="*/ 0 h 20"/>
              <a:gd name="T2" fmla="*/ 2147483647 w 10"/>
              <a:gd name="T3" fmla="*/ 2147483647 h 20"/>
              <a:gd name="T4" fmla="*/ 2147483647 w 10"/>
              <a:gd name="T5" fmla="*/ 2147483647 h 20"/>
              <a:gd name="T6" fmla="*/ 2147483647 w 10"/>
              <a:gd name="T7" fmla="*/ 2147483647 h 20"/>
              <a:gd name="T8" fmla="*/ 0 w 10"/>
              <a:gd name="T9" fmla="*/ 0 h 20"/>
              <a:gd name="T10" fmla="*/ 0 60000 65536"/>
              <a:gd name="T11" fmla="*/ 0 60000 65536"/>
              <a:gd name="T12" fmla="*/ 0 60000 65536"/>
              <a:gd name="T13" fmla="*/ 0 60000 65536"/>
              <a:gd name="T14" fmla="*/ 0 60000 65536"/>
              <a:gd name="T15" fmla="*/ 0 w 10"/>
              <a:gd name="T16" fmla="*/ 0 h 20"/>
              <a:gd name="T17" fmla="*/ 10 w 10"/>
              <a:gd name="T18" fmla="*/ 20 h 20"/>
            </a:gdLst>
            <a:ahLst/>
            <a:cxnLst>
              <a:cxn ang="T10">
                <a:pos x="T0" y="T1"/>
              </a:cxn>
              <a:cxn ang="T11">
                <a:pos x="T2" y="T3"/>
              </a:cxn>
              <a:cxn ang="T12">
                <a:pos x="T4" y="T5"/>
              </a:cxn>
              <a:cxn ang="T13">
                <a:pos x="T6" y="T7"/>
              </a:cxn>
              <a:cxn ang="T14">
                <a:pos x="T8" y="T9"/>
              </a:cxn>
            </a:cxnLst>
            <a:rect l="T15" t="T16" r="T17" b="T18"/>
            <a:pathLst>
              <a:path w="10" h="20">
                <a:moveTo>
                  <a:pt x="0" y="0"/>
                </a:moveTo>
                <a:lnTo>
                  <a:pt x="4" y="2"/>
                </a:lnTo>
                <a:lnTo>
                  <a:pt x="10" y="18"/>
                </a:lnTo>
                <a:lnTo>
                  <a:pt x="4" y="20"/>
                </a:lnTo>
                <a:lnTo>
                  <a:pt x="0" y="0"/>
                </a:lnTo>
              </a:path>
            </a:pathLst>
          </a:custGeom>
          <a:solidFill>
            <a:schemeClr val="bg1"/>
          </a:solidFill>
          <a:ln w="6350">
            <a:solidFill>
              <a:srgbClr val="404040"/>
            </a:solidFill>
            <a:round/>
            <a:headEnd/>
            <a:tailEnd/>
          </a:ln>
        </p:spPr>
        <p:txBody>
          <a:bodyPr/>
          <a:lstStyle/>
          <a:p>
            <a:endParaRPr lang="en-US" dirty="0">
              <a:solidFill>
                <a:prstClr val="black"/>
              </a:solidFill>
            </a:endParaRPr>
          </a:p>
        </p:txBody>
      </p:sp>
      <p:sp>
        <p:nvSpPr>
          <p:cNvPr id="219" name="Freeform 52">
            <a:extLst>
              <a:ext uri="{FF2B5EF4-FFF2-40B4-BE49-F238E27FC236}">
                <a16:creationId xmlns:a16="http://schemas.microsoft.com/office/drawing/2014/main" id="{9E5AD9D5-D7CD-4270-B231-3AB0838D32F3}"/>
              </a:ext>
            </a:extLst>
          </p:cNvPr>
          <p:cNvSpPr>
            <a:spLocks/>
          </p:cNvSpPr>
          <p:nvPr>
            <p:custDataLst>
              <p:tags r:id="rId43"/>
            </p:custDataLst>
          </p:nvPr>
        </p:nvSpPr>
        <p:spPr bwMode="auto">
          <a:xfrm>
            <a:off x="9550949" y="2844957"/>
            <a:ext cx="13152" cy="45396"/>
          </a:xfrm>
          <a:custGeom>
            <a:avLst/>
            <a:gdLst>
              <a:gd name="T0" fmla="*/ 2147483647 w 7"/>
              <a:gd name="T1" fmla="*/ 2147483647 h 21"/>
              <a:gd name="T2" fmla="*/ 2147483647 w 7"/>
              <a:gd name="T3" fmla="*/ 0 h 21"/>
              <a:gd name="T4" fmla="*/ 2147483647 w 7"/>
              <a:gd name="T5" fmla="*/ 2147483647 h 21"/>
              <a:gd name="T6" fmla="*/ 2147483647 w 7"/>
              <a:gd name="T7" fmla="*/ 2147483647 h 21"/>
              <a:gd name="T8" fmla="*/ 0 w 7"/>
              <a:gd name="T9" fmla="*/ 2147483647 h 21"/>
              <a:gd name="T10" fmla="*/ 2147483647 w 7"/>
              <a:gd name="T11" fmla="*/ 2147483647 h 21"/>
              <a:gd name="T12" fmla="*/ 0 60000 65536"/>
              <a:gd name="T13" fmla="*/ 0 60000 65536"/>
              <a:gd name="T14" fmla="*/ 0 60000 65536"/>
              <a:gd name="T15" fmla="*/ 0 60000 65536"/>
              <a:gd name="T16" fmla="*/ 0 60000 65536"/>
              <a:gd name="T17" fmla="*/ 0 60000 65536"/>
              <a:gd name="T18" fmla="*/ 0 w 7"/>
              <a:gd name="T19" fmla="*/ 0 h 21"/>
              <a:gd name="T20" fmla="*/ 7 w 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7" h="21">
                <a:moveTo>
                  <a:pt x="3" y="4"/>
                </a:moveTo>
                <a:lnTo>
                  <a:pt x="5" y="0"/>
                </a:lnTo>
                <a:lnTo>
                  <a:pt x="7" y="15"/>
                </a:lnTo>
                <a:lnTo>
                  <a:pt x="5" y="15"/>
                </a:lnTo>
                <a:lnTo>
                  <a:pt x="0" y="21"/>
                </a:lnTo>
                <a:lnTo>
                  <a:pt x="3" y="4"/>
                </a:lnTo>
              </a:path>
            </a:pathLst>
          </a:custGeom>
          <a:solidFill>
            <a:schemeClr val="bg1"/>
          </a:solidFill>
          <a:ln w="6350">
            <a:solidFill>
              <a:srgbClr val="404040"/>
            </a:solidFill>
            <a:round/>
            <a:headEnd/>
            <a:tailEnd/>
          </a:ln>
        </p:spPr>
        <p:txBody>
          <a:bodyPr/>
          <a:lstStyle/>
          <a:p>
            <a:endParaRPr lang="en-US" dirty="0">
              <a:solidFill>
                <a:prstClr val="black"/>
              </a:solidFill>
            </a:endParaRPr>
          </a:p>
        </p:txBody>
      </p:sp>
      <p:sp>
        <p:nvSpPr>
          <p:cNvPr id="220" name="Freeform 53">
            <a:extLst>
              <a:ext uri="{FF2B5EF4-FFF2-40B4-BE49-F238E27FC236}">
                <a16:creationId xmlns:a16="http://schemas.microsoft.com/office/drawing/2014/main" id="{E5C0C8C9-7F4C-4A6A-861D-9C7F86A4B566}"/>
              </a:ext>
            </a:extLst>
          </p:cNvPr>
          <p:cNvSpPr>
            <a:spLocks/>
          </p:cNvSpPr>
          <p:nvPr>
            <p:custDataLst>
              <p:tags r:id="rId44"/>
            </p:custDataLst>
          </p:nvPr>
        </p:nvSpPr>
        <p:spPr bwMode="auto">
          <a:xfrm>
            <a:off x="9044597" y="3030880"/>
            <a:ext cx="195088" cy="475575"/>
          </a:xfrm>
          <a:custGeom>
            <a:avLst/>
            <a:gdLst>
              <a:gd name="T0" fmla="*/ 2147483647 w 97"/>
              <a:gd name="T1" fmla="*/ 2147483647 h 220"/>
              <a:gd name="T2" fmla="*/ 2147483647 w 97"/>
              <a:gd name="T3" fmla="*/ 2147483647 h 220"/>
              <a:gd name="T4" fmla="*/ 2147483647 w 97"/>
              <a:gd name="T5" fmla="*/ 2147483647 h 220"/>
              <a:gd name="T6" fmla="*/ 2147483647 w 97"/>
              <a:gd name="T7" fmla="*/ 2147483647 h 220"/>
              <a:gd name="T8" fmla="*/ 2147483647 w 97"/>
              <a:gd name="T9" fmla="*/ 2147483647 h 220"/>
              <a:gd name="T10" fmla="*/ 2147483647 w 97"/>
              <a:gd name="T11" fmla="*/ 2147483647 h 220"/>
              <a:gd name="T12" fmla="*/ 2147483647 w 97"/>
              <a:gd name="T13" fmla="*/ 2147483647 h 220"/>
              <a:gd name="T14" fmla="*/ 2147483647 w 97"/>
              <a:gd name="T15" fmla="*/ 2147483647 h 220"/>
              <a:gd name="T16" fmla="*/ 2147483647 w 97"/>
              <a:gd name="T17" fmla="*/ 2147483647 h 220"/>
              <a:gd name="T18" fmla="*/ 2147483647 w 97"/>
              <a:gd name="T19" fmla="*/ 2147483647 h 220"/>
              <a:gd name="T20" fmla="*/ 2147483647 w 97"/>
              <a:gd name="T21" fmla="*/ 2147483647 h 220"/>
              <a:gd name="T22" fmla="*/ 2147483647 w 97"/>
              <a:gd name="T23" fmla="*/ 2147483647 h 220"/>
              <a:gd name="T24" fmla="*/ 2147483647 w 97"/>
              <a:gd name="T25" fmla="*/ 2147483647 h 220"/>
              <a:gd name="T26" fmla="*/ 2147483647 w 97"/>
              <a:gd name="T27" fmla="*/ 2147483647 h 220"/>
              <a:gd name="T28" fmla="*/ 2147483647 w 97"/>
              <a:gd name="T29" fmla="*/ 2147483647 h 220"/>
              <a:gd name="T30" fmla="*/ 2147483647 w 97"/>
              <a:gd name="T31" fmla="*/ 2147483647 h 220"/>
              <a:gd name="T32" fmla="*/ 2147483647 w 97"/>
              <a:gd name="T33" fmla="*/ 2147483647 h 220"/>
              <a:gd name="T34" fmla="*/ 2147483647 w 97"/>
              <a:gd name="T35" fmla="*/ 2147483647 h 220"/>
              <a:gd name="T36" fmla="*/ 2147483647 w 97"/>
              <a:gd name="T37" fmla="*/ 2147483647 h 220"/>
              <a:gd name="T38" fmla="*/ 2147483647 w 97"/>
              <a:gd name="T39" fmla="*/ 2147483647 h 220"/>
              <a:gd name="T40" fmla="*/ 2147483647 w 97"/>
              <a:gd name="T41" fmla="*/ 2147483647 h 220"/>
              <a:gd name="T42" fmla="*/ 2147483647 w 97"/>
              <a:gd name="T43" fmla="*/ 2147483647 h 220"/>
              <a:gd name="T44" fmla="*/ 2147483647 w 97"/>
              <a:gd name="T45" fmla="*/ 2147483647 h 220"/>
              <a:gd name="T46" fmla="*/ 2147483647 w 97"/>
              <a:gd name="T47" fmla="*/ 2147483647 h 220"/>
              <a:gd name="T48" fmla="*/ 2147483647 w 97"/>
              <a:gd name="T49" fmla="*/ 2147483647 h 220"/>
              <a:gd name="T50" fmla="*/ 2147483647 w 97"/>
              <a:gd name="T51" fmla="*/ 2147483647 h 220"/>
              <a:gd name="T52" fmla="*/ 2147483647 w 97"/>
              <a:gd name="T53" fmla="*/ 2147483647 h 220"/>
              <a:gd name="T54" fmla="*/ 2147483647 w 97"/>
              <a:gd name="T55" fmla="*/ 2147483647 h 220"/>
              <a:gd name="T56" fmla="*/ 2147483647 w 97"/>
              <a:gd name="T57" fmla="*/ 2147483647 h 220"/>
              <a:gd name="T58" fmla="*/ 2147483647 w 97"/>
              <a:gd name="T59" fmla="*/ 2147483647 h 220"/>
              <a:gd name="T60" fmla="*/ 2147483647 w 97"/>
              <a:gd name="T61" fmla="*/ 2147483647 h 220"/>
              <a:gd name="T62" fmla="*/ 2147483647 w 97"/>
              <a:gd name="T63" fmla="*/ 2147483647 h 220"/>
              <a:gd name="T64" fmla="*/ 2147483647 w 97"/>
              <a:gd name="T65" fmla="*/ 0 h 220"/>
              <a:gd name="T66" fmla="*/ 2147483647 w 97"/>
              <a:gd name="T67" fmla="*/ 2147483647 h 220"/>
              <a:gd name="T68" fmla="*/ 2147483647 w 97"/>
              <a:gd name="T69" fmla="*/ 2147483647 h 220"/>
              <a:gd name="T70" fmla="*/ 2147483647 w 97"/>
              <a:gd name="T71" fmla="*/ 2147483647 h 220"/>
              <a:gd name="T72" fmla="*/ 2147483647 w 97"/>
              <a:gd name="T73" fmla="*/ 2147483647 h 220"/>
              <a:gd name="T74" fmla="*/ 2147483647 w 97"/>
              <a:gd name="T75" fmla="*/ 2147483647 h 220"/>
              <a:gd name="T76" fmla="*/ 2147483647 w 97"/>
              <a:gd name="T77" fmla="*/ 2147483647 h 220"/>
              <a:gd name="T78" fmla="*/ 2147483647 w 97"/>
              <a:gd name="T79" fmla="*/ 2147483647 h 220"/>
              <a:gd name="T80" fmla="*/ 2147483647 w 97"/>
              <a:gd name="T81" fmla="*/ 2147483647 h 220"/>
              <a:gd name="T82" fmla="*/ 2147483647 w 97"/>
              <a:gd name="T83" fmla="*/ 2147483647 h 220"/>
              <a:gd name="T84" fmla="*/ 2147483647 w 97"/>
              <a:gd name="T85" fmla="*/ 2147483647 h 220"/>
              <a:gd name="T86" fmla="*/ 2147483647 w 97"/>
              <a:gd name="T87" fmla="*/ 2147483647 h 220"/>
              <a:gd name="T88" fmla="*/ 2147483647 w 97"/>
              <a:gd name="T89" fmla="*/ 2147483647 h 220"/>
              <a:gd name="T90" fmla="*/ 2147483647 w 97"/>
              <a:gd name="T91" fmla="*/ 2147483647 h 220"/>
              <a:gd name="T92" fmla="*/ 2147483647 w 97"/>
              <a:gd name="T93" fmla="*/ 2147483647 h 220"/>
              <a:gd name="T94" fmla="*/ 2147483647 w 97"/>
              <a:gd name="T95" fmla="*/ 2147483647 h 220"/>
              <a:gd name="T96" fmla="*/ 2147483647 w 97"/>
              <a:gd name="T97" fmla="*/ 2147483647 h 220"/>
              <a:gd name="T98" fmla="*/ 2147483647 w 97"/>
              <a:gd name="T99" fmla="*/ 2147483647 h 220"/>
              <a:gd name="T100" fmla="*/ 2147483647 w 97"/>
              <a:gd name="T101" fmla="*/ 2147483647 h 220"/>
              <a:gd name="T102" fmla="*/ 2147483647 w 97"/>
              <a:gd name="T103" fmla="*/ 2147483647 h 220"/>
              <a:gd name="T104" fmla="*/ 2147483647 w 97"/>
              <a:gd name="T105" fmla="*/ 2147483647 h 220"/>
              <a:gd name="T106" fmla="*/ 2147483647 w 97"/>
              <a:gd name="T107" fmla="*/ 2147483647 h 220"/>
              <a:gd name="T108" fmla="*/ 2147483647 w 97"/>
              <a:gd name="T109" fmla="*/ 2147483647 h 220"/>
              <a:gd name="T110" fmla="*/ 2147483647 w 97"/>
              <a:gd name="T111" fmla="*/ 2147483647 h 220"/>
              <a:gd name="T112" fmla="*/ 2147483647 w 97"/>
              <a:gd name="T113" fmla="*/ 2147483647 h 220"/>
              <a:gd name="T114" fmla="*/ 0 w 97"/>
              <a:gd name="T115" fmla="*/ 2147483647 h 2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7"/>
              <a:gd name="T175" fmla="*/ 0 h 220"/>
              <a:gd name="T176" fmla="*/ 97 w 97"/>
              <a:gd name="T177" fmla="*/ 220 h 2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7" h="220">
                <a:moveTo>
                  <a:pt x="4" y="160"/>
                </a:moveTo>
                <a:lnTo>
                  <a:pt x="6" y="160"/>
                </a:lnTo>
                <a:lnTo>
                  <a:pt x="4" y="158"/>
                </a:lnTo>
                <a:lnTo>
                  <a:pt x="6" y="155"/>
                </a:lnTo>
                <a:lnTo>
                  <a:pt x="9" y="153"/>
                </a:lnTo>
                <a:lnTo>
                  <a:pt x="11" y="147"/>
                </a:lnTo>
                <a:lnTo>
                  <a:pt x="17" y="147"/>
                </a:lnTo>
                <a:lnTo>
                  <a:pt x="21" y="140"/>
                </a:lnTo>
                <a:lnTo>
                  <a:pt x="26" y="140"/>
                </a:lnTo>
                <a:lnTo>
                  <a:pt x="26" y="138"/>
                </a:lnTo>
                <a:lnTo>
                  <a:pt x="24" y="136"/>
                </a:lnTo>
                <a:lnTo>
                  <a:pt x="24" y="134"/>
                </a:lnTo>
                <a:lnTo>
                  <a:pt x="26" y="132"/>
                </a:lnTo>
                <a:lnTo>
                  <a:pt x="28" y="132"/>
                </a:lnTo>
                <a:lnTo>
                  <a:pt x="28" y="129"/>
                </a:lnTo>
                <a:lnTo>
                  <a:pt x="32" y="123"/>
                </a:lnTo>
                <a:lnTo>
                  <a:pt x="32" y="121"/>
                </a:lnTo>
                <a:lnTo>
                  <a:pt x="41" y="119"/>
                </a:lnTo>
                <a:lnTo>
                  <a:pt x="41" y="114"/>
                </a:lnTo>
                <a:lnTo>
                  <a:pt x="47" y="110"/>
                </a:lnTo>
                <a:lnTo>
                  <a:pt x="47" y="108"/>
                </a:lnTo>
                <a:lnTo>
                  <a:pt x="45" y="106"/>
                </a:lnTo>
                <a:lnTo>
                  <a:pt x="39" y="101"/>
                </a:lnTo>
                <a:lnTo>
                  <a:pt x="37" y="99"/>
                </a:lnTo>
                <a:lnTo>
                  <a:pt x="30" y="99"/>
                </a:lnTo>
                <a:lnTo>
                  <a:pt x="30" y="97"/>
                </a:lnTo>
                <a:lnTo>
                  <a:pt x="28" y="97"/>
                </a:lnTo>
                <a:lnTo>
                  <a:pt x="26" y="91"/>
                </a:lnTo>
                <a:lnTo>
                  <a:pt x="24" y="91"/>
                </a:lnTo>
                <a:lnTo>
                  <a:pt x="21" y="88"/>
                </a:lnTo>
                <a:lnTo>
                  <a:pt x="17" y="86"/>
                </a:lnTo>
                <a:lnTo>
                  <a:pt x="17" y="82"/>
                </a:lnTo>
                <a:lnTo>
                  <a:pt x="15" y="78"/>
                </a:lnTo>
                <a:lnTo>
                  <a:pt x="13" y="78"/>
                </a:lnTo>
                <a:lnTo>
                  <a:pt x="9" y="78"/>
                </a:lnTo>
                <a:lnTo>
                  <a:pt x="6" y="78"/>
                </a:lnTo>
                <a:lnTo>
                  <a:pt x="6" y="76"/>
                </a:lnTo>
                <a:lnTo>
                  <a:pt x="6" y="73"/>
                </a:lnTo>
                <a:lnTo>
                  <a:pt x="4" y="71"/>
                </a:lnTo>
                <a:lnTo>
                  <a:pt x="6" y="69"/>
                </a:lnTo>
                <a:lnTo>
                  <a:pt x="4" y="69"/>
                </a:lnTo>
                <a:lnTo>
                  <a:pt x="4" y="65"/>
                </a:lnTo>
                <a:lnTo>
                  <a:pt x="4" y="60"/>
                </a:lnTo>
                <a:lnTo>
                  <a:pt x="6" y="58"/>
                </a:lnTo>
                <a:lnTo>
                  <a:pt x="9" y="58"/>
                </a:lnTo>
                <a:lnTo>
                  <a:pt x="9" y="56"/>
                </a:lnTo>
                <a:lnTo>
                  <a:pt x="9" y="54"/>
                </a:lnTo>
                <a:lnTo>
                  <a:pt x="9" y="52"/>
                </a:lnTo>
                <a:lnTo>
                  <a:pt x="11" y="50"/>
                </a:lnTo>
                <a:lnTo>
                  <a:pt x="9" y="50"/>
                </a:lnTo>
                <a:lnTo>
                  <a:pt x="9" y="47"/>
                </a:lnTo>
                <a:lnTo>
                  <a:pt x="4" y="41"/>
                </a:lnTo>
                <a:lnTo>
                  <a:pt x="4" y="39"/>
                </a:lnTo>
                <a:lnTo>
                  <a:pt x="6" y="37"/>
                </a:lnTo>
                <a:lnTo>
                  <a:pt x="9" y="34"/>
                </a:lnTo>
                <a:lnTo>
                  <a:pt x="11" y="32"/>
                </a:lnTo>
                <a:lnTo>
                  <a:pt x="13" y="28"/>
                </a:lnTo>
                <a:lnTo>
                  <a:pt x="11" y="28"/>
                </a:lnTo>
                <a:lnTo>
                  <a:pt x="11" y="26"/>
                </a:lnTo>
                <a:lnTo>
                  <a:pt x="13" y="24"/>
                </a:lnTo>
                <a:lnTo>
                  <a:pt x="15" y="22"/>
                </a:lnTo>
                <a:lnTo>
                  <a:pt x="15" y="15"/>
                </a:lnTo>
                <a:lnTo>
                  <a:pt x="17" y="6"/>
                </a:lnTo>
                <a:lnTo>
                  <a:pt x="21" y="6"/>
                </a:lnTo>
                <a:lnTo>
                  <a:pt x="21" y="4"/>
                </a:lnTo>
                <a:lnTo>
                  <a:pt x="26" y="0"/>
                </a:lnTo>
                <a:lnTo>
                  <a:pt x="50" y="9"/>
                </a:lnTo>
                <a:lnTo>
                  <a:pt x="60" y="11"/>
                </a:lnTo>
                <a:lnTo>
                  <a:pt x="63" y="11"/>
                </a:lnTo>
                <a:lnTo>
                  <a:pt x="88" y="19"/>
                </a:lnTo>
                <a:lnTo>
                  <a:pt x="88" y="22"/>
                </a:lnTo>
                <a:lnTo>
                  <a:pt x="88" y="26"/>
                </a:lnTo>
                <a:lnTo>
                  <a:pt x="88" y="28"/>
                </a:lnTo>
                <a:lnTo>
                  <a:pt x="86" y="39"/>
                </a:lnTo>
                <a:lnTo>
                  <a:pt x="86" y="43"/>
                </a:lnTo>
                <a:lnTo>
                  <a:pt x="86" y="47"/>
                </a:lnTo>
                <a:lnTo>
                  <a:pt x="78" y="54"/>
                </a:lnTo>
                <a:lnTo>
                  <a:pt x="78" y="50"/>
                </a:lnTo>
                <a:lnTo>
                  <a:pt x="78" y="52"/>
                </a:lnTo>
                <a:lnTo>
                  <a:pt x="75" y="60"/>
                </a:lnTo>
                <a:lnTo>
                  <a:pt x="71" y="69"/>
                </a:lnTo>
                <a:lnTo>
                  <a:pt x="73" y="73"/>
                </a:lnTo>
                <a:lnTo>
                  <a:pt x="78" y="73"/>
                </a:lnTo>
                <a:lnTo>
                  <a:pt x="82" y="71"/>
                </a:lnTo>
                <a:lnTo>
                  <a:pt x="95" y="82"/>
                </a:lnTo>
                <a:lnTo>
                  <a:pt x="97" y="104"/>
                </a:lnTo>
                <a:lnTo>
                  <a:pt x="93" y="101"/>
                </a:lnTo>
                <a:lnTo>
                  <a:pt x="93" y="104"/>
                </a:lnTo>
                <a:lnTo>
                  <a:pt x="97" y="104"/>
                </a:lnTo>
                <a:lnTo>
                  <a:pt x="97" y="106"/>
                </a:lnTo>
                <a:lnTo>
                  <a:pt x="93" y="108"/>
                </a:lnTo>
                <a:lnTo>
                  <a:pt x="95" y="108"/>
                </a:lnTo>
                <a:lnTo>
                  <a:pt x="93" y="125"/>
                </a:lnTo>
                <a:lnTo>
                  <a:pt x="95" y="138"/>
                </a:lnTo>
                <a:lnTo>
                  <a:pt x="93" y="149"/>
                </a:lnTo>
                <a:lnTo>
                  <a:pt x="88" y="155"/>
                </a:lnTo>
                <a:lnTo>
                  <a:pt x="88" y="160"/>
                </a:lnTo>
                <a:lnTo>
                  <a:pt x="82" y="160"/>
                </a:lnTo>
                <a:lnTo>
                  <a:pt x="86" y="164"/>
                </a:lnTo>
                <a:lnTo>
                  <a:pt x="82" y="170"/>
                </a:lnTo>
                <a:lnTo>
                  <a:pt x="82" y="175"/>
                </a:lnTo>
                <a:lnTo>
                  <a:pt x="71" y="186"/>
                </a:lnTo>
                <a:lnTo>
                  <a:pt x="73" y="186"/>
                </a:lnTo>
                <a:lnTo>
                  <a:pt x="73" y="190"/>
                </a:lnTo>
                <a:lnTo>
                  <a:pt x="65" y="214"/>
                </a:lnTo>
                <a:lnTo>
                  <a:pt x="60" y="218"/>
                </a:lnTo>
                <a:lnTo>
                  <a:pt x="63" y="220"/>
                </a:lnTo>
                <a:lnTo>
                  <a:pt x="56" y="220"/>
                </a:lnTo>
                <a:lnTo>
                  <a:pt x="58" y="205"/>
                </a:lnTo>
                <a:lnTo>
                  <a:pt x="56" y="201"/>
                </a:lnTo>
                <a:lnTo>
                  <a:pt x="47" y="201"/>
                </a:lnTo>
                <a:lnTo>
                  <a:pt x="41" y="203"/>
                </a:lnTo>
                <a:lnTo>
                  <a:pt x="15" y="190"/>
                </a:lnTo>
                <a:lnTo>
                  <a:pt x="4" y="183"/>
                </a:lnTo>
                <a:lnTo>
                  <a:pt x="6" y="175"/>
                </a:lnTo>
                <a:lnTo>
                  <a:pt x="0" y="170"/>
                </a:lnTo>
                <a:lnTo>
                  <a:pt x="4" y="160"/>
                </a:lnTo>
                <a:close/>
              </a:path>
            </a:pathLst>
          </a:custGeom>
          <a:solidFill>
            <a:srgbClr val="FFC000"/>
          </a:solidFill>
          <a:ln w="9525">
            <a:noFill/>
            <a:round/>
            <a:headEnd/>
            <a:tailEnd/>
          </a:ln>
        </p:spPr>
        <p:txBody>
          <a:bodyPr/>
          <a:lstStyle/>
          <a:p>
            <a:endParaRPr lang="en-US" dirty="0">
              <a:solidFill>
                <a:prstClr val="black"/>
              </a:solidFill>
            </a:endParaRPr>
          </a:p>
        </p:txBody>
      </p:sp>
      <p:sp>
        <p:nvSpPr>
          <p:cNvPr id="221" name="Freeform 54">
            <a:extLst>
              <a:ext uri="{FF2B5EF4-FFF2-40B4-BE49-F238E27FC236}">
                <a16:creationId xmlns:a16="http://schemas.microsoft.com/office/drawing/2014/main" id="{5FEBE5ED-A3C8-477B-8349-DFA9533F1E11}"/>
              </a:ext>
            </a:extLst>
          </p:cNvPr>
          <p:cNvSpPr>
            <a:spLocks/>
          </p:cNvSpPr>
          <p:nvPr>
            <p:custDataLst>
              <p:tags r:id="rId45"/>
            </p:custDataLst>
          </p:nvPr>
        </p:nvSpPr>
        <p:spPr bwMode="auto">
          <a:xfrm>
            <a:off x="9044597" y="3030880"/>
            <a:ext cx="195088" cy="475575"/>
          </a:xfrm>
          <a:custGeom>
            <a:avLst/>
            <a:gdLst>
              <a:gd name="T0" fmla="*/ 2147483647 w 97"/>
              <a:gd name="T1" fmla="*/ 2147483647 h 220"/>
              <a:gd name="T2" fmla="*/ 2147483647 w 97"/>
              <a:gd name="T3" fmla="*/ 2147483647 h 220"/>
              <a:gd name="T4" fmla="*/ 2147483647 w 97"/>
              <a:gd name="T5" fmla="*/ 2147483647 h 220"/>
              <a:gd name="T6" fmla="*/ 2147483647 w 97"/>
              <a:gd name="T7" fmla="*/ 2147483647 h 220"/>
              <a:gd name="T8" fmla="*/ 2147483647 w 97"/>
              <a:gd name="T9" fmla="*/ 2147483647 h 220"/>
              <a:gd name="T10" fmla="*/ 2147483647 w 97"/>
              <a:gd name="T11" fmla="*/ 2147483647 h 220"/>
              <a:gd name="T12" fmla="*/ 2147483647 w 97"/>
              <a:gd name="T13" fmla="*/ 2147483647 h 220"/>
              <a:gd name="T14" fmla="*/ 2147483647 w 97"/>
              <a:gd name="T15" fmla="*/ 2147483647 h 220"/>
              <a:gd name="T16" fmla="*/ 2147483647 w 97"/>
              <a:gd name="T17" fmla="*/ 2147483647 h 220"/>
              <a:gd name="T18" fmla="*/ 2147483647 w 97"/>
              <a:gd name="T19" fmla="*/ 2147483647 h 220"/>
              <a:gd name="T20" fmla="*/ 2147483647 w 97"/>
              <a:gd name="T21" fmla="*/ 2147483647 h 220"/>
              <a:gd name="T22" fmla="*/ 2147483647 w 97"/>
              <a:gd name="T23" fmla="*/ 2147483647 h 220"/>
              <a:gd name="T24" fmla="*/ 2147483647 w 97"/>
              <a:gd name="T25" fmla="*/ 2147483647 h 220"/>
              <a:gd name="T26" fmla="*/ 2147483647 w 97"/>
              <a:gd name="T27" fmla="*/ 2147483647 h 220"/>
              <a:gd name="T28" fmla="*/ 2147483647 w 97"/>
              <a:gd name="T29" fmla="*/ 2147483647 h 220"/>
              <a:gd name="T30" fmla="*/ 2147483647 w 97"/>
              <a:gd name="T31" fmla="*/ 2147483647 h 220"/>
              <a:gd name="T32" fmla="*/ 2147483647 w 97"/>
              <a:gd name="T33" fmla="*/ 2147483647 h 220"/>
              <a:gd name="T34" fmla="*/ 2147483647 w 97"/>
              <a:gd name="T35" fmla="*/ 2147483647 h 220"/>
              <a:gd name="T36" fmla="*/ 2147483647 w 97"/>
              <a:gd name="T37" fmla="*/ 2147483647 h 220"/>
              <a:gd name="T38" fmla="*/ 2147483647 w 97"/>
              <a:gd name="T39" fmla="*/ 2147483647 h 220"/>
              <a:gd name="T40" fmla="*/ 2147483647 w 97"/>
              <a:gd name="T41" fmla="*/ 2147483647 h 220"/>
              <a:gd name="T42" fmla="*/ 2147483647 w 97"/>
              <a:gd name="T43" fmla="*/ 2147483647 h 220"/>
              <a:gd name="T44" fmla="*/ 2147483647 w 97"/>
              <a:gd name="T45" fmla="*/ 2147483647 h 220"/>
              <a:gd name="T46" fmla="*/ 2147483647 w 97"/>
              <a:gd name="T47" fmla="*/ 2147483647 h 220"/>
              <a:gd name="T48" fmla="*/ 2147483647 w 97"/>
              <a:gd name="T49" fmla="*/ 2147483647 h 220"/>
              <a:gd name="T50" fmla="*/ 2147483647 w 97"/>
              <a:gd name="T51" fmla="*/ 2147483647 h 220"/>
              <a:gd name="T52" fmla="*/ 2147483647 w 97"/>
              <a:gd name="T53" fmla="*/ 2147483647 h 220"/>
              <a:gd name="T54" fmla="*/ 2147483647 w 97"/>
              <a:gd name="T55" fmla="*/ 2147483647 h 220"/>
              <a:gd name="T56" fmla="*/ 2147483647 w 97"/>
              <a:gd name="T57" fmla="*/ 2147483647 h 220"/>
              <a:gd name="T58" fmla="*/ 2147483647 w 97"/>
              <a:gd name="T59" fmla="*/ 2147483647 h 220"/>
              <a:gd name="T60" fmla="*/ 2147483647 w 97"/>
              <a:gd name="T61" fmla="*/ 2147483647 h 220"/>
              <a:gd name="T62" fmla="*/ 2147483647 w 97"/>
              <a:gd name="T63" fmla="*/ 2147483647 h 220"/>
              <a:gd name="T64" fmla="*/ 2147483647 w 97"/>
              <a:gd name="T65" fmla="*/ 0 h 220"/>
              <a:gd name="T66" fmla="*/ 2147483647 w 97"/>
              <a:gd name="T67" fmla="*/ 2147483647 h 220"/>
              <a:gd name="T68" fmla="*/ 2147483647 w 97"/>
              <a:gd name="T69" fmla="*/ 2147483647 h 220"/>
              <a:gd name="T70" fmla="*/ 2147483647 w 97"/>
              <a:gd name="T71" fmla="*/ 2147483647 h 220"/>
              <a:gd name="T72" fmla="*/ 2147483647 w 97"/>
              <a:gd name="T73" fmla="*/ 2147483647 h 220"/>
              <a:gd name="T74" fmla="*/ 2147483647 w 97"/>
              <a:gd name="T75" fmla="*/ 2147483647 h 220"/>
              <a:gd name="T76" fmla="*/ 2147483647 w 97"/>
              <a:gd name="T77" fmla="*/ 2147483647 h 220"/>
              <a:gd name="T78" fmla="*/ 2147483647 w 97"/>
              <a:gd name="T79" fmla="*/ 2147483647 h 220"/>
              <a:gd name="T80" fmla="*/ 2147483647 w 97"/>
              <a:gd name="T81" fmla="*/ 2147483647 h 220"/>
              <a:gd name="T82" fmla="*/ 2147483647 w 97"/>
              <a:gd name="T83" fmla="*/ 2147483647 h 220"/>
              <a:gd name="T84" fmla="*/ 2147483647 w 97"/>
              <a:gd name="T85" fmla="*/ 2147483647 h 220"/>
              <a:gd name="T86" fmla="*/ 2147483647 w 97"/>
              <a:gd name="T87" fmla="*/ 2147483647 h 220"/>
              <a:gd name="T88" fmla="*/ 2147483647 w 97"/>
              <a:gd name="T89" fmla="*/ 2147483647 h 220"/>
              <a:gd name="T90" fmla="*/ 2147483647 w 97"/>
              <a:gd name="T91" fmla="*/ 2147483647 h 220"/>
              <a:gd name="T92" fmla="*/ 2147483647 w 97"/>
              <a:gd name="T93" fmla="*/ 2147483647 h 220"/>
              <a:gd name="T94" fmla="*/ 2147483647 w 97"/>
              <a:gd name="T95" fmla="*/ 2147483647 h 220"/>
              <a:gd name="T96" fmla="*/ 2147483647 w 97"/>
              <a:gd name="T97" fmla="*/ 2147483647 h 220"/>
              <a:gd name="T98" fmla="*/ 2147483647 w 97"/>
              <a:gd name="T99" fmla="*/ 2147483647 h 220"/>
              <a:gd name="T100" fmla="*/ 2147483647 w 97"/>
              <a:gd name="T101" fmla="*/ 2147483647 h 220"/>
              <a:gd name="T102" fmla="*/ 2147483647 w 97"/>
              <a:gd name="T103" fmla="*/ 2147483647 h 220"/>
              <a:gd name="T104" fmla="*/ 2147483647 w 97"/>
              <a:gd name="T105" fmla="*/ 2147483647 h 220"/>
              <a:gd name="T106" fmla="*/ 2147483647 w 97"/>
              <a:gd name="T107" fmla="*/ 2147483647 h 220"/>
              <a:gd name="T108" fmla="*/ 2147483647 w 97"/>
              <a:gd name="T109" fmla="*/ 2147483647 h 220"/>
              <a:gd name="T110" fmla="*/ 2147483647 w 97"/>
              <a:gd name="T111" fmla="*/ 2147483647 h 220"/>
              <a:gd name="T112" fmla="*/ 2147483647 w 97"/>
              <a:gd name="T113" fmla="*/ 2147483647 h 220"/>
              <a:gd name="T114" fmla="*/ 0 w 97"/>
              <a:gd name="T115" fmla="*/ 2147483647 h 2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7"/>
              <a:gd name="T175" fmla="*/ 0 h 220"/>
              <a:gd name="T176" fmla="*/ 97 w 97"/>
              <a:gd name="T177" fmla="*/ 220 h 2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7" h="220">
                <a:moveTo>
                  <a:pt x="4" y="160"/>
                </a:moveTo>
                <a:lnTo>
                  <a:pt x="6" y="160"/>
                </a:lnTo>
                <a:lnTo>
                  <a:pt x="4" y="158"/>
                </a:lnTo>
                <a:lnTo>
                  <a:pt x="6" y="155"/>
                </a:lnTo>
                <a:lnTo>
                  <a:pt x="9" y="153"/>
                </a:lnTo>
                <a:lnTo>
                  <a:pt x="11" y="147"/>
                </a:lnTo>
                <a:lnTo>
                  <a:pt x="17" y="147"/>
                </a:lnTo>
                <a:lnTo>
                  <a:pt x="21" y="140"/>
                </a:lnTo>
                <a:lnTo>
                  <a:pt x="26" y="140"/>
                </a:lnTo>
                <a:lnTo>
                  <a:pt x="26" y="138"/>
                </a:lnTo>
                <a:lnTo>
                  <a:pt x="24" y="136"/>
                </a:lnTo>
                <a:lnTo>
                  <a:pt x="24" y="134"/>
                </a:lnTo>
                <a:lnTo>
                  <a:pt x="26" y="132"/>
                </a:lnTo>
                <a:lnTo>
                  <a:pt x="28" y="132"/>
                </a:lnTo>
                <a:lnTo>
                  <a:pt x="28" y="129"/>
                </a:lnTo>
                <a:lnTo>
                  <a:pt x="32" y="123"/>
                </a:lnTo>
                <a:lnTo>
                  <a:pt x="32" y="121"/>
                </a:lnTo>
                <a:lnTo>
                  <a:pt x="41" y="119"/>
                </a:lnTo>
                <a:lnTo>
                  <a:pt x="41" y="114"/>
                </a:lnTo>
                <a:lnTo>
                  <a:pt x="47" y="110"/>
                </a:lnTo>
                <a:lnTo>
                  <a:pt x="47" y="108"/>
                </a:lnTo>
                <a:lnTo>
                  <a:pt x="45" y="106"/>
                </a:lnTo>
                <a:lnTo>
                  <a:pt x="39" y="101"/>
                </a:lnTo>
                <a:lnTo>
                  <a:pt x="37" y="99"/>
                </a:lnTo>
                <a:lnTo>
                  <a:pt x="30" y="99"/>
                </a:lnTo>
                <a:lnTo>
                  <a:pt x="30" y="97"/>
                </a:lnTo>
                <a:lnTo>
                  <a:pt x="28" y="97"/>
                </a:lnTo>
                <a:lnTo>
                  <a:pt x="26" y="91"/>
                </a:lnTo>
                <a:lnTo>
                  <a:pt x="24" y="91"/>
                </a:lnTo>
                <a:lnTo>
                  <a:pt x="21" y="88"/>
                </a:lnTo>
                <a:lnTo>
                  <a:pt x="17" y="86"/>
                </a:lnTo>
                <a:lnTo>
                  <a:pt x="17" y="82"/>
                </a:lnTo>
                <a:lnTo>
                  <a:pt x="15" y="78"/>
                </a:lnTo>
                <a:lnTo>
                  <a:pt x="13" y="78"/>
                </a:lnTo>
                <a:lnTo>
                  <a:pt x="9" y="78"/>
                </a:lnTo>
                <a:lnTo>
                  <a:pt x="6" y="78"/>
                </a:lnTo>
                <a:lnTo>
                  <a:pt x="6" y="76"/>
                </a:lnTo>
                <a:lnTo>
                  <a:pt x="6" y="73"/>
                </a:lnTo>
                <a:lnTo>
                  <a:pt x="4" y="71"/>
                </a:lnTo>
                <a:lnTo>
                  <a:pt x="6" y="69"/>
                </a:lnTo>
                <a:lnTo>
                  <a:pt x="4" y="69"/>
                </a:lnTo>
                <a:lnTo>
                  <a:pt x="4" y="65"/>
                </a:lnTo>
                <a:lnTo>
                  <a:pt x="4" y="60"/>
                </a:lnTo>
                <a:lnTo>
                  <a:pt x="6" y="58"/>
                </a:lnTo>
                <a:lnTo>
                  <a:pt x="9" y="58"/>
                </a:lnTo>
                <a:lnTo>
                  <a:pt x="9" y="56"/>
                </a:lnTo>
                <a:lnTo>
                  <a:pt x="9" y="54"/>
                </a:lnTo>
                <a:lnTo>
                  <a:pt x="9" y="52"/>
                </a:lnTo>
                <a:lnTo>
                  <a:pt x="11" y="50"/>
                </a:lnTo>
                <a:lnTo>
                  <a:pt x="9" y="50"/>
                </a:lnTo>
                <a:lnTo>
                  <a:pt x="9" y="47"/>
                </a:lnTo>
                <a:lnTo>
                  <a:pt x="4" y="41"/>
                </a:lnTo>
                <a:lnTo>
                  <a:pt x="4" y="39"/>
                </a:lnTo>
                <a:lnTo>
                  <a:pt x="6" y="37"/>
                </a:lnTo>
                <a:lnTo>
                  <a:pt x="9" y="34"/>
                </a:lnTo>
                <a:lnTo>
                  <a:pt x="11" y="32"/>
                </a:lnTo>
                <a:lnTo>
                  <a:pt x="13" y="28"/>
                </a:lnTo>
                <a:lnTo>
                  <a:pt x="11" y="28"/>
                </a:lnTo>
                <a:lnTo>
                  <a:pt x="11" y="26"/>
                </a:lnTo>
                <a:lnTo>
                  <a:pt x="13" y="24"/>
                </a:lnTo>
                <a:lnTo>
                  <a:pt x="15" y="22"/>
                </a:lnTo>
                <a:lnTo>
                  <a:pt x="15" y="15"/>
                </a:lnTo>
                <a:lnTo>
                  <a:pt x="17" y="6"/>
                </a:lnTo>
                <a:lnTo>
                  <a:pt x="21" y="6"/>
                </a:lnTo>
                <a:lnTo>
                  <a:pt x="21" y="4"/>
                </a:lnTo>
                <a:lnTo>
                  <a:pt x="26" y="0"/>
                </a:lnTo>
                <a:lnTo>
                  <a:pt x="50" y="9"/>
                </a:lnTo>
                <a:lnTo>
                  <a:pt x="60" y="11"/>
                </a:lnTo>
                <a:lnTo>
                  <a:pt x="63" y="11"/>
                </a:lnTo>
                <a:lnTo>
                  <a:pt x="88" y="19"/>
                </a:lnTo>
                <a:lnTo>
                  <a:pt x="88" y="22"/>
                </a:lnTo>
                <a:lnTo>
                  <a:pt x="88" y="26"/>
                </a:lnTo>
                <a:lnTo>
                  <a:pt x="88" y="28"/>
                </a:lnTo>
                <a:lnTo>
                  <a:pt x="86" y="39"/>
                </a:lnTo>
                <a:lnTo>
                  <a:pt x="86" y="43"/>
                </a:lnTo>
                <a:lnTo>
                  <a:pt x="86" y="47"/>
                </a:lnTo>
                <a:lnTo>
                  <a:pt x="78" y="54"/>
                </a:lnTo>
                <a:lnTo>
                  <a:pt x="78" y="50"/>
                </a:lnTo>
                <a:lnTo>
                  <a:pt x="78" y="52"/>
                </a:lnTo>
                <a:lnTo>
                  <a:pt x="75" y="60"/>
                </a:lnTo>
                <a:lnTo>
                  <a:pt x="71" y="69"/>
                </a:lnTo>
                <a:lnTo>
                  <a:pt x="73" y="73"/>
                </a:lnTo>
                <a:lnTo>
                  <a:pt x="78" y="73"/>
                </a:lnTo>
                <a:lnTo>
                  <a:pt x="82" y="71"/>
                </a:lnTo>
                <a:lnTo>
                  <a:pt x="95" y="82"/>
                </a:lnTo>
                <a:lnTo>
                  <a:pt x="97" y="104"/>
                </a:lnTo>
                <a:lnTo>
                  <a:pt x="93" y="101"/>
                </a:lnTo>
                <a:lnTo>
                  <a:pt x="93" y="104"/>
                </a:lnTo>
                <a:lnTo>
                  <a:pt x="97" y="104"/>
                </a:lnTo>
                <a:lnTo>
                  <a:pt x="97" y="106"/>
                </a:lnTo>
                <a:lnTo>
                  <a:pt x="93" y="108"/>
                </a:lnTo>
                <a:lnTo>
                  <a:pt x="95" y="108"/>
                </a:lnTo>
                <a:lnTo>
                  <a:pt x="93" y="125"/>
                </a:lnTo>
                <a:lnTo>
                  <a:pt x="95" y="138"/>
                </a:lnTo>
                <a:lnTo>
                  <a:pt x="93" y="149"/>
                </a:lnTo>
                <a:lnTo>
                  <a:pt x="88" y="155"/>
                </a:lnTo>
                <a:lnTo>
                  <a:pt x="88" y="160"/>
                </a:lnTo>
                <a:lnTo>
                  <a:pt x="82" y="160"/>
                </a:lnTo>
                <a:lnTo>
                  <a:pt x="86" y="164"/>
                </a:lnTo>
                <a:lnTo>
                  <a:pt x="82" y="170"/>
                </a:lnTo>
                <a:lnTo>
                  <a:pt x="82" y="175"/>
                </a:lnTo>
                <a:lnTo>
                  <a:pt x="71" y="186"/>
                </a:lnTo>
                <a:lnTo>
                  <a:pt x="73" y="186"/>
                </a:lnTo>
                <a:lnTo>
                  <a:pt x="73" y="190"/>
                </a:lnTo>
                <a:lnTo>
                  <a:pt x="65" y="214"/>
                </a:lnTo>
                <a:lnTo>
                  <a:pt x="60" y="218"/>
                </a:lnTo>
                <a:lnTo>
                  <a:pt x="63" y="220"/>
                </a:lnTo>
                <a:lnTo>
                  <a:pt x="56" y="220"/>
                </a:lnTo>
                <a:lnTo>
                  <a:pt x="58" y="205"/>
                </a:lnTo>
                <a:lnTo>
                  <a:pt x="56" y="201"/>
                </a:lnTo>
                <a:lnTo>
                  <a:pt x="47" y="201"/>
                </a:lnTo>
                <a:lnTo>
                  <a:pt x="41" y="203"/>
                </a:lnTo>
                <a:lnTo>
                  <a:pt x="15" y="190"/>
                </a:lnTo>
                <a:lnTo>
                  <a:pt x="4" y="183"/>
                </a:lnTo>
                <a:lnTo>
                  <a:pt x="6" y="175"/>
                </a:lnTo>
                <a:lnTo>
                  <a:pt x="0" y="170"/>
                </a:lnTo>
                <a:lnTo>
                  <a:pt x="4" y="160"/>
                </a:lnTo>
              </a:path>
            </a:pathLst>
          </a:custGeom>
          <a:noFill/>
          <a:ln w="6350">
            <a:solidFill>
              <a:srgbClr val="404040"/>
            </a:solidFill>
            <a:round/>
            <a:headEnd/>
            <a:tailEnd/>
          </a:ln>
        </p:spPr>
        <p:txBody>
          <a:bodyPr/>
          <a:lstStyle/>
          <a:p>
            <a:endParaRPr lang="en-US" dirty="0">
              <a:solidFill>
                <a:prstClr val="black"/>
              </a:solidFill>
            </a:endParaRPr>
          </a:p>
        </p:txBody>
      </p:sp>
      <p:sp>
        <p:nvSpPr>
          <p:cNvPr id="222" name="Freeform 55">
            <a:extLst>
              <a:ext uri="{FF2B5EF4-FFF2-40B4-BE49-F238E27FC236}">
                <a16:creationId xmlns:a16="http://schemas.microsoft.com/office/drawing/2014/main" id="{7DAB234B-0D35-4442-A550-987B726FE77F}"/>
              </a:ext>
            </a:extLst>
          </p:cNvPr>
          <p:cNvSpPr>
            <a:spLocks/>
          </p:cNvSpPr>
          <p:nvPr>
            <p:custDataLst>
              <p:tags r:id="rId46"/>
            </p:custDataLst>
          </p:nvPr>
        </p:nvSpPr>
        <p:spPr bwMode="auto">
          <a:xfrm>
            <a:off x="7273488" y="3208156"/>
            <a:ext cx="466895" cy="853873"/>
          </a:xfrm>
          <a:custGeom>
            <a:avLst/>
            <a:gdLst>
              <a:gd name="T0" fmla="*/ 2147483647 w 231"/>
              <a:gd name="T1" fmla="*/ 2147483647 h 395"/>
              <a:gd name="T2" fmla="*/ 2147483647 w 231"/>
              <a:gd name="T3" fmla="*/ 2147483647 h 395"/>
              <a:gd name="T4" fmla="*/ 2147483647 w 231"/>
              <a:gd name="T5" fmla="*/ 2147483647 h 395"/>
              <a:gd name="T6" fmla="*/ 2147483647 w 231"/>
              <a:gd name="T7" fmla="*/ 2147483647 h 395"/>
              <a:gd name="T8" fmla="*/ 2147483647 w 231"/>
              <a:gd name="T9" fmla="*/ 2147483647 h 395"/>
              <a:gd name="T10" fmla="*/ 2147483647 w 231"/>
              <a:gd name="T11" fmla="*/ 2147483647 h 395"/>
              <a:gd name="T12" fmla="*/ 2147483647 w 231"/>
              <a:gd name="T13" fmla="*/ 2147483647 h 395"/>
              <a:gd name="T14" fmla="*/ 2147483647 w 231"/>
              <a:gd name="T15" fmla="*/ 2147483647 h 395"/>
              <a:gd name="T16" fmla="*/ 2147483647 w 231"/>
              <a:gd name="T17" fmla="*/ 2147483647 h 395"/>
              <a:gd name="T18" fmla="*/ 2147483647 w 231"/>
              <a:gd name="T19" fmla="*/ 2147483647 h 395"/>
              <a:gd name="T20" fmla="*/ 2147483647 w 231"/>
              <a:gd name="T21" fmla="*/ 2147483647 h 395"/>
              <a:gd name="T22" fmla="*/ 2147483647 w 231"/>
              <a:gd name="T23" fmla="*/ 2147483647 h 395"/>
              <a:gd name="T24" fmla="*/ 2147483647 w 231"/>
              <a:gd name="T25" fmla="*/ 2147483647 h 395"/>
              <a:gd name="T26" fmla="*/ 2147483647 w 231"/>
              <a:gd name="T27" fmla="*/ 2147483647 h 395"/>
              <a:gd name="T28" fmla="*/ 2147483647 w 231"/>
              <a:gd name="T29" fmla="*/ 2147483647 h 395"/>
              <a:gd name="T30" fmla="*/ 2147483647 w 231"/>
              <a:gd name="T31" fmla="*/ 2147483647 h 395"/>
              <a:gd name="T32" fmla="*/ 2147483647 w 231"/>
              <a:gd name="T33" fmla="*/ 2147483647 h 395"/>
              <a:gd name="T34" fmla="*/ 2147483647 w 231"/>
              <a:gd name="T35" fmla="*/ 2147483647 h 395"/>
              <a:gd name="T36" fmla="*/ 2147483647 w 231"/>
              <a:gd name="T37" fmla="*/ 2147483647 h 395"/>
              <a:gd name="T38" fmla="*/ 2147483647 w 231"/>
              <a:gd name="T39" fmla="*/ 2147483647 h 395"/>
              <a:gd name="T40" fmla="*/ 2147483647 w 231"/>
              <a:gd name="T41" fmla="*/ 2147483647 h 395"/>
              <a:gd name="T42" fmla="*/ 2147483647 w 231"/>
              <a:gd name="T43" fmla="*/ 2147483647 h 395"/>
              <a:gd name="T44" fmla="*/ 2147483647 w 231"/>
              <a:gd name="T45" fmla="*/ 2147483647 h 395"/>
              <a:gd name="T46" fmla="*/ 2147483647 w 231"/>
              <a:gd name="T47" fmla="*/ 2147483647 h 395"/>
              <a:gd name="T48" fmla="*/ 2147483647 w 231"/>
              <a:gd name="T49" fmla="*/ 2147483647 h 395"/>
              <a:gd name="T50" fmla="*/ 2147483647 w 231"/>
              <a:gd name="T51" fmla="*/ 2147483647 h 395"/>
              <a:gd name="T52" fmla="*/ 2147483647 w 231"/>
              <a:gd name="T53" fmla="*/ 2147483647 h 395"/>
              <a:gd name="T54" fmla="*/ 2147483647 w 231"/>
              <a:gd name="T55" fmla="*/ 2147483647 h 395"/>
              <a:gd name="T56" fmla="*/ 2147483647 w 231"/>
              <a:gd name="T57" fmla="*/ 2147483647 h 395"/>
              <a:gd name="T58" fmla="*/ 2147483647 w 231"/>
              <a:gd name="T59" fmla="*/ 2147483647 h 395"/>
              <a:gd name="T60" fmla="*/ 2147483647 w 231"/>
              <a:gd name="T61" fmla="*/ 2147483647 h 395"/>
              <a:gd name="T62" fmla="*/ 2147483647 w 231"/>
              <a:gd name="T63" fmla="*/ 2147483647 h 395"/>
              <a:gd name="T64" fmla="*/ 2147483647 w 231"/>
              <a:gd name="T65" fmla="*/ 2147483647 h 395"/>
              <a:gd name="T66" fmla="*/ 2147483647 w 231"/>
              <a:gd name="T67" fmla="*/ 2147483647 h 395"/>
              <a:gd name="T68" fmla="*/ 2147483647 w 231"/>
              <a:gd name="T69" fmla="*/ 2147483647 h 395"/>
              <a:gd name="T70" fmla="*/ 2147483647 w 231"/>
              <a:gd name="T71" fmla="*/ 2147483647 h 395"/>
              <a:gd name="T72" fmla="*/ 2147483647 w 231"/>
              <a:gd name="T73" fmla="*/ 2147483647 h 395"/>
              <a:gd name="T74" fmla="*/ 2147483647 w 231"/>
              <a:gd name="T75" fmla="*/ 2147483647 h 395"/>
              <a:gd name="T76" fmla="*/ 2147483647 w 231"/>
              <a:gd name="T77" fmla="*/ 2147483647 h 395"/>
              <a:gd name="T78" fmla="*/ 2147483647 w 231"/>
              <a:gd name="T79" fmla="*/ 2147483647 h 395"/>
              <a:gd name="T80" fmla="*/ 2147483647 w 231"/>
              <a:gd name="T81" fmla="*/ 0 h 395"/>
              <a:gd name="T82" fmla="*/ 2147483647 w 231"/>
              <a:gd name="T83" fmla="*/ 2147483647 h 395"/>
              <a:gd name="T84" fmla="*/ 2147483647 w 231"/>
              <a:gd name="T85" fmla="*/ 2147483647 h 395"/>
              <a:gd name="T86" fmla="*/ 2147483647 w 231"/>
              <a:gd name="T87" fmla="*/ 2147483647 h 395"/>
              <a:gd name="T88" fmla="*/ 2147483647 w 231"/>
              <a:gd name="T89" fmla="*/ 2147483647 h 395"/>
              <a:gd name="T90" fmla="*/ 2147483647 w 231"/>
              <a:gd name="T91" fmla="*/ 2147483647 h 395"/>
              <a:gd name="T92" fmla="*/ 2147483647 w 231"/>
              <a:gd name="T93" fmla="*/ 2147483647 h 395"/>
              <a:gd name="T94" fmla="*/ 2147483647 w 231"/>
              <a:gd name="T95" fmla="*/ 2147483647 h 395"/>
              <a:gd name="T96" fmla="*/ 2147483647 w 231"/>
              <a:gd name="T97" fmla="*/ 2147483647 h 395"/>
              <a:gd name="T98" fmla="*/ 2147483647 w 231"/>
              <a:gd name="T99" fmla="*/ 2147483647 h 395"/>
              <a:gd name="T100" fmla="*/ 2147483647 w 231"/>
              <a:gd name="T101" fmla="*/ 2147483647 h 395"/>
              <a:gd name="T102" fmla="*/ 2147483647 w 231"/>
              <a:gd name="T103" fmla="*/ 2147483647 h 395"/>
              <a:gd name="T104" fmla="*/ 2147483647 w 231"/>
              <a:gd name="T105" fmla="*/ 2147483647 h 395"/>
              <a:gd name="T106" fmla="*/ 2147483647 w 231"/>
              <a:gd name="T107" fmla="*/ 2147483647 h 395"/>
              <a:gd name="T108" fmla="*/ 2147483647 w 231"/>
              <a:gd name="T109" fmla="*/ 2147483647 h 395"/>
              <a:gd name="T110" fmla="*/ 2147483647 w 231"/>
              <a:gd name="T111" fmla="*/ 2147483647 h 395"/>
              <a:gd name="T112" fmla="*/ 2147483647 w 231"/>
              <a:gd name="T113" fmla="*/ 2147483647 h 395"/>
              <a:gd name="T114" fmla="*/ 2147483647 w 231"/>
              <a:gd name="T115" fmla="*/ 2147483647 h 3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
              <a:gd name="T175" fmla="*/ 0 h 395"/>
              <a:gd name="T176" fmla="*/ 231 w 231"/>
              <a:gd name="T177" fmla="*/ 395 h 3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 h="395">
                <a:moveTo>
                  <a:pt x="128" y="345"/>
                </a:moveTo>
                <a:lnTo>
                  <a:pt x="126" y="345"/>
                </a:lnTo>
                <a:lnTo>
                  <a:pt x="126" y="348"/>
                </a:lnTo>
                <a:lnTo>
                  <a:pt x="128" y="348"/>
                </a:lnTo>
                <a:lnTo>
                  <a:pt x="128" y="350"/>
                </a:lnTo>
                <a:lnTo>
                  <a:pt x="126" y="350"/>
                </a:lnTo>
                <a:lnTo>
                  <a:pt x="121" y="352"/>
                </a:lnTo>
                <a:lnTo>
                  <a:pt x="119" y="350"/>
                </a:lnTo>
                <a:lnTo>
                  <a:pt x="117" y="352"/>
                </a:lnTo>
                <a:lnTo>
                  <a:pt x="119" y="354"/>
                </a:lnTo>
                <a:lnTo>
                  <a:pt x="121" y="354"/>
                </a:lnTo>
                <a:lnTo>
                  <a:pt x="119" y="358"/>
                </a:lnTo>
                <a:lnTo>
                  <a:pt x="117" y="358"/>
                </a:lnTo>
                <a:lnTo>
                  <a:pt x="115" y="360"/>
                </a:lnTo>
                <a:lnTo>
                  <a:pt x="115" y="363"/>
                </a:lnTo>
                <a:lnTo>
                  <a:pt x="115" y="365"/>
                </a:lnTo>
                <a:lnTo>
                  <a:pt x="117" y="369"/>
                </a:lnTo>
                <a:lnTo>
                  <a:pt x="115" y="369"/>
                </a:lnTo>
                <a:lnTo>
                  <a:pt x="113" y="369"/>
                </a:lnTo>
                <a:lnTo>
                  <a:pt x="113" y="371"/>
                </a:lnTo>
                <a:lnTo>
                  <a:pt x="111" y="378"/>
                </a:lnTo>
                <a:lnTo>
                  <a:pt x="106" y="378"/>
                </a:lnTo>
                <a:lnTo>
                  <a:pt x="106" y="380"/>
                </a:lnTo>
                <a:lnTo>
                  <a:pt x="106" y="378"/>
                </a:lnTo>
                <a:lnTo>
                  <a:pt x="106" y="371"/>
                </a:lnTo>
                <a:lnTo>
                  <a:pt x="104" y="371"/>
                </a:lnTo>
                <a:lnTo>
                  <a:pt x="102" y="376"/>
                </a:lnTo>
                <a:lnTo>
                  <a:pt x="100" y="376"/>
                </a:lnTo>
                <a:lnTo>
                  <a:pt x="95" y="367"/>
                </a:lnTo>
                <a:lnTo>
                  <a:pt x="93" y="367"/>
                </a:lnTo>
                <a:lnTo>
                  <a:pt x="89" y="369"/>
                </a:lnTo>
                <a:lnTo>
                  <a:pt x="87" y="371"/>
                </a:lnTo>
                <a:lnTo>
                  <a:pt x="82" y="371"/>
                </a:lnTo>
                <a:lnTo>
                  <a:pt x="80" y="376"/>
                </a:lnTo>
                <a:lnTo>
                  <a:pt x="78" y="384"/>
                </a:lnTo>
                <a:lnTo>
                  <a:pt x="74" y="386"/>
                </a:lnTo>
                <a:lnTo>
                  <a:pt x="72" y="386"/>
                </a:lnTo>
                <a:lnTo>
                  <a:pt x="70" y="384"/>
                </a:lnTo>
                <a:lnTo>
                  <a:pt x="70" y="382"/>
                </a:lnTo>
                <a:lnTo>
                  <a:pt x="65" y="382"/>
                </a:lnTo>
                <a:lnTo>
                  <a:pt x="63" y="380"/>
                </a:lnTo>
                <a:lnTo>
                  <a:pt x="61" y="380"/>
                </a:lnTo>
                <a:lnTo>
                  <a:pt x="52" y="376"/>
                </a:lnTo>
                <a:lnTo>
                  <a:pt x="48" y="376"/>
                </a:lnTo>
                <a:lnTo>
                  <a:pt x="46" y="378"/>
                </a:lnTo>
                <a:lnTo>
                  <a:pt x="37" y="371"/>
                </a:lnTo>
                <a:lnTo>
                  <a:pt x="35" y="378"/>
                </a:lnTo>
                <a:lnTo>
                  <a:pt x="37" y="380"/>
                </a:lnTo>
                <a:lnTo>
                  <a:pt x="37" y="382"/>
                </a:lnTo>
                <a:lnTo>
                  <a:pt x="37" y="384"/>
                </a:lnTo>
                <a:lnTo>
                  <a:pt x="35" y="386"/>
                </a:lnTo>
                <a:lnTo>
                  <a:pt x="33" y="386"/>
                </a:lnTo>
                <a:lnTo>
                  <a:pt x="33" y="380"/>
                </a:lnTo>
                <a:lnTo>
                  <a:pt x="31" y="380"/>
                </a:lnTo>
                <a:lnTo>
                  <a:pt x="28" y="382"/>
                </a:lnTo>
                <a:lnTo>
                  <a:pt x="22" y="384"/>
                </a:lnTo>
                <a:lnTo>
                  <a:pt x="20" y="382"/>
                </a:lnTo>
                <a:lnTo>
                  <a:pt x="16" y="380"/>
                </a:lnTo>
                <a:lnTo>
                  <a:pt x="13" y="382"/>
                </a:lnTo>
                <a:lnTo>
                  <a:pt x="13" y="384"/>
                </a:lnTo>
                <a:lnTo>
                  <a:pt x="16" y="386"/>
                </a:lnTo>
                <a:lnTo>
                  <a:pt x="16" y="389"/>
                </a:lnTo>
                <a:lnTo>
                  <a:pt x="16" y="393"/>
                </a:lnTo>
                <a:lnTo>
                  <a:pt x="13" y="395"/>
                </a:lnTo>
                <a:lnTo>
                  <a:pt x="7" y="393"/>
                </a:lnTo>
                <a:lnTo>
                  <a:pt x="3" y="389"/>
                </a:lnTo>
                <a:lnTo>
                  <a:pt x="5" y="389"/>
                </a:lnTo>
                <a:lnTo>
                  <a:pt x="7" y="386"/>
                </a:lnTo>
                <a:lnTo>
                  <a:pt x="3" y="386"/>
                </a:lnTo>
                <a:lnTo>
                  <a:pt x="0" y="384"/>
                </a:lnTo>
                <a:lnTo>
                  <a:pt x="0" y="382"/>
                </a:lnTo>
                <a:lnTo>
                  <a:pt x="5" y="382"/>
                </a:lnTo>
                <a:lnTo>
                  <a:pt x="7" y="382"/>
                </a:lnTo>
                <a:lnTo>
                  <a:pt x="5" y="382"/>
                </a:lnTo>
                <a:lnTo>
                  <a:pt x="3" y="380"/>
                </a:lnTo>
                <a:lnTo>
                  <a:pt x="5" y="380"/>
                </a:lnTo>
                <a:lnTo>
                  <a:pt x="5" y="378"/>
                </a:lnTo>
                <a:lnTo>
                  <a:pt x="7" y="376"/>
                </a:lnTo>
                <a:lnTo>
                  <a:pt x="5" y="371"/>
                </a:lnTo>
                <a:lnTo>
                  <a:pt x="5" y="369"/>
                </a:lnTo>
                <a:lnTo>
                  <a:pt x="5" y="367"/>
                </a:lnTo>
                <a:lnTo>
                  <a:pt x="11" y="367"/>
                </a:lnTo>
                <a:lnTo>
                  <a:pt x="11" y="365"/>
                </a:lnTo>
                <a:lnTo>
                  <a:pt x="5" y="365"/>
                </a:lnTo>
                <a:lnTo>
                  <a:pt x="7" y="360"/>
                </a:lnTo>
                <a:lnTo>
                  <a:pt x="11" y="360"/>
                </a:lnTo>
                <a:lnTo>
                  <a:pt x="13" y="358"/>
                </a:lnTo>
                <a:lnTo>
                  <a:pt x="7" y="354"/>
                </a:lnTo>
                <a:lnTo>
                  <a:pt x="7" y="352"/>
                </a:lnTo>
                <a:lnTo>
                  <a:pt x="7" y="350"/>
                </a:lnTo>
                <a:lnTo>
                  <a:pt x="11" y="345"/>
                </a:lnTo>
                <a:lnTo>
                  <a:pt x="13" y="345"/>
                </a:lnTo>
                <a:lnTo>
                  <a:pt x="13" y="348"/>
                </a:lnTo>
                <a:lnTo>
                  <a:pt x="13" y="345"/>
                </a:lnTo>
                <a:lnTo>
                  <a:pt x="16" y="343"/>
                </a:lnTo>
                <a:lnTo>
                  <a:pt x="16" y="345"/>
                </a:lnTo>
                <a:lnTo>
                  <a:pt x="18" y="345"/>
                </a:lnTo>
                <a:lnTo>
                  <a:pt x="18" y="339"/>
                </a:lnTo>
                <a:lnTo>
                  <a:pt x="20" y="337"/>
                </a:lnTo>
                <a:lnTo>
                  <a:pt x="22" y="332"/>
                </a:lnTo>
                <a:lnTo>
                  <a:pt x="22" y="330"/>
                </a:lnTo>
                <a:lnTo>
                  <a:pt x="22" y="328"/>
                </a:lnTo>
                <a:lnTo>
                  <a:pt x="28" y="328"/>
                </a:lnTo>
                <a:lnTo>
                  <a:pt x="28" y="326"/>
                </a:lnTo>
                <a:lnTo>
                  <a:pt x="31" y="326"/>
                </a:lnTo>
                <a:lnTo>
                  <a:pt x="31" y="322"/>
                </a:lnTo>
                <a:lnTo>
                  <a:pt x="28" y="319"/>
                </a:lnTo>
                <a:lnTo>
                  <a:pt x="28" y="317"/>
                </a:lnTo>
                <a:lnTo>
                  <a:pt x="31" y="315"/>
                </a:lnTo>
                <a:lnTo>
                  <a:pt x="31" y="313"/>
                </a:lnTo>
                <a:lnTo>
                  <a:pt x="31" y="311"/>
                </a:lnTo>
                <a:lnTo>
                  <a:pt x="33" y="307"/>
                </a:lnTo>
                <a:lnTo>
                  <a:pt x="35" y="307"/>
                </a:lnTo>
                <a:lnTo>
                  <a:pt x="37" y="302"/>
                </a:lnTo>
                <a:lnTo>
                  <a:pt x="37" y="298"/>
                </a:lnTo>
                <a:lnTo>
                  <a:pt x="37" y="296"/>
                </a:lnTo>
                <a:lnTo>
                  <a:pt x="33" y="289"/>
                </a:lnTo>
                <a:lnTo>
                  <a:pt x="35" y="285"/>
                </a:lnTo>
                <a:lnTo>
                  <a:pt x="35" y="283"/>
                </a:lnTo>
                <a:lnTo>
                  <a:pt x="35" y="281"/>
                </a:lnTo>
                <a:lnTo>
                  <a:pt x="33" y="281"/>
                </a:lnTo>
                <a:lnTo>
                  <a:pt x="31" y="278"/>
                </a:lnTo>
                <a:lnTo>
                  <a:pt x="31" y="272"/>
                </a:lnTo>
                <a:lnTo>
                  <a:pt x="28" y="270"/>
                </a:lnTo>
                <a:lnTo>
                  <a:pt x="24" y="270"/>
                </a:lnTo>
                <a:lnTo>
                  <a:pt x="24" y="268"/>
                </a:lnTo>
                <a:lnTo>
                  <a:pt x="22" y="268"/>
                </a:lnTo>
                <a:lnTo>
                  <a:pt x="22" y="266"/>
                </a:lnTo>
                <a:lnTo>
                  <a:pt x="24" y="263"/>
                </a:lnTo>
                <a:lnTo>
                  <a:pt x="28" y="261"/>
                </a:lnTo>
                <a:lnTo>
                  <a:pt x="28" y="257"/>
                </a:lnTo>
                <a:lnTo>
                  <a:pt x="28" y="255"/>
                </a:lnTo>
                <a:lnTo>
                  <a:pt x="24" y="253"/>
                </a:lnTo>
                <a:lnTo>
                  <a:pt x="24" y="250"/>
                </a:lnTo>
                <a:lnTo>
                  <a:pt x="24" y="248"/>
                </a:lnTo>
                <a:lnTo>
                  <a:pt x="24" y="246"/>
                </a:lnTo>
                <a:lnTo>
                  <a:pt x="31" y="246"/>
                </a:lnTo>
                <a:lnTo>
                  <a:pt x="31" y="233"/>
                </a:lnTo>
                <a:lnTo>
                  <a:pt x="28" y="220"/>
                </a:lnTo>
                <a:lnTo>
                  <a:pt x="24" y="196"/>
                </a:lnTo>
                <a:lnTo>
                  <a:pt x="22" y="168"/>
                </a:lnTo>
                <a:lnTo>
                  <a:pt x="20" y="138"/>
                </a:lnTo>
                <a:lnTo>
                  <a:pt x="20" y="114"/>
                </a:lnTo>
                <a:lnTo>
                  <a:pt x="18" y="88"/>
                </a:lnTo>
                <a:lnTo>
                  <a:pt x="16" y="73"/>
                </a:lnTo>
                <a:lnTo>
                  <a:pt x="16" y="65"/>
                </a:lnTo>
                <a:lnTo>
                  <a:pt x="13" y="47"/>
                </a:lnTo>
                <a:lnTo>
                  <a:pt x="11" y="24"/>
                </a:lnTo>
                <a:lnTo>
                  <a:pt x="16" y="28"/>
                </a:lnTo>
                <a:lnTo>
                  <a:pt x="20" y="26"/>
                </a:lnTo>
                <a:lnTo>
                  <a:pt x="18" y="28"/>
                </a:lnTo>
                <a:lnTo>
                  <a:pt x="20" y="32"/>
                </a:lnTo>
                <a:lnTo>
                  <a:pt x="33" y="32"/>
                </a:lnTo>
                <a:lnTo>
                  <a:pt x="52" y="19"/>
                </a:lnTo>
                <a:lnTo>
                  <a:pt x="61" y="15"/>
                </a:lnTo>
                <a:lnTo>
                  <a:pt x="80" y="15"/>
                </a:lnTo>
                <a:lnTo>
                  <a:pt x="100" y="11"/>
                </a:lnTo>
                <a:lnTo>
                  <a:pt x="113" y="9"/>
                </a:lnTo>
                <a:lnTo>
                  <a:pt x="130" y="6"/>
                </a:lnTo>
                <a:lnTo>
                  <a:pt x="139" y="6"/>
                </a:lnTo>
                <a:lnTo>
                  <a:pt x="165" y="4"/>
                </a:lnTo>
                <a:lnTo>
                  <a:pt x="171" y="4"/>
                </a:lnTo>
                <a:lnTo>
                  <a:pt x="197" y="0"/>
                </a:lnTo>
                <a:lnTo>
                  <a:pt x="199" y="0"/>
                </a:lnTo>
                <a:lnTo>
                  <a:pt x="201" y="6"/>
                </a:lnTo>
                <a:lnTo>
                  <a:pt x="201" y="22"/>
                </a:lnTo>
                <a:lnTo>
                  <a:pt x="203" y="32"/>
                </a:lnTo>
                <a:lnTo>
                  <a:pt x="208" y="43"/>
                </a:lnTo>
                <a:lnTo>
                  <a:pt x="208" y="47"/>
                </a:lnTo>
                <a:lnTo>
                  <a:pt x="210" y="71"/>
                </a:lnTo>
                <a:lnTo>
                  <a:pt x="210" y="76"/>
                </a:lnTo>
                <a:lnTo>
                  <a:pt x="212" y="97"/>
                </a:lnTo>
                <a:lnTo>
                  <a:pt x="214" y="108"/>
                </a:lnTo>
                <a:lnTo>
                  <a:pt x="216" y="132"/>
                </a:lnTo>
                <a:lnTo>
                  <a:pt x="216" y="134"/>
                </a:lnTo>
                <a:lnTo>
                  <a:pt x="219" y="164"/>
                </a:lnTo>
                <a:lnTo>
                  <a:pt x="219" y="171"/>
                </a:lnTo>
                <a:lnTo>
                  <a:pt x="221" y="188"/>
                </a:lnTo>
                <a:lnTo>
                  <a:pt x="225" y="203"/>
                </a:lnTo>
                <a:lnTo>
                  <a:pt x="225" y="207"/>
                </a:lnTo>
                <a:lnTo>
                  <a:pt x="227" y="229"/>
                </a:lnTo>
                <a:lnTo>
                  <a:pt x="229" y="248"/>
                </a:lnTo>
                <a:lnTo>
                  <a:pt x="227" y="248"/>
                </a:lnTo>
                <a:lnTo>
                  <a:pt x="225" y="250"/>
                </a:lnTo>
                <a:lnTo>
                  <a:pt x="225" y="253"/>
                </a:lnTo>
                <a:lnTo>
                  <a:pt x="225" y="255"/>
                </a:lnTo>
                <a:lnTo>
                  <a:pt x="227" y="255"/>
                </a:lnTo>
                <a:lnTo>
                  <a:pt x="229" y="257"/>
                </a:lnTo>
                <a:lnTo>
                  <a:pt x="227" y="261"/>
                </a:lnTo>
                <a:lnTo>
                  <a:pt x="227" y="263"/>
                </a:lnTo>
                <a:lnTo>
                  <a:pt x="227" y="266"/>
                </a:lnTo>
                <a:lnTo>
                  <a:pt x="231" y="266"/>
                </a:lnTo>
                <a:lnTo>
                  <a:pt x="231" y="268"/>
                </a:lnTo>
                <a:lnTo>
                  <a:pt x="229" y="272"/>
                </a:lnTo>
                <a:lnTo>
                  <a:pt x="231" y="276"/>
                </a:lnTo>
                <a:lnTo>
                  <a:pt x="219" y="278"/>
                </a:lnTo>
                <a:lnTo>
                  <a:pt x="216" y="281"/>
                </a:lnTo>
                <a:lnTo>
                  <a:pt x="214" y="283"/>
                </a:lnTo>
                <a:lnTo>
                  <a:pt x="210" y="285"/>
                </a:lnTo>
                <a:lnTo>
                  <a:pt x="208" y="287"/>
                </a:lnTo>
                <a:lnTo>
                  <a:pt x="203" y="287"/>
                </a:lnTo>
                <a:lnTo>
                  <a:pt x="199" y="285"/>
                </a:lnTo>
                <a:lnTo>
                  <a:pt x="195" y="285"/>
                </a:lnTo>
                <a:lnTo>
                  <a:pt x="188" y="285"/>
                </a:lnTo>
                <a:lnTo>
                  <a:pt x="186" y="287"/>
                </a:lnTo>
                <a:lnTo>
                  <a:pt x="186" y="289"/>
                </a:lnTo>
                <a:lnTo>
                  <a:pt x="188" y="300"/>
                </a:lnTo>
                <a:lnTo>
                  <a:pt x="188" y="302"/>
                </a:lnTo>
                <a:lnTo>
                  <a:pt x="188" y="304"/>
                </a:lnTo>
                <a:lnTo>
                  <a:pt x="186" y="307"/>
                </a:lnTo>
                <a:lnTo>
                  <a:pt x="184" y="313"/>
                </a:lnTo>
                <a:lnTo>
                  <a:pt x="177" y="315"/>
                </a:lnTo>
                <a:lnTo>
                  <a:pt x="177" y="319"/>
                </a:lnTo>
                <a:lnTo>
                  <a:pt x="177" y="326"/>
                </a:lnTo>
                <a:lnTo>
                  <a:pt x="175" y="330"/>
                </a:lnTo>
                <a:lnTo>
                  <a:pt x="169" y="332"/>
                </a:lnTo>
                <a:lnTo>
                  <a:pt x="167" y="332"/>
                </a:lnTo>
                <a:lnTo>
                  <a:pt x="165" y="330"/>
                </a:lnTo>
                <a:lnTo>
                  <a:pt x="162" y="332"/>
                </a:lnTo>
                <a:lnTo>
                  <a:pt x="162" y="335"/>
                </a:lnTo>
                <a:lnTo>
                  <a:pt x="160" y="343"/>
                </a:lnTo>
                <a:lnTo>
                  <a:pt x="160" y="352"/>
                </a:lnTo>
                <a:lnTo>
                  <a:pt x="160" y="354"/>
                </a:lnTo>
                <a:lnTo>
                  <a:pt x="156" y="358"/>
                </a:lnTo>
                <a:lnTo>
                  <a:pt x="154" y="360"/>
                </a:lnTo>
                <a:lnTo>
                  <a:pt x="152" y="360"/>
                </a:lnTo>
                <a:lnTo>
                  <a:pt x="149" y="363"/>
                </a:lnTo>
                <a:lnTo>
                  <a:pt x="147" y="360"/>
                </a:lnTo>
                <a:lnTo>
                  <a:pt x="139" y="360"/>
                </a:lnTo>
                <a:lnTo>
                  <a:pt x="134" y="358"/>
                </a:lnTo>
                <a:lnTo>
                  <a:pt x="132" y="354"/>
                </a:lnTo>
                <a:lnTo>
                  <a:pt x="130" y="348"/>
                </a:lnTo>
                <a:lnTo>
                  <a:pt x="128" y="345"/>
                </a:lnTo>
                <a:close/>
              </a:path>
            </a:pathLst>
          </a:custGeom>
          <a:solidFill>
            <a:srgbClr val="FFC000"/>
          </a:solidFill>
          <a:ln w="9525">
            <a:noFill/>
            <a:round/>
            <a:headEnd/>
            <a:tailEnd/>
          </a:ln>
        </p:spPr>
        <p:txBody>
          <a:bodyPr/>
          <a:lstStyle/>
          <a:p>
            <a:endParaRPr lang="en-US" dirty="0">
              <a:solidFill>
                <a:prstClr val="black"/>
              </a:solidFill>
            </a:endParaRPr>
          </a:p>
        </p:txBody>
      </p:sp>
      <p:sp>
        <p:nvSpPr>
          <p:cNvPr id="223" name="Freeform 56">
            <a:extLst>
              <a:ext uri="{FF2B5EF4-FFF2-40B4-BE49-F238E27FC236}">
                <a16:creationId xmlns:a16="http://schemas.microsoft.com/office/drawing/2014/main" id="{8AAC43FE-BDAD-4E78-837B-8893F9DA710C}"/>
              </a:ext>
            </a:extLst>
          </p:cNvPr>
          <p:cNvSpPr>
            <a:spLocks/>
          </p:cNvSpPr>
          <p:nvPr>
            <p:custDataLst>
              <p:tags r:id="rId47"/>
            </p:custDataLst>
          </p:nvPr>
        </p:nvSpPr>
        <p:spPr bwMode="auto">
          <a:xfrm>
            <a:off x="7273488" y="3208156"/>
            <a:ext cx="466895" cy="853873"/>
          </a:xfrm>
          <a:custGeom>
            <a:avLst/>
            <a:gdLst>
              <a:gd name="T0" fmla="*/ 2147483647 w 231"/>
              <a:gd name="T1" fmla="*/ 2147483647 h 395"/>
              <a:gd name="T2" fmla="*/ 2147483647 w 231"/>
              <a:gd name="T3" fmla="*/ 2147483647 h 395"/>
              <a:gd name="T4" fmla="*/ 2147483647 w 231"/>
              <a:gd name="T5" fmla="*/ 2147483647 h 395"/>
              <a:gd name="T6" fmla="*/ 2147483647 w 231"/>
              <a:gd name="T7" fmla="*/ 2147483647 h 395"/>
              <a:gd name="T8" fmla="*/ 2147483647 w 231"/>
              <a:gd name="T9" fmla="*/ 2147483647 h 395"/>
              <a:gd name="T10" fmla="*/ 2147483647 w 231"/>
              <a:gd name="T11" fmla="*/ 2147483647 h 395"/>
              <a:gd name="T12" fmla="*/ 2147483647 w 231"/>
              <a:gd name="T13" fmla="*/ 2147483647 h 395"/>
              <a:gd name="T14" fmla="*/ 2147483647 w 231"/>
              <a:gd name="T15" fmla="*/ 2147483647 h 395"/>
              <a:gd name="T16" fmla="*/ 2147483647 w 231"/>
              <a:gd name="T17" fmla="*/ 2147483647 h 395"/>
              <a:gd name="T18" fmla="*/ 2147483647 w 231"/>
              <a:gd name="T19" fmla="*/ 2147483647 h 395"/>
              <a:gd name="T20" fmla="*/ 2147483647 w 231"/>
              <a:gd name="T21" fmla="*/ 2147483647 h 395"/>
              <a:gd name="T22" fmla="*/ 2147483647 w 231"/>
              <a:gd name="T23" fmla="*/ 2147483647 h 395"/>
              <a:gd name="T24" fmla="*/ 2147483647 w 231"/>
              <a:gd name="T25" fmla="*/ 2147483647 h 395"/>
              <a:gd name="T26" fmla="*/ 2147483647 w 231"/>
              <a:gd name="T27" fmla="*/ 2147483647 h 395"/>
              <a:gd name="T28" fmla="*/ 2147483647 w 231"/>
              <a:gd name="T29" fmla="*/ 2147483647 h 395"/>
              <a:gd name="T30" fmla="*/ 2147483647 w 231"/>
              <a:gd name="T31" fmla="*/ 2147483647 h 395"/>
              <a:gd name="T32" fmla="*/ 2147483647 w 231"/>
              <a:gd name="T33" fmla="*/ 2147483647 h 395"/>
              <a:gd name="T34" fmla="*/ 2147483647 w 231"/>
              <a:gd name="T35" fmla="*/ 2147483647 h 395"/>
              <a:gd name="T36" fmla="*/ 2147483647 w 231"/>
              <a:gd name="T37" fmla="*/ 2147483647 h 395"/>
              <a:gd name="T38" fmla="*/ 2147483647 w 231"/>
              <a:gd name="T39" fmla="*/ 2147483647 h 395"/>
              <a:gd name="T40" fmla="*/ 2147483647 w 231"/>
              <a:gd name="T41" fmla="*/ 2147483647 h 395"/>
              <a:gd name="T42" fmla="*/ 2147483647 w 231"/>
              <a:gd name="T43" fmla="*/ 2147483647 h 395"/>
              <a:gd name="T44" fmla="*/ 2147483647 w 231"/>
              <a:gd name="T45" fmla="*/ 2147483647 h 395"/>
              <a:gd name="T46" fmla="*/ 2147483647 w 231"/>
              <a:gd name="T47" fmla="*/ 2147483647 h 395"/>
              <a:gd name="T48" fmla="*/ 2147483647 w 231"/>
              <a:gd name="T49" fmla="*/ 2147483647 h 395"/>
              <a:gd name="T50" fmla="*/ 2147483647 w 231"/>
              <a:gd name="T51" fmla="*/ 2147483647 h 395"/>
              <a:gd name="T52" fmla="*/ 2147483647 w 231"/>
              <a:gd name="T53" fmla="*/ 2147483647 h 395"/>
              <a:gd name="T54" fmla="*/ 2147483647 w 231"/>
              <a:gd name="T55" fmla="*/ 2147483647 h 395"/>
              <a:gd name="T56" fmla="*/ 2147483647 w 231"/>
              <a:gd name="T57" fmla="*/ 2147483647 h 395"/>
              <a:gd name="T58" fmla="*/ 2147483647 w 231"/>
              <a:gd name="T59" fmla="*/ 2147483647 h 395"/>
              <a:gd name="T60" fmla="*/ 2147483647 w 231"/>
              <a:gd name="T61" fmla="*/ 2147483647 h 395"/>
              <a:gd name="T62" fmla="*/ 2147483647 w 231"/>
              <a:gd name="T63" fmla="*/ 2147483647 h 395"/>
              <a:gd name="T64" fmla="*/ 2147483647 w 231"/>
              <a:gd name="T65" fmla="*/ 2147483647 h 395"/>
              <a:gd name="T66" fmla="*/ 2147483647 w 231"/>
              <a:gd name="T67" fmla="*/ 2147483647 h 395"/>
              <a:gd name="T68" fmla="*/ 2147483647 w 231"/>
              <a:gd name="T69" fmla="*/ 2147483647 h 395"/>
              <a:gd name="T70" fmla="*/ 2147483647 w 231"/>
              <a:gd name="T71" fmla="*/ 2147483647 h 395"/>
              <a:gd name="T72" fmla="*/ 2147483647 w 231"/>
              <a:gd name="T73" fmla="*/ 2147483647 h 395"/>
              <a:gd name="T74" fmla="*/ 2147483647 w 231"/>
              <a:gd name="T75" fmla="*/ 2147483647 h 395"/>
              <a:gd name="T76" fmla="*/ 2147483647 w 231"/>
              <a:gd name="T77" fmla="*/ 2147483647 h 395"/>
              <a:gd name="T78" fmla="*/ 2147483647 w 231"/>
              <a:gd name="T79" fmla="*/ 2147483647 h 395"/>
              <a:gd name="T80" fmla="*/ 2147483647 w 231"/>
              <a:gd name="T81" fmla="*/ 0 h 395"/>
              <a:gd name="T82" fmla="*/ 2147483647 w 231"/>
              <a:gd name="T83" fmla="*/ 2147483647 h 395"/>
              <a:gd name="T84" fmla="*/ 2147483647 w 231"/>
              <a:gd name="T85" fmla="*/ 2147483647 h 395"/>
              <a:gd name="T86" fmla="*/ 2147483647 w 231"/>
              <a:gd name="T87" fmla="*/ 2147483647 h 395"/>
              <a:gd name="T88" fmla="*/ 2147483647 w 231"/>
              <a:gd name="T89" fmla="*/ 2147483647 h 395"/>
              <a:gd name="T90" fmla="*/ 2147483647 w 231"/>
              <a:gd name="T91" fmla="*/ 2147483647 h 395"/>
              <a:gd name="T92" fmla="*/ 2147483647 w 231"/>
              <a:gd name="T93" fmla="*/ 2147483647 h 395"/>
              <a:gd name="T94" fmla="*/ 2147483647 w 231"/>
              <a:gd name="T95" fmla="*/ 2147483647 h 395"/>
              <a:gd name="T96" fmla="*/ 2147483647 w 231"/>
              <a:gd name="T97" fmla="*/ 2147483647 h 395"/>
              <a:gd name="T98" fmla="*/ 2147483647 w 231"/>
              <a:gd name="T99" fmla="*/ 2147483647 h 395"/>
              <a:gd name="T100" fmla="*/ 2147483647 w 231"/>
              <a:gd name="T101" fmla="*/ 2147483647 h 395"/>
              <a:gd name="T102" fmla="*/ 2147483647 w 231"/>
              <a:gd name="T103" fmla="*/ 2147483647 h 395"/>
              <a:gd name="T104" fmla="*/ 2147483647 w 231"/>
              <a:gd name="T105" fmla="*/ 2147483647 h 395"/>
              <a:gd name="T106" fmla="*/ 2147483647 w 231"/>
              <a:gd name="T107" fmla="*/ 2147483647 h 395"/>
              <a:gd name="T108" fmla="*/ 2147483647 w 231"/>
              <a:gd name="T109" fmla="*/ 2147483647 h 395"/>
              <a:gd name="T110" fmla="*/ 2147483647 w 231"/>
              <a:gd name="T111" fmla="*/ 2147483647 h 395"/>
              <a:gd name="T112" fmla="*/ 2147483647 w 231"/>
              <a:gd name="T113" fmla="*/ 2147483647 h 395"/>
              <a:gd name="T114" fmla="*/ 2147483647 w 231"/>
              <a:gd name="T115" fmla="*/ 2147483647 h 3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
              <a:gd name="T175" fmla="*/ 0 h 395"/>
              <a:gd name="T176" fmla="*/ 231 w 231"/>
              <a:gd name="T177" fmla="*/ 395 h 3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 h="395">
                <a:moveTo>
                  <a:pt x="128" y="345"/>
                </a:moveTo>
                <a:lnTo>
                  <a:pt x="126" y="345"/>
                </a:lnTo>
                <a:lnTo>
                  <a:pt x="126" y="348"/>
                </a:lnTo>
                <a:lnTo>
                  <a:pt x="128" y="348"/>
                </a:lnTo>
                <a:lnTo>
                  <a:pt x="128" y="350"/>
                </a:lnTo>
                <a:lnTo>
                  <a:pt x="126" y="350"/>
                </a:lnTo>
                <a:lnTo>
                  <a:pt x="121" y="352"/>
                </a:lnTo>
                <a:lnTo>
                  <a:pt x="119" y="350"/>
                </a:lnTo>
                <a:lnTo>
                  <a:pt x="117" y="352"/>
                </a:lnTo>
                <a:lnTo>
                  <a:pt x="119" y="354"/>
                </a:lnTo>
                <a:lnTo>
                  <a:pt x="121" y="354"/>
                </a:lnTo>
                <a:lnTo>
                  <a:pt x="119" y="358"/>
                </a:lnTo>
                <a:lnTo>
                  <a:pt x="117" y="358"/>
                </a:lnTo>
                <a:lnTo>
                  <a:pt x="115" y="360"/>
                </a:lnTo>
                <a:lnTo>
                  <a:pt x="115" y="363"/>
                </a:lnTo>
                <a:lnTo>
                  <a:pt x="115" y="365"/>
                </a:lnTo>
                <a:lnTo>
                  <a:pt x="117" y="369"/>
                </a:lnTo>
                <a:lnTo>
                  <a:pt x="115" y="369"/>
                </a:lnTo>
                <a:lnTo>
                  <a:pt x="113" y="369"/>
                </a:lnTo>
                <a:lnTo>
                  <a:pt x="113" y="371"/>
                </a:lnTo>
                <a:lnTo>
                  <a:pt x="111" y="378"/>
                </a:lnTo>
                <a:lnTo>
                  <a:pt x="106" y="378"/>
                </a:lnTo>
                <a:lnTo>
                  <a:pt x="106" y="380"/>
                </a:lnTo>
                <a:lnTo>
                  <a:pt x="106" y="378"/>
                </a:lnTo>
                <a:lnTo>
                  <a:pt x="106" y="371"/>
                </a:lnTo>
                <a:lnTo>
                  <a:pt x="104" y="371"/>
                </a:lnTo>
                <a:lnTo>
                  <a:pt x="102" y="376"/>
                </a:lnTo>
                <a:lnTo>
                  <a:pt x="100" y="376"/>
                </a:lnTo>
                <a:lnTo>
                  <a:pt x="95" y="367"/>
                </a:lnTo>
                <a:lnTo>
                  <a:pt x="93" y="367"/>
                </a:lnTo>
                <a:lnTo>
                  <a:pt x="89" y="369"/>
                </a:lnTo>
                <a:lnTo>
                  <a:pt x="87" y="371"/>
                </a:lnTo>
                <a:lnTo>
                  <a:pt x="82" y="371"/>
                </a:lnTo>
                <a:lnTo>
                  <a:pt x="80" y="376"/>
                </a:lnTo>
                <a:lnTo>
                  <a:pt x="78" y="384"/>
                </a:lnTo>
                <a:lnTo>
                  <a:pt x="74" y="386"/>
                </a:lnTo>
                <a:lnTo>
                  <a:pt x="72" y="386"/>
                </a:lnTo>
                <a:lnTo>
                  <a:pt x="70" y="384"/>
                </a:lnTo>
                <a:lnTo>
                  <a:pt x="70" y="382"/>
                </a:lnTo>
                <a:lnTo>
                  <a:pt x="65" y="382"/>
                </a:lnTo>
                <a:lnTo>
                  <a:pt x="63" y="380"/>
                </a:lnTo>
                <a:lnTo>
                  <a:pt x="61" y="380"/>
                </a:lnTo>
                <a:lnTo>
                  <a:pt x="52" y="376"/>
                </a:lnTo>
                <a:lnTo>
                  <a:pt x="48" y="376"/>
                </a:lnTo>
                <a:lnTo>
                  <a:pt x="46" y="378"/>
                </a:lnTo>
                <a:lnTo>
                  <a:pt x="37" y="371"/>
                </a:lnTo>
                <a:lnTo>
                  <a:pt x="35" y="378"/>
                </a:lnTo>
                <a:lnTo>
                  <a:pt x="37" y="380"/>
                </a:lnTo>
                <a:lnTo>
                  <a:pt x="37" y="382"/>
                </a:lnTo>
                <a:lnTo>
                  <a:pt x="37" y="384"/>
                </a:lnTo>
                <a:lnTo>
                  <a:pt x="35" y="386"/>
                </a:lnTo>
                <a:lnTo>
                  <a:pt x="33" y="386"/>
                </a:lnTo>
                <a:lnTo>
                  <a:pt x="33" y="380"/>
                </a:lnTo>
                <a:lnTo>
                  <a:pt x="31" y="380"/>
                </a:lnTo>
                <a:lnTo>
                  <a:pt x="28" y="382"/>
                </a:lnTo>
                <a:lnTo>
                  <a:pt x="22" y="384"/>
                </a:lnTo>
                <a:lnTo>
                  <a:pt x="20" y="382"/>
                </a:lnTo>
                <a:lnTo>
                  <a:pt x="16" y="380"/>
                </a:lnTo>
                <a:lnTo>
                  <a:pt x="13" y="382"/>
                </a:lnTo>
                <a:lnTo>
                  <a:pt x="13" y="384"/>
                </a:lnTo>
                <a:lnTo>
                  <a:pt x="16" y="386"/>
                </a:lnTo>
                <a:lnTo>
                  <a:pt x="16" y="389"/>
                </a:lnTo>
                <a:lnTo>
                  <a:pt x="16" y="393"/>
                </a:lnTo>
                <a:lnTo>
                  <a:pt x="13" y="395"/>
                </a:lnTo>
                <a:lnTo>
                  <a:pt x="7" y="393"/>
                </a:lnTo>
                <a:lnTo>
                  <a:pt x="3" y="389"/>
                </a:lnTo>
                <a:lnTo>
                  <a:pt x="5" y="389"/>
                </a:lnTo>
                <a:lnTo>
                  <a:pt x="7" y="386"/>
                </a:lnTo>
                <a:lnTo>
                  <a:pt x="3" y="386"/>
                </a:lnTo>
                <a:lnTo>
                  <a:pt x="0" y="384"/>
                </a:lnTo>
                <a:lnTo>
                  <a:pt x="0" y="382"/>
                </a:lnTo>
                <a:lnTo>
                  <a:pt x="5" y="382"/>
                </a:lnTo>
                <a:lnTo>
                  <a:pt x="7" y="382"/>
                </a:lnTo>
                <a:lnTo>
                  <a:pt x="5" y="382"/>
                </a:lnTo>
                <a:lnTo>
                  <a:pt x="3" y="380"/>
                </a:lnTo>
                <a:lnTo>
                  <a:pt x="5" y="380"/>
                </a:lnTo>
                <a:lnTo>
                  <a:pt x="5" y="378"/>
                </a:lnTo>
                <a:lnTo>
                  <a:pt x="7" y="376"/>
                </a:lnTo>
                <a:lnTo>
                  <a:pt x="5" y="371"/>
                </a:lnTo>
                <a:lnTo>
                  <a:pt x="5" y="369"/>
                </a:lnTo>
                <a:lnTo>
                  <a:pt x="5" y="367"/>
                </a:lnTo>
                <a:lnTo>
                  <a:pt x="11" y="367"/>
                </a:lnTo>
                <a:lnTo>
                  <a:pt x="11" y="365"/>
                </a:lnTo>
                <a:lnTo>
                  <a:pt x="5" y="365"/>
                </a:lnTo>
                <a:lnTo>
                  <a:pt x="7" y="360"/>
                </a:lnTo>
                <a:lnTo>
                  <a:pt x="11" y="360"/>
                </a:lnTo>
                <a:lnTo>
                  <a:pt x="13" y="358"/>
                </a:lnTo>
                <a:lnTo>
                  <a:pt x="7" y="354"/>
                </a:lnTo>
                <a:lnTo>
                  <a:pt x="7" y="352"/>
                </a:lnTo>
                <a:lnTo>
                  <a:pt x="7" y="350"/>
                </a:lnTo>
                <a:lnTo>
                  <a:pt x="11" y="345"/>
                </a:lnTo>
                <a:lnTo>
                  <a:pt x="13" y="345"/>
                </a:lnTo>
                <a:lnTo>
                  <a:pt x="13" y="348"/>
                </a:lnTo>
                <a:lnTo>
                  <a:pt x="13" y="345"/>
                </a:lnTo>
                <a:lnTo>
                  <a:pt x="16" y="343"/>
                </a:lnTo>
                <a:lnTo>
                  <a:pt x="16" y="345"/>
                </a:lnTo>
                <a:lnTo>
                  <a:pt x="18" y="345"/>
                </a:lnTo>
                <a:lnTo>
                  <a:pt x="18" y="339"/>
                </a:lnTo>
                <a:lnTo>
                  <a:pt x="20" y="337"/>
                </a:lnTo>
                <a:lnTo>
                  <a:pt x="22" y="332"/>
                </a:lnTo>
                <a:lnTo>
                  <a:pt x="22" y="330"/>
                </a:lnTo>
                <a:lnTo>
                  <a:pt x="22" y="328"/>
                </a:lnTo>
                <a:lnTo>
                  <a:pt x="28" y="328"/>
                </a:lnTo>
                <a:lnTo>
                  <a:pt x="28" y="326"/>
                </a:lnTo>
                <a:lnTo>
                  <a:pt x="31" y="326"/>
                </a:lnTo>
                <a:lnTo>
                  <a:pt x="31" y="322"/>
                </a:lnTo>
                <a:lnTo>
                  <a:pt x="28" y="319"/>
                </a:lnTo>
                <a:lnTo>
                  <a:pt x="28" y="317"/>
                </a:lnTo>
                <a:lnTo>
                  <a:pt x="31" y="315"/>
                </a:lnTo>
                <a:lnTo>
                  <a:pt x="31" y="313"/>
                </a:lnTo>
                <a:lnTo>
                  <a:pt x="31" y="311"/>
                </a:lnTo>
                <a:lnTo>
                  <a:pt x="33" y="307"/>
                </a:lnTo>
                <a:lnTo>
                  <a:pt x="35" y="307"/>
                </a:lnTo>
                <a:lnTo>
                  <a:pt x="37" y="302"/>
                </a:lnTo>
                <a:lnTo>
                  <a:pt x="37" y="298"/>
                </a:lnTo>
                <a:lnTo>
                  <a:pt x="37" y="296"/>
                </a:lnTo>
                <a:lnTo>
                  <a:pt x="33" y="289"/>
                </a:lnTo>
                <a:lnTo>
                  <a:pt x="35" y="285"/>
                </a:lnTo>
                <a:lnTo>
                  <a:pt x="35" y="283"/>
                </a:lnTo>
                <a:lnTo>
                  <a:pt x="35" y="281"/>
                </a:lnTo>
                <a:lnTo>
                  <a:pt x="33" y="281"/>
                </a:lnTo>
                <a:lnTo>
                  <a:pt x="31" y="278"/>
                </a:lnTo>
                <a:lnTo>
                  <a:pt x="31" y="272"/>
                </a:lnTo>
                <a:lnTo>
                  <a:pt x="28" y="270"/>
                </a:lnTo>
                <a:lnTo>
                  <a:pt x="24" y="270"/>
                </a:lnTo>
                <a:lnTo>
                  <a:pt x="24" y="268"/>
                </a:lnTo>
                <a:lnTo>
                  <a:pt x="22" y="268"/>
                </a:lnTo>
                <a:lnTo>
                  <a:pt x="22" y="266"/>
                </a:lnTo>
                <a:lnTo>
                  <a:pt x="24" y="263"/>
                </a:lnTo>
                <a:lnTo>
                  <a:pt x="28" y="261"/>
                </a:lnTo>
                <a:lnTo>
                  <a:pt x="28" y="257"/>
                </a:lnTo>
                <a:lnTo>
                  <a:pt x="28" y="255"/>
                </a:lnTo>
                <a:lnTo>
                  <a:pt x="24" y="253"/>
                </a:lnTo>
                <a:lnTo>
                  <a:pt x="24" y="250"/>
                </a:lnTo>
                <a:lnTo>
                  <a:pt x="24" y="248"/>
                </a:lnTo>
                <a:lnTo>
                  <a:pt x="24" y="246"/>
                </a:lnTo>
                <a:lnTo>
                  <a:pt x="31" y="246"/>
                </a:lnTo>
                <a:lnTo>
                  <a:pt x="31" y="233"/>
                </a:lnTo>
                <a:lnTo>
                  <a:pt x="28" y="220"/>
                </a:lnTo>
                <a:lnTo>
                  <a:pt x="24" y="196"/>
                </a:lnTo>
                <a:lnTo>
                  <a:pt x="22" y="168"/>
                </a:lnTo>
                <a:lnTo>
                  <a:pt x="20" y="138"/>
                </a:lnTo>
                <a:lnTo>
                  <a:pt x="20" y="114"/>
                </a:lnTo>
                <a:lnTo>
                  <a:pt x="18" y="88"/>
                </a:lnTo>
                <a:lnTo>
                  <a:pt x="16" y="73"/>
                </a:lnTo>
                <a:lnTo>
                  <a:pt x="16" y="65"/>
                </a:lnTo>
                <a:lnTo>
                  <a:pt x="13" y="47"/>
                </a:lnTo>
                <a:lnTo>
                  <a:pt x="11" y="24"/>
                </a:lnTo>
                <a:lnTo>
                  <a:pt x="16" y="28"/>
                </a:lnTo>
                <a:lnTo>
                  <a:pt x="20" y="26"/>
                </a:lnTo>
                <a:lnTo>
                  <a:pt x="18" y="28"/>
                </a:lnTo>
                <a:lnTo>
                  <a:pt x="20" y="32"/>
                </a:lnTo>
                <a:lnTo>
                  <a:pt x="33" y="32"/>
                </a:lnTo>
                <a:lnTo>
                  <a:pt x="52" y="19"/>
                </a:lnTo>
                <a:lnTo>
                  <a:pt x="61" y="15"/>
                </a:lnTo>
                <a:lnTo>
                  <a:pt x="80" y="15"/>
                </a:lnTo>
                <a:lnTo>
                  <a:pt x="100" y="11"/>
                </a:lnTo>
                <a:lnTo>
                  <a:pt x="113" y="9"/>
                </a:lnTo>
                <a:lnTo>
                  <a:pt x="130" y="6"/>
                </a:lnTo>
                <a:lnTo>
                  <a:pt x="139" y="6"/>
                </a:lnTo>
                <a:lnTo>
                  <a:pt x="165" y="4"/>
                </a:lnTo>
                <a:lnTo>
                  <a:pt x="171" y="4"/>
                </a:lnTo>
                <a:lnTo>
                  <a:pt x="197" y="0"/>
                </a:lnTo>
                <a:lnTo>
                  <a:pt x="199" y="0"/>
                </a:lnTo>
                <a:lnTo>
                  <a:pt x="201" y="6"/>
                </a:lnTo>
                <a:lnTo>
                  <a:pt x="201" y="22"/>
                </a:lnTo>
                <a:lnTo>
                  <a:pt x="203" y="32"/>
                </a:lnTo>
                <a:lnTo>
                  <a:pt x="208" y="43"/>
                </a:lnTo>
                <a:lnTo>
                  <a:pt x="208" y="47"/>
                </a:lnTo>
                <a:lnTo>
                  <a:pt x="210" y="71"/>
                </a:lnTo>
                <a:lnTo>
                  <a:pt x="210" y="76"/>
                </a:lnTo>
                <a:lnTo>
                  <a:pt x="212" y="97"/>
                </a:lnTo>
                <a:lnTo>
                  <a:pt x="214" y="108"/>
                </a:lnTo>
                <a:lnTo>
                  <a:pt x="216" y="132"/>
                </a:lnTo>
                <a:lnTo>
                  <a:pt x="216" y="134"/>
                </a:lnTo>
                <a:lnTo>
                  <a:pt x="219" y="164"/>
                </a:lnTo>
                <a:lnTo>
                  <a:pt x="219" y="171"/>
                </a:lnTo>
                <a:lnTo>
                  <a:pt x="221" y="188"/>
                </a:lnTo>
                <a:lnTo>
                  <a:pt x="225" y="203"/>
                </a:lnTo>
                <a:lnTo>
                  <a:pt x="225" y="207"/>
                </a:lnTo>
                <a:lnTo>
                  <a:pt x="227" y="229"/>
                </a:lnTo>
                <a:lnTo>
                  <a:pt x="229" y="248"/>
                </a:lnTo>
                <a:lnTo>
                  <a:pt x="227" y="248"/>
                </a:lnTo>
                <a:lnTo>
                  <a:pt x="225" y="250"/>
                </a:lnTo>
                <a:lnTo>
                  <a:pt x="225" y="253"/>
                </a:lnTo>
                <a:lnTo>
                  <a:pt x="225" y="255"/>
                </a:lnTo>
                <a:lnTo>
                  <a:pt x="227" y="255"/>
                </a:lnTo>
                <a:lnTo>
                  <a:pt x="229" y="257"/>
                </a:lnTo>
                <a:lnTo>
                  <a:pt x="227" y="261"/>
                </a:lnTo>
                <a:lnTo>
                  <a:pt x="227" y="263"/>
                </a:lnTo>
                <a:lnTo>
                  <a:pt x="227" y="266"/>
                </a:lnTo>
                <a:lnTo>
                  <a:pt x="231" y="266"/>
                </a:lnTo>
                <a:lnTo>
                  <a:pt x="231" y="268"/>
                </a:lnTo>
                <a:lnTo>
                  <a:pt x="229" y="272"/>
                </a:lnTo>
                <a:lnTo>
                  <a:pt x="231" y="276"/>
                </a:lnTo>
                <a:lnTo>
                  <a:pt x="219" y="278"/>
                </a:lnTo>
                <a:lnTo>
                  <a:pt x="216" y="281"/>
                </a:lnTo>
                <a:lnTo>
                  <a:pt x="214" y="283"/>
                </a:lnTo>
                <a:lnTo>
                  <a:pt x="210" y="285"/>
                </a:lnTo>
                <a:lnTo>
                  <a:pt x="208" y="287"/>
                </a:lnTo>
                <a:lnTo>
                  <a:pt x="203" y="287"/>
                </a:lnTo>
                <a:lnTo>
                  <a:pt x="199" y="285"/>
                </a:lnTo>
                <a:lnTo>
                  <a:pt x="195" y="285"/>
                </a:lnTo>
                <a:lnTo>
                  <a:pt x="188" y="285"/>
                </a:lnTo>
                <a:lnTo>
                  <a:pt x="186" y="287"/>
                </a:lnTo>
                <a:lnTo>
                  <a:pt x="186" y="289"/>
                </a:lnTo>
                <a:lnTo>
                  <a:pt x="188" y="300"/>
                </a:lnTo>
                <a:lnTo>
                  <a:pt x="188" y="302"/>
                </a:lnTo>
                <a:lnTo>
                  <a:pt x="188" y="304"/>
                </a:lnTo>
                <a:lnTo>
                  <a:pt x="186" y="307"/>
                </a:lnTo>
                <a:lnTo>
                  <a:pt x="184" y="313"/>
                </a:lnTo>
                <a:lnTo>
                  <a:pt x="177" y="315"/>
                </a:lnTo>
                <a:lnTo>
                  <a:pt x="177" y="319"/>
                </a:lnTo>
                <a:lnTo>
                  <a:pt x="177" y="326"/>
                </a:lnTo>
                <a:lnTo>
                  <a:pt x="175" y="330"/>
                </a:lnTo>
                <a:lnTo>
                  <a:pt x="169" y="332"/>
                </a:lnTo>
                <a:lnTo>
                  <a:pt x="167" y="332"/>
                </a:lnTo>
                <a:lnTo>
                  <a:pt x="165" y="330"/>
                </a:lnTo>
                <a:lnTo>
                  <a:pt x="162" y="332"/>
                </a:lnTo>
                <a:lnTo>
                  <a:pt x="162" y="335"/>
                </a:lnTo>
                <a:lnTo>
                  <a:pt x="160" y="343"/>
                </a:lnTo>
                <a:lnTo>
                  <a:pt x="160" y="352"/>
                </a:lnTo>
                <a:lnTo>
                  <a:pt x="160" y="354"/>
                </a:lnTo>
                <a:lnTo>
                  <a:pt x="156" y="358"/>
                </a:lnTo>
                <a:lnTo>
                  <a:pt x="154" y="360"/>
                </a:lnTo>
                <a:lnTo>
                  <a:pt x="152" y="360"/>
                </a:lnTo>
                <a:lnTo>
                  <a:pt x="149" y="363"/>
                </a:lnTo>
                <a:lnTo>
                  <a:pt x="147" y="360"/>
                </a:lnTo>
                <a:lnTo>
                  <a:pt x="139" y="360"/>
                </a:lnTo>
                <a:lnTo>
                  <a:pt x="134" y="358"/>
                </a:lnTo>
                <a:lnTo>
                  <a:pt x="132" y="354"/>
                </a:lnTo>
                <a:lnTo>
                  <a:pt x="130" y="348"/>
                </a:lnTo>
                <a:lnTo>
                  <a:pt x="128" y="345"/>
                </a:lnTo>
              </a:path>
            </a:pathLst>
          </a:custGeom>
          <a:noFill/>
          <a:ln w="9525">
            <a:solidFill>
              <a:schemeClr val="tx1"/>
            </a:solidFill>
            <a:headEnd/>
            <a:tailEnd/>
          </a:ln>
        </p:spPr>
        <p:style>
          <a:lnRef idx="2">
            <a:schemeClr val="accent4"/>
          </a:lnRef>
          <a:fillRef idx="0">
            <a:schemeClr val="accent4"/>
          </a:fillRef>
          <a:effectRef idx="1">
            <a:schemeClr val="accent4"/>
          </a:effectRef>
          <a:fontRef idx="minor">
            <a:schemeClr val="tx1"/>
          </a:fontRef>
        </p:style>
        <p:txBody>
          <a:bodyPr/>
          <a:lstStyle/>
          <a:p>
            <a:endParaRPr lang="en-US" dirty="0">
              <a:solidFill>
                <a:prstClr val="black"/>
              </a:solidFill>
            </a:endParaRPr>
          </a:p>
        </p:txBody>
      </p:sp>
      <p:sp>
        <p:nvSpPr>
          <p:cNvPr id="224" name="Freeform 57">
            <a:extLst>
              <a:ext uri="{FF2B5EF4-FFF2-40B4-BE49-F238E27FC236}">
                <a16:creationId xmlns:a16="http://schemas.microsoft.com/office/drawing/2014/main" id="{F05E9ADD-880C-4848-B7D0-A9E21EE24273}"/>
              </a:ext>
            </a:extLst>
          </p:cNvPr>
          <p:cNvSpPr>
            <a:spLocks/>
          </p:cNvSpPr>
          <p:nvPr>
            <p:custDataLst>
              <p:tags r:id="rId48"/>
            </p:custDataLst>
          </p:nvPr>
        </p:nvSpPr>
        <p:spPr bwMode="auto">
          <a:xfrm>
            <a:off x="2632989" y="2806044"/>
            <a:ext cx="957906" cy="1569396"/>
          </a:xfrm>
          <a:custGeom>
            <a:avLst/>
            <a:gdLst>
              <a:gd name="T0" fmla="*/ 2147483647 w 473"/>
              <a:gd name="T1" fmla="*/ 2147483647 h 726"/>
              <a:gd name="T2" fmla="*/ 2147483647 w 473"/>
              <a:gd name="T3" fmla="*/ 2147483647 h 726"/>
              <a:gd name="T4" fmla="*/ 2147483647 w 473"/>
              <a:gd name="T5" fmla="*/ 2147483647 h 726"/>
              <a:gd name="T6" fmla="*/ 2147483647 w 473"/>
              <a:gd name="T7" fmla="*/ 2147483647 h 726"/>
              <a:gd name="T8" fmla="*/ 2147483647 w 473"/>
              <a:gd name="T9" fmla="*/ 2147483647 h 726"/>
              <a:gd name="T10" fmla="*/ 2147483647 w 473"/>
              <a:gd name="T11" fmla="*/ 2147483647 h 726"/>
              <a:gd name="T12" fmla="*/ 2147483647 w 473"/>
              <a:gd name="T13" fmla="*/ 2147483647 h 726"/>
              <a:gd name="T14" fmla="*/ 2147483647 w 473"/>
              <a:gd name="T15" fmla="*/ 2147483647 h 726"/>
              <a:gd name="T16" fmla="*/ 2147483647 w 473"/>
              <a:gd name="T17" fmla="*/ 2147483647 h 726"/>
              <a:gd name="T18" fmla="*/ 2147483647 w 473"/>
              <a:gd name="T19" fmla="*/ 2147483647 h 726"/>
              <a:gd name="T20" fmla="*/ 2147483647 w 473"/>
              <a:gd name="T21" fmla="*/ 2147483647 h 726"/>
              <a:gd name="T22" fmla="*/ 2147483647 w 473"/>
              <a:gd name="T23" fmla="*/ 2147483647 h 726"/>
              <a:gd name="T24" fmla="*/ 2147483647 w 473"/>
              <a:gd name="T25" fmla="*/ 2147483647 h 726"/>
              <a:gd name="T26" fmla="*/ 2147483647 w 473"/>
              <a:gd name="T27" fmla="*/ 2147483647 h 726"/>
              <a:gd name="T28" fmla="*/ 2147483647 w 473"/>
              <a:gd name="T29" fmla="*/ 2147483647 h 726"/>
              <a:gd name="T30" fmla="*/ 2147483647 w 473"/>
              <a:gd name="T31" fmla="*/ 2147483647 h 726"/>
              <a:gd name="T32" fmla="*/ 2147483647 w 473"/>
              <a:gd name="T33" fmla="*/ 2147483647 h 726"/>
              <a:gd name="T34" fmla="*/ 2147483647 w 473"/>
              <a:gd name="T35" fmla="*/ 2147483647 h 726"/>
              <a:gd name="T36" fmla="*/ 2147483647 w 473"/>
              <a:gd name="T37" fmla="*/ 2147483647 h 726"/>
              <a:gd name="T38" fmla="*/ 2147483647 w 473"/>
              <a:gd name="T39" fmla="*/ 2147483647 h 726"/>
              <a:gd name="T40" fmla="*/ 2147483647 w 473"/>
              <a:gd name="T41" fmla="*/ 2147483647 h 726"/>
              <a:gd name="T42" fmla="*/ 2147483647 w 473"/>
              <a:gd name="T43" fmla="*/ 2147483647 h 726"/>
              <a:gd name="T44" fmla="*/ 2147483647 w 473"/>
              <a:gd name="T45" fmla="*/ 2147483647 h 726"/>
              <a:gd name="T46" fmla="*/ 2147483647 w 473"/>
              <a:gd name="T47" fmla="*/ 2147483647 h 726"/>
              <a:gd name="T48" fmla="*/ 2147483647 w 473"/>
              <a:gd name="T49" fmla="*/ 2147483647 h 726"/>
              <a:gd name="T50" fmla="*/ 2147483647 w 473"/>
              <a:gd name="T51" fmla="*/ 2147483647 h 726"/>
              <a:gd name="T52" fmla="*/ 2147483647 w 473"/>
              <a:gd name="T53" fmla="*/ 2147483647 h 726"/>
              <a:gd name="T54" fmla="*/ 2147483647 w 473"/>
              <a:gd name="T55" fmla="*/ 2147483647 h 726"/>
              <a:gd name="T56" fmla="*/ 2147483647 w 473"/>
              <a:gd name="T57" fmla="*/ 2147483647 h 726"/>
              <a:gd name="T58" fmla="*/ 2147483647 w 473"/>
              <a:gd name="T59" fmla="*/ 2147483647 h 726"/>
              <a:gd name="T60" fmla="*/ 2147483647 w 473"/>
              <a:gd name="T61" fmla="*/ 2147483647 h 726"/>
              <a:gd name="T62" fmla="*/ 2147483647 w 473"/>
              <a:gd name="T63" fmla="*/ 2147483647 h 726"/>
              <a:gd name="T64" fmla="*/ 2147483647 w 473"/>
              <a:gd name="T65" fmla="*/ 2147483647 h 726"/>
              <a:gd name="T66" fmla="*/ 2147483647 w 473"/>
              <a:gd name="T67" fmla="*/ 2147483647 h 726"/>
              <a:gd name="T68" fmla="*/ 2147483647 w 473"/>
              <a:gd name="T69" fmla="*/ 2147483647 h 726"/>
              <a:gd name="T70" fmla="*/ 2147483647 w 473"/>
              <a:gd name="T71" fmla="*/ 2147483647 h 726"/>
              <a:gd name="T72" fmla="*/ 2147483647 w 473"/>
              <a:gd name="T73" fmla="*/ 2147483647 h 726"/>
              <a:gd name="T74" fmla="*/ 2147483647 w 473"/>
              <a:gd name="T75" fmla="*/ 2147483647 h 726"/>
              <a:gd name="T76" fmla="*/ 2147483647 w 473"/>
              <a:gd name="T77" fmla="*/ 2147483647 h 7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3"/>
              <a:gd name="T118" fmla="*/ 0 h 726"/>
              <a:gd name="T119" fmla="*/ 473 w 473"/>
              <a:gd name="T120" fmla="*/ 726 h 7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3" h="726">
                <a:moveTo>
                  <a:pt x="46" y="339"/>
                </a:moveTo>
                <a:lnTo>
                  <a:pt x="37" y="326"/>
                </a:lnTo>
                <a:lnTo>
                  <a:pt x="22" y="307"/>
                </a:lnTo>
                <a:lnTo>
                  <a:pt x="5" y="279"/>
                </a:lnTo>
                <a:lnTo>
                  <a:pt x="0" y="272"/>
                </a:lnTo>
                <a:lnTo>
                  <a:pt x="3" y="264"/>
                </a:lnTo>
                <a:lnTo>
                  <a:pt x="3" y="262"/>
                </a:lnTo>
                <a:lnTo>
                  <a:pt x="3" y="257"/>
                </a:lnTo>
                <a:lnTo>
                  <a:pt x="7" y="242"/>
                </a:lnTo>
                <a:lnTo>
                  <a:pt x="9" y="233"/>
                </a:lnTo>
                <a:lnTo>
                  <a:pt x="18" y="205"/>
                </a:lnTo>
                <a:lnTo>
                  <a:pt x="52" y="74"/>
                </a:lnTo>
                <a:lnTo>
                  <a:pt x="69" y="0"/>
                </a:lnTo>
                <a:lnTo>
                  <a:pt x="115" y="11"/>
                </a:lnTo>
                <a:lnTo>
                  <a:pt x="117" y="13"/>
                </a:lnTo>
                <a:lnTo>
                  <a:pt x="190" y="31"/>
                </a:lnTo>
                <a:lnTo>
                  <a:pt x="270" y="48"/>
                </a:lnTo>
                <a:lnTo>
                  <a:pt x="272" y="48"/>
                </a:lnTo>
                <a:lnTo>
                  <a:pt x="344" y="65"/>
                </a:lnTo>
                <a:lnTo>
                  <a:pt x="406" y="78"/>
                </a:lnTo>
                <a:lnTo>
                  <a:pt x="458" y="89"/>
                </a:lnTo>
                <a:lnTo>
                  <a:pt x="473" y="91"/>
                </a:lnTo>
                <a:lnTo>
                  <a:pt x="456" y="182"/>
                </a:lnTo>
                <a:lnTo>
                  <a:pt x="441" y="264"/>
                </a:lnTo>
                <a:lnTo>
                  <a:pt x="434" y="283"/>
                </a:lnTo>
                <a:lnTo>
                  <a:pt x="430" y="318"/>
                </a:lnTo>
                <a:lnTo>
                  <a:pt x="413" y="398"/>
                </a:lnTo>
                <a:lnTo>
                  <a:pt x="413" y="406"/>
                </a:lnTo>
                <a:lnTo>
                  <a:pt x="402" y="447"/>
                </a:lnTo>
                <a:lnTo>
                  <a:pt x="393" y="497"/>
                </a:lnTo>
                <a:lnTo>
                  <a:pt x="383" y="551"/>
                </a:lnTo>
                <a:lnTo>
                  <a:pt x="380" y="564"/>
                </a:lnTo>
                <a:lnTo>
                  <a:pt x="370" y="622"/>
                </a:lnTo>
                <a:lnTo>
                  <a:pt x="363" y="631"/>
                </a:lnTo>
                <a:lnTo>
                  <a:pt x="361" y="637"/>
                </a:lnTo>
                <a:lnTo>
                  <a:pt x="352" y="637"/>
                </a:lnTo>
                <a:lnTo>
                  <a:pt x="348" y="633"/>
                </a:lnTo>
                <a:lnTo>
                  <a:pt x="348" y="631"/>
                </a:lnTo>
                <a:lnTo>
                  <a:pt x="348" y="629"/>
                </a:lnTo>
                <a:lnTo>
                  <a:pt x="346" y="626"/>
                </a:lnTo>
                <a:lnTo>
                  <a:pt x="344" y="622"/>
                </a:lnTo>
                <a:lnTo>
                  <a:pt x="337" y="626"/>
                </a:lnTo>
                <a:lnTo>
                  <a:pt x="337" y="622"/>
                </a:lnTo>
                <a:lnTo>
                  <a:pt x="333" y="620"/>
                </a:lnTo>
                <a:lnTo>
                  <a:pt x="329" y="620"/>
                </a:lnTo>
                <a:lnTo>
                  <a:pt x="326" y="620"/>
                </a:lnTo>
                <a:lnTo>
                  <a:pt x="318" y="622"/>
                </a:lnTo>
                <a:lnTo>
                  <a:pt x="316" y="626"/>
                </a:lnTo>
                <a:lnTo>
                  <a:pt x="316" y="629"/>
                </a:lnTo>
                <a:lnTo>
                  <a:pt x="316" y="633"/>
                </a:lnTo>
                <a:lnTo>
                  <a:pt x="316" y="639"/>
                </a:lnTo>
                <a:lnTo>
                  <a:pt x="318" y="644"/>
                </a:lnTo>
                <a:lnTo>
                  <a:pt x="318" y="646"/>
                </a:lnTo>
                <a:lnTo>
                  <a:pt x="316" y="646"/>
                </a:lnTo>
                <a:lnTo>
                  <a:pt x="313" y="652"/>
                </a:lnTo>
                <a:lnTo>
                  <a:pt x="313" y="659"/>
                </a:lnTo>
                <a:lnTo>
                  <a:pt x="313" y="661"/>
                </a:lnTo>
                <a:lnTo>
                  <a:pt x="313" y="665"/>
                </a:lnTo>
                <a:lnTo>
                  <a:pt x="316" y="667"/>
                </a:lnTo>
                <a:lnTo>
                  <a:pt x="313" y="670"/>
                </a:lnTo>
                <a:lnTo>
                  <a:pt x="313" y="676"/>
                </a:lnTo>
                <a:lnTo>
                  <a:pt x="311" y="678"/>
                </a:lnTo>
                <a:lnTo>
                  <a:pt x="311" y="682"/>
                </a:lnTo>
                <a:lnTo>
                  <a:pt x="313" y="693"/>
                </a:lnTo>
                <a:lnTo>
                  <a:pt x="313" y="698"/>
                </a:lnTo>
                <a:lnTo>
                  <a:pt x="313" y="704"/>
                </a:lnTo>
                <a:lnTo>
                  <a:pt x="313" y="711"/>
                </a:lnTo>
                <a:lnTo>
                  <a:pt x="311" y="713"/>
                </a:lnTo>
                <a:lnTo>
                  <a:pt x="309" y="713"/>
                </a:lnTo>
                <a:lnTo>
                  <a:pt x="305" y="715"/>
                </a:lnTo>
                <a:lnTo>
                  <a:pt x="309" y="717"/>
                </a:lnTo>
                <a:lnTo>
                  <a:pt x="305" y="719"/>
                </a:lnTo>
                <a:lnTo>
                  <a:pt x="305" y="726"/>
                </a:lnTo>
                <a:lnTo>
                  <a:pt x="247" y="637"/>
                </a:lnTo>
                <a:lnTo>
                  <a:pt x="231" y="613"/>
                </a:lnTo>
                <a:lnTo>
                  <a:pt x="156" y="505"/>
                </a:lnTo>
                <a:lnTo>
                  <a:pt x="117" y="449"/>
                </a:lnTo>
                <a:lnTo>
                  <a:pt x="87" y="400"/>
                </a:lnTo>
                <a:lnTo>
                  <a:pt x="46" y="339"/>
                </a:lnTo>
                <a:close/>
              </a:path>
            </a:pathLst>
          </a:custGeom>
          <a:solidFill>
            <a:schemeClr val="bg1"/>
          </a:solidFill>
          <a:ln w="9525">
            <a:noFill/>
            <a:round/>
            <a:headEnd/>
            <a:tailEnd/>
          </a:ln>
        </p:spPr>
        <p:txBody>
          <a:bodyPr/>
          <a:lstStyle/>
          <a:p>
            <a:endParaRPr lang="en-US" dirty="0">
              <a:solidFill>
                <a:prstClr val="black"/>
              </a:solidFill>
            </a:endParaRPr>
          </a:p>
        </p:txBody>
      </p:sp>
      <p:sp>
        <p:nvSpPr>
          <p:cNvPr id="225" name="Freeform 58">
            <a:extLst>
              <a:ext uri="{FF2B5EF4-FFF2-40B4-BE49-F238E27FC236}">
                <a16:creationId xmlns:a16="http://schemas.microsoft.com/office/drawing/2014/main" id="{BF50A18D-7413-48AD-856E-C9C100DE4EEE}"/>
              </a:ext>
            </a:extLst>
          </p:cNvPr>
          <p:cNvSpPr>
            <a:spLocks/>
          </p:cNvSpPr>
          <p:nvPr>
            <p:custDataLst>
              <p:tags r:id="rId49"/>
            </p:custDataLst>
          </p:nvPr>
        </p:nvSpPr>
        <p:spPr bwMode="auto">
          <a:xfrm>
            <a:off x="2632989" y="2806044"/>
            <a:ext cx="957906" cy="1569396"/>
          </a:xfrm>
          <a:custGeom>
            <a:avLst/>
            <a:gdLst>
              <a:gd name="T0" fmla="*/ 2147483647 w 473"/>
              <a:gd name="T1" fmla="*/ 2147483647 h 726"/>
              <a:gd name="T2" fmla="*/ 2147483647 w 473"/>
              <a:gd name="T3" fmla="*/ 2147483647 h 726"/>
              <a:gd name="T4" fmla="*/ 2147483647 w 473"/>
              <a:gd name="T5" fmla="*/ 2147483647 h 726"/>
              <a:gd name="T6" fmla="*/ 2147483647 w 473"/>
              <a:gd name="T7" fmla="*/ 2147483647 h 726"/>
              <a:gd name="T8" fmla="*/ 2147483647 w 473"/>
              <a:gd name="T9" fmla="*/ 2147483647 h 726"/>
              <a:gd name="T10" fmla="*/ 2147483647 w 473"/>
              <a:gd name="T11" fmla="*/ 2147483647 h 726"/>
              <a:gd name="T12" fmla="*/ 2147483647 w 473"/>
              <a:gd name="T13" fmla="*/ 2147483647 h 726"/>
              <a:gd name="T14" fmla="*/ 2147483647 w 473"/>
              <a:gd name="T15" fmla="*/ 2147483647 h 726"/>
              <a:gd name="T16" fmla="*/ 2147483647 w 473"/>
              <a:gd name="T17" fmla="*/ 2147483647 h 726"/>
              <a:gd name="T18" fmla="*/ 2147483647 w 473"/>
              <a:gd name="T19" fmla="*/ 2147483647 h 726"/>
              <a:gd name="T20" fmla="*/ 2147483647 w 473"/>
              <a:gd name="T21" fmla="*/ 2147483647 h 726"/>
              <a:gd name="T22" fmla="*/ 2147483647 w 473"/>
              <a:gd name="T23" fmla="*/ 2147483647 h 726"/>
              <a:gd name="T24" fmla="*/ 2147483647 w 473"/>
              <a:gd name="T25" fmla="*/ 2147483647 h 726"/>
              <a:gd name="T26" fmla="*/ 2147483647 w 473"/>
              <a:gd name="T27" fmla="*/ 2147483647 h 726"/>
              <a:gd name="T28" fmla="*/ 2147483647 w 473"/>
              <a:gd name="T29" fmla="*/ 2147483647 h 726"/>
              <a:gd name="T30" fmla="*/ 2147483647 w 473"/>
              <a:gd name="T31" fmla="*/ 2147483647 h 726"/>
              <a:gd name="T32" fmla="*/ 2147483647 w 473"/>
              <a:gd name="T33" fmla="*/ 2147483647 h 726"/>
              <a:gd name="T34" fmla="*/ 2147483647 w 473"/>
              <a:gd name="T35" fmla="*/ 2147483647 h 726"/>
              <a:gd name="T36" fmla="*/ 2147483647 w 473"/>
              <a:gd name="T37" fmla="*/ 2147483647 h 726"/>
              <a:gd name="T38" fmla="*/ 2147483647 w 473"/>
              <a:gd name="T39" fmla="*/ 2147483647 h 726"/>
              <a:gd name="T40" fmla="*/ 2147483647 w 473"/>
              <a:gd name="T41" fmla="*/ 2147483647 h 726"/>
              <a:gd name="T42" fmla="*/ 2147483647 w 473"/>
              <a:gd name="T43" fmla="*/ 2147483647 h 726"/>
              <a:gd name="T44" fmla="*/ 2147483647 w 473"/>
              <a:gd name="T45" fmla="*/ 2147483647 h 726"/>
              <a:gd name="T46" fmla="*/ 2147483647 w 473"/>
              <a:gd name="T47" fmla="*/ 2147483647 h 726"/>
              <a:gd name="T48" fmla="*/ 2147483647 w 473"/>
              <a:gd name="T49" fmla="*/ 2147483647 h 726"/>
              <a:gd name="T50" fmla="*/ 2147483647 w 473"/>
              <a:gd name="T51" fmla="*/ 2147483647 h 726"/>
              <a:gd name="T52" fmla="*/ 2147483647 w 473"/>
              <a:gd name="T53" fmla="*/ 2147483647 h 726"/>
              <a:gd name="T54" fmla="*/ 2147483647 w 473"/>
              <a:gd name="T55" fmla="*/ 2147483647 h 726"/>
              <a:gd name="T56" fmla="*/ 2147483647 w 473"/>
              <a:gd name="T57" fmla="*/ 2147483647 h 726"/>
              <a:gd name="T58" fmla="*/ 2147483647 w 473"/>
              <a:gd name="T59" fmla="*/ 2147483647 h 726"/>
              <a:gd name="T60" fmla="*/ 2147483647 w 473"/>
              <a:gd name="T61" fmla="*/ 2147483647 h 726"/>
              <a:gd name="T62" fmla="*/ 2147483647 w 473"/>
              <a:gd name="T63" fmla="*/ 2147483647 h 726"/>
              <a:gd name="T64" fmla="*/ 2147483647 w 473"/>
              <a:gd name="T65" fmla="*/ 2147483647 h 726"/>
              <a:gd name="T66" fmla="*/ 2147483647 w 473"/>
              <a:gd name="T67" fmla="*/ 2147483647 h 726"/>
              <a:gd name="T68" fmla="*/ 2147483647 w 473"/>
              <a:gd name="T69" fmla="*/ 2147483647 h 726"/>
              <a:gd name="T70" fmla="*/ 2147483647 w 473"/>
              <a:gd name="T71" fmla="*/ 2147483647 h 726"/>
              <a:gd name="T72" fmla="*/ 2147483647 w 473"/>
              <a:gd name="T73" fmla="*/ 2147483647 h 726"/>
              <a:gd name="T74" fmla="*/ 2147483647 w 473"/>
              <a:gd name="T75" fmla="*/ 2147483647 h 726"/>
              <a:gd name="T76" fmla="*/ 2147483647 w 473"/>
              <a:gd name="T77" fmla="*/ 2147483647 h 7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3"/>
              <a:gd name="T118" fmla="*/ 0 h 726"/>
              <a:gd name="T119" fmla="*/ 473 w 473"/>
              <a:gd name="T120" fmla="*/ 726 h 7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3" h="726">
                <a:moveTo>
                  <a:pt x="46" y="339"/>
                </a:moveTo>
                <a:lnTo>
                  <a:pt x="37" y="326"/>
                </a:lnTo>
                <a:lnTo>
                  <a:pt x="22" y="307"/>
                </a:lnTo>
                <a:lnTo>
                  <a:pt x="5" y="279"/>
                </a:lnTo>
                <a:lnTo>
                  <a:pt x="0" y="272"/>
                </a:lnTo>
                <a:lnTo>
                  <a:pt x="3" y="264"/>
                </a:lnTo>
                <a:lnTo>
                  <a:pt x="3" y="262"/>
                </a:lnTo>
                <a:lnTo>
                  <a:pt x="3" y="257"/>
                </a:lnTo>
                <a:lnTo>
                  <a:pt x="7" y="242"/>
                </a:lnTo>
                <a:lnTo>
                  <a:pt x="9" y="233"/>
                </a:lnTo>
                <a:lnTo>
                  <a:pt x="18" y="205"/>
                </a:lnTo>
                <a:lnTo>
                  <a:pt x="52" y="74"/>
                </a:lnTo>
                <a:lnTo>
                  <a:pt x="69" y="0"/>
                </a:lnTo>
                <a:lnTo>
                  <a:pt x="115" y="11"/>
                </a:lnTo>
                <a:lnTo>
                  <a:pt x="117" y="13"/>
                </a:lnTo>
                <a:lnTo>
                  <a:pt x="190" y="31"/>
                </a:lnTo>
                <a:lnTo>
                  <a:pt x="270" y="48"/>
                </a:lnTo>
                <a:lnTo>
                  <a:pt x="272" y="48"/>
                </a:lnTo>
                <a:lnTo>
                  <a:pt x="344" y="65"/>
                </a:lnTo>
                <a:lnTo>
                  <a:pt x="406" y="78"/>
                </a:lnTo>
                <a:lnTo>
                  <a:pt x="458" y="89"/>
                </a:lnTo>
                <a:lnTo>
                  <a:pt x="473" y="91"/>
                </a:lnTo>
                <a:lnTo>
                  <a:pt x="456" y="182"/>
                </a:lnTo>
                <a:lnTo>
                  <a:pt x="441" y="264"/>
                </a:lnTo>
                <a:lnTo>
                  <a:pt x="434" y="283"/>
                </a:lnTo>
                <a:lnTo>
                  <a:pt x="430" y="318"/>
                </a:lnTo>
                <a:lnTo>
                  <a:pt x="413" y="398"/>
                </a:lnTo>
                <a:lnTo>
                  <a:pt x="413" y="406"/>
                </a:lnTo>
                <a:lnTo>
                  <a:pt x="402" y="447"/>
                </a:lnTo>
                <a:lnTo>
                  <a:pt x="393" y="497"/>
                </a:lnTo>
                <a:lnTo>
                  <a:pt x="383" y="551"/>
                </a:lnTo>
                <a:lnTo>
                  <a:pt x="380" y="564"/>
                </a:lnTo>
                <a:lnTo>
                  <a:pt x="370" y="622"/>
                </a:lnTo>
                <a:lnTo>
                  <a:pt x="363" y="631"/>
                </a:lnTo>
                <a:lnTo>
                  <a:pt x="361" y="637"/>
                </a:lnTo>
                <a:lnTo>
                  <a:pt x="352" y="637"/>
                </a:lnTo>
                <a:lnTo>
                  <a:pt x="348" y="633"/>
                </a:lnTo>
                <a:lnTo>
                  <a:pt x="348" y="631"/>
                </a:lnTo>
                <a:lnTo>
                  <a:pt x="348" y="629"/>
                </a:lnTo>
                <a:lnTo>
                  <a:pt x="346" y="626"/>
                </a:lnTo>
                <a:lnTo>
                  <a:pt x="344" y="622"/>
                </a:lnTo>
                <a:lnTo>
                  <a:pt x="337" y="626"/>
                </a:lnTo>
                <a:lnTo>
                  <a:pt x="337" y="622"/>
                </a:lnTo>
                <a:lnTo>
                  <a:pt x="333" y="620"/>
                </a:lnTo>
                <a:lnTo>
                  <a:pt x="329" y="620"/>
                </a:lnTo>
                <a:lnTo>
                  <a:pt x="326" y="620"/>
                </a:lnTo>
                <a:lnTo>
                  <a:pt x="318" y="622"/>
                </a:lnTo>
                <a:lnTo>
                  <a:pt x="316" y="626"/>
                </a:lnTo>
                <a:lnTo>
                  <a:pt x="316" y="629"/>
                </a:lnTo>
                <a:lnTo>
                  <a:pt x="316" y="633"/>
                </a:lnTo>
                <a:lnTo>
                  <a:pt x="316" y="639"/>
                </a:lnTo>
                <a:lnTo>
                  <a:pt x="318" y="644"/>
                </a:lnTo>
                <a:lnTo>
                  <a:pt x="318" y="646"/>
                </a:lnTo>
                <a:lnTo>
                  <a:pt x="316" y="646"/>
                </a:lnTo>
                <a:lnTo>
                  <a:pt x="313" y="652"/>
                </a:lnTo>
                <a:lnTo>
                  <a:pt x="313" y="659"/>
                </a:lnTo>
                <a:lnTo>
                  <a:pt x="313" y="661"/>
                </a:lnTo>
                <a:lnTo>
                  <a:pt x="313" y="665"/>
                </a:lnTo>
                <a:lnTo>
                  <a:pt x="316" y="667"/>
                </a:lnTo>
                <a:lnTo>
                  <a:pt x="313" y="670"/>
                </a:lnTo>
                <a:lnTo>
                  <a:pt x="313" y="676"/>
                </a:lnTo>
                <a:lnTo>
                  <a:pt x="311" y="678"/>
                </a:lnTo>
                <a:lnTo>
                  <a:pt x="311" y="682"/>
                </a:lnTo>
                <a:lnTo>
                  <a:pt x="313" y="693"/>
                </a:lnTo>
                <a:lnTo>
                  <a:pt x="313" y="698"/>
                </a:lnTo>
                <a:lnTo>
                  <a:pt x="313" y="704"/>
                </a:lnTo>
                <a:lnTo>
                  <a:pt x="313" y="711"/>
                </a:lnTo>
                <a:lnTo>
                  <a:pt x="311" y="713"/>
                </a:lnTo>
                <a:lnTo>
                  <a:pt x="309" y="713"/>
                </a:lnTo>
                <a:lnTo>
                  <a:pt x="305" y="715"/>
                </a:lnTo>
                <a:lnTo>
                  <a:pt x="309" y="717"/>
                </a:lnTo>
                <a:lnTo>
                  <a:pt x="305" y="719"/>
                </a:lnTo>
                <a:lnTo>
                  <a:pt x="305" y="726"/>
                </a:lnTo>
                <a:lnTo>
                  <a:pt x="247" y="637"/>
                </a:lnTo>
                <a:lnTo>
                  <a:pt x="231" y="613"/>
                </a:lnTo>
                <a:lnTo>
                  <a:pt x="156" y="505"/>
                </a:lnTo>
                <a:lnTo>
                  <a:pt x="117" y="449"/>
                </a:lnTo>
                <a:lnTo>
                  <a:pt x="87" y="400"/>
                </a:lnTo>
                <a:lnTo>
                  <a:pt x="46" y="339"/>
                </a:lnTo>
              </a:path>
            </a:pathLst>
          </a:custGeom>
          <a:solidFill>
            <a:srgbClr val="FFC000"/>
          </a:solidFill>
          <a:ln w="3175">
            <a:solidFill>
              <a:srgbClr val="404040"/>
            </a:solidFill>
            <a:prstDash val="solid"/>
            <a:round/>
            <a:headEnd/>
            <a:tailEnd/>
          </a:ln>
        </p:spPr>
        <p:txBody>
          <a:bodyPr/>
          <a:lstStyle/>
          <a:p>
            <a:endParaRPr lang="en-US" dirty="0">
              <a:solidFill>
                <a:prstClr val="black"/>
              </a:solidFill>
            </a:endParaRPr>
          </a:p>
        </p:txBody>
      </p:sp>
      <p:sp>
        <p:nvSpPr>
          <p:cNvPr id="226" name="Freeform 59">
            <a:extLst>
              <a:ext uri="{FF2B5EF4-FFF2-40B4-BE49-F238E27FC236}">
                <a16:creationId xmlns:a16="http://schemas.microsoft.com/office/drawing/2014/main" id="{BDBEC16D-B2D2-4BF2-9942-3013030A2E32}"/>
              </a:ext>
            </a:extLst>
          </p:cNvPr>
          <p:cNvSpPr>
            <a:spLocks/>
          </p:cNvSpPr>
          <p:nvPr>
            <p:custDataLst>
              <p:tags r:id="rId50"/>
            </p:custDataLst>
          </p:nvPr>
        </p:nvSpPr>
        <p:spPr bwMode="auto">
          <a:xfrm>
            <a:off x="3408962" y="3002774"/>
            <a:ext cx="846112" cy="1124085"/>
          </a:xfrm>
          <a:custGeom>
            <a:avLst/>
            <a:gdLst>
              <a:gd name="T0" fmla="*/ 2147483647 w 418"/>
              <a:gd name="T1" fmla="*/ 2147483647 h 520"/>
              <a:gd name="T2" fmla="*/ 2147483647 w 418"/>
              <a:gd name="T3" fmla="*/ 2147483647 h 520"/>
              <a:gd name="T4" fmla="*/ 2147483647 w 418"/>
              <a:gd name="T5" fmla="*/ 2147483647 h 520"/>
              <a:gd name="T6" fmla="*/ 2147483647 w 418"/>
              <a:gd name="T7" fmla="*/ 2147483647 h 520"/>
              <a:gd name="T8" fmla="*/ 2147483647 w 418"/>
              <a:gd name="T9" fmla="*/ 2147483647 h 520"/>
              <a:gd name="T10" fmla="*/ 2147483647 w 418"/>
              <a:gd name="T11" fmla="*/ 2147483647 h 520"/>
              <a:gd name="T12" fmla="*/ 2147483647 w 418"/>
              <a:gd name="T13" fmla="*/ 2147483647 h 520"/>
              <a:gd name="T14" fmla="*/ 2147483647 w 418"/>
              <a:gd name="T15" fmla="*/ 0 h 520"/>
              <a:gd name="T16" fmla="*/ 2147483647 w 418"/>
              <a:gd name="T17" fmla="*/ 2147483647 h 520"/>
              <a:gd name="T18" fmla="*/ 2147483647 w 418"/>
              <a:gd name="T19" fmla="*/ 2147483647 h 520"/>
              <a:gd name="T20" fmla="*/ 2147483647 w 418"/>
              <a:gd name="T21" fmla="*/ 2147483647 h 520"/>
              <a:gd name="T22" fmla="*/ 2147483647 w 418"/>
              <a:gd name="T23" fmla="*/ 2147483647 h 520"/>
              <a:gd name="T24" fmla="*/ 2147483647 w 418"/>
              <a:gd name="T25" fmla="*/ 2147483647 h 520"/>
              <a:gd name="T26" fmla="*/ 2147483647 w 418"/>
              <a:gd name="T27" fmla="*/ 2147483647 h 520"/>
              <a:gd name="T28" fmla="*/ 2147483647 w 418"/>
              <a:gd name="T29" fmla="*/ 2147483647 h 520"/>
              <a:gd name="T30" fmla="*/ 2147483647 w 418"/>
              <a:gd name="T31" fmla="*/ 2147483647 h 520"/>
              <a:gd name="T32" fmla="*/ 2147483647 w 418"/>
              <a:gd name="T33" fmla="*/ 2147483647 h 520"/>
              <a:gd name="T34" fmla="*/ 2147483647 w 418"/>
              <a:gd name="T35" fmla="*/ 2147483647 h 520"/>
              <a:gd name="T36" fmla="*/ 2147483647 w 418"/>
              <a:gd name="T37" fmla="*/ 2147483647 h 520"/>
              <a:gd name="T38" fmla="*/ 2147483647 w 418"/>
              <a:gd name="T39" fmla="*/ 2147483647 h 520"/>
              <a:gd name="T40" fmla="*/ 2147483647 w 418"/>
              <a:gd name="T41" fmla="*/ 2147483647 h 520"/>
              <a:gd name="T42" fmla="*/ 2147483647 w 418"/>
              <a:gd name="T43" fmla="*/ 2147483647 h 520"/>
              <a:gd name="T44" fmla="*/ 2147483647 w 418"/>
              <a:gd name="T45" fmla="*/ 2147483647 h 520"/>
              <a:gd name="T46" fmla="*/ 2147483647 w 418"/>
              <a:gd name="T47" fmla="*/ 2147483647 h 520"/>
              <a:gd name="T48" fmla="*/ 2147483647 w 418"/>
              <a:gd name="T49" fmla="*/ 2147483647 h 520"/>
              <a:gd name="T50" fmla="*/ 2147483647 w 418"/>
              <a:gd name="T51" fmla="*/ 2147483647 h 520"/>
              <a:gd name="T52" fmla="*/ 2147483647 w 418"/>
              <a:gd name="T53" fmla="*/ 2147483647 h 520"/>
              <a:gd name="T54" fmla="*/ 2147483647 w 418"/>
              <a:gd name="T55" fmla="*/ 2147483647 h 520"/>
              <a:gd name="T56" fmla="*/ 2147483647 w 418"/>
              <a:gd name="T57" fmla="*/ 2147483647 h 520"/>
              <a:gd name="T58" fmla="*/ 2147483647 w 418"/>
              <a:gd name="T59" fmla="*/ 2147483647 h 520"/>
              <a:gd name="T60" fmla="*/ 2147483647 w 418"/>
              <a:gd name="T61" fmla="*/ 2147483647 h 520"/>
              <a:gd name="T62" fmla="*/ 2147483647 w 418"/>
              <a:gd name="T63" fmla="*/ 2147483647 h 520"/>
              <a:gd name="T64" fmla="*/ 2147483647 w 418"/>
              <a:gd name="T65" fmla="*/ 2147483647 h 520"/>
              <a:gd name="T66" fmla="*/ 2147483647 w 418"/>
              <a:gd name="T67" fmla="*/ 2147483647 h 520"/>
              <a:gd name="T68" fmla="*/ 2147483647 w 418"/>
              <a:gd name="T69" fmla="*/ 2147483647 h 520"/>
              <a:gd name="T70" fmla="*/ 2147483647 w 418"/>
              <a:gd name="T71" fmla="*/ 2147483647 h 520"/>
              <a:gd name="T72" fmla="*/ 2147483647 w 418"/>
              <a:gd name="T73" fmla="*/ 2147483647 h 520"/>
              <a:gd name="T74" fmla="*/ 2147483647 w 418"/>
              <a:gd name="T75" fmla="*/ 2147483647 h 520"/>
              <a:gd name="T76" fmla="*/ 0 w 418"/>
              <a:gd name="T77" fmla="*/ 2147483647 h 520"/>
              <a:gd name="T78" fmla="*/ 2147483647 w 418"/>
              <a:gd name="T79" fmla="*/ 2147483647 h 520"/>
              <a:gd name="T80" fmla="*/ 2147483647 w 418"/>
              <a:gd name="T81" fmla="*/ 2147483647 h 5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8"/>
              <a:gd name="T124" fmla="*/ 0 h 520"/>
              <a:gd name="T125" fmla="*/ 418 w 418"/>
              <a:gd name="T126" fmla="*/ 520 h 5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8" h="520">
                <a:moveTo>
                  <a:pt x="19" y="356"/>
                </a:moveTo>
                <a:lnTo>
                  <a:pt x="30" y="315"/>
                </a:lnTo>
                <a:lnTo>
                  <a:pt x="30" y="307"/>
                </a:lnTo>
                <a:lnTo>
                  <a:pt x="47" y="227"/>
                </a:lnTo>
                <a:lnTo>
                  <a:pt x="51" y="192"/>
                </a:lnTo>
                <a:lnTo>
                  <a:pt x="58" y="173"/>
                </a:lnTo>
                <a:lnTo>
                  <a:pt x="73" y="91"/>
                </a:lnTo>
                <a:lnTo>
                  <a:pt x="90" y="0"/>
                </a:lnTo>
                <a:lnTo>
                  <a:pt x="162" y="13"/>
                </a:lnTo>
                <a:lnTo>
                  <a:pt x="220" y="24"/>
                </a:lnTo>
                <a:lnTo>
                  <a:pt x="222" y="24"/>
                </a:lnTo>
                <a:lnTo>
                  <a:pt x="263" y="32"/>
                </a:lnTo>
                <a:lnTo>
                  <a:pt x="293" y="37"/>
                </a:lnTo>
                <a:lnTo>
                  <a:pt x="289" y="73"/>
                </a:lnTo>
                <a:lnTo>
                  <a:pt x="285" y="104"/>
                </a:lnTo>
                <a:lnTo>
                  <a:pt x="278" y="130"/>
                </a:lnTo>
                <a:lnTo>
                  <a:pt x="347" y="138"/>
                </a:lnTo>
                <a:lnTo>
                  <a:pt x="352" y="138"/>
                </a:lnTo>
                <a:lnTo>
                  <a:pt x="418" y="149"/>
                </a:lnTo>
                <a:lnTo>
                  <a:pt x="412" y="181"/>
                </a:lnTo>
                <a:lnTo>
                  <a:pt x="408" y="225"/>
                </a:lnTo>
                <a:lnTo>
                  <a:pt x="401" y="274"/>
                </a:lnTo>
                <a:lnTo>
                  <a:pt x="397" y="285"/>
                </a:lnTo>
                <a:lnTo>
                  <a:pt x="397" y="300"/>
                </a:lnTo>
                <a:lnTo>
                  <a:pt x="386" y="380"/>
                </a:lnTo>
                <a:lnTo>
                  <a:pt x="384" y="406"/>
                </a:lnTo>
                <a:lnTo>
                  <a:pt x="384" y="412"/>
                </a:lnTo>
                <a:lnTo>
                  <a:pt x="377" y="438"/>
                </a:lnTo>
                <a:lnTo>
                  <a:pt x="375" y="462"/>
                </a:lnTo>
                <a:lnTo>
                  <a:pt x="367" y="520"/>
                </a:lnTo>
                <a:lnTo>
                  <a:pt x="295" y="509"/>
                </a:lnTo>
                <a:lnTo>
                  <a:pt x="263" y="505"/>
                </a:lnTo>
                <a:lnTo>
                  <a:pt x="261" y="505"/>
                </a:lnTo>
                <a:lnTo>
                  <a:pt x="241" y="503"/>
                </a:lnTo>
                <a:lnTo>
                  <a:pt x="196" y="494"/>
                </a:lnTo>
                <a:lnTo>
                  <a:pt x="131" y="484"/>
                </a:lnTo>
                <a:lnTo>
                  <a:pt x="110" y="479"/>
                </a:lnTo>
                <a:lnTo>
                  <a:pt x="84" y="475"/>
                </a:lnTo>
                <a:lnTo>
                  <a:pt x="0" y="460"/>
                </a:lnTo>
                <a:lnTo>
                  <a:pt x="10" y="406"/>
                </a:lnTo>
                <a:lnTo>
                  <a:pt x="19" y="356"/>
                </a:lnTo>
                <a:close/>
              </a:path>
            </a:pathLst>
          </a:custGeom>
          <a:solidFill>
            <a:schemeClr val="bg1"/>
          </a:solidFill>
          <a:ln w="9525">
            <a:noFill/>
            <a:round/>
            <a:headEnd/>
            <a:tailEnd/>
          </a:ln>
        </p:spPr>
        <p:txBody>
          <a:bodyPr/>
          <a:lstStyle/>
          <a:p>
            <a:endParaRPr lang="en-US" dirty="0">
              <a:solidFill>
                <a:prstClr val="black"/>
              </a:solidFill>
            </a:endParaRPr>
          </a:p>
        </p:txBody>
      </p:sp>
      <p:sp>
        <p:nvSpPr>
          <p:cNvPr id="227" name="Freeform 60">
            <a:extLst>
              <a:ext uri="{FF2B5EF4-FFF2-40B4-BE49-F238E27FC236}">
                <a16:creationId xmlns:a16="http://schemas.microsoft.com/office/drawing/2014/main" id="{193320CE-5E9D-4470-AA7F-6497A10B750F}"/>
              </a:ext>
            </a:extLst>
          </p:cNvPr>
          <p:cNvSpPr>
            <a:spLocks/>
          </p:cNvSpPr>
          <p:nvPr>
            <p:custDataLst>
              <p:tags r:id="rId51"/>
            </p:custDataLst>
          </p:nvPr>
        </p:nvSpPr>
        <p:spPr bwMode="auto">
          <a:xfrm>
            <a:off x="3408962" y="3002774"/>
            <a:ext cx="846112" cy="1124085"/>
          </a:xfrm>
          <a:custGeom>
            <a:avLst/>
            <a:gdLst>
              <a:gd name="T0" fmla="*/ 2147483647 w 418"/>
              <a:gd name="T1" fmla="*/ 2147483647 h 520"/>
              <a:gd name="T2" fmla="*/ 2147483647 w 418"/>
              <a:gd name="T3" fmla="*/ 2147483647 h 520"/>
              <a:gd name="T4" fmla="*/ 2147483647 w 418"/>
              <a:gd name="T5" fmla="*/ 2147483647 h 520"/>
              <a:gd name="T6" fmla="*/ 2147483647 w 418"/>
              <a:gd name="T7" fmla="*/ 2147483647 h 520"/>
              <a:gd name="T8" fmla="*/ 2147483647 w 418"/>
              <a:gd name="T9" fmla="*/ 2147483647 h 520"/>
              <a:gd name="T10" fmla="*/ 2147483647 w 418"/>
              <a:gd name="T11" fmla="*/ 2147483647 h 520"/>
              <a:gd name="T12" fmla="*/ 2147483647 w 418"/>
              <a:gd name="T13" fmla="*/ 2147483647 h 520"/>
              <a:gd name="T14" fmla="*/ 2147483647 w 418"/>
              <a:gd name="T15" fmla="*/ 0 h 520"/>
              <a:gd name="T16" fmla="*/ 2147483647 w 418"/>
              <a:gd name="T17" fmla="*/ 2147483647 h 520"/>
              <a:gd name="T18" fmla="*/ 2147483647 w 418"/>
              <a:gd name="T19" fmla="*/ 2147483647 h 520"/>
              <a:gd name="T20" fmla="*/ 2147483647 w 418"/>
              <a:gd name="T21" fmla="*/ 2147483647 h 520"/>
              <a:gd name="T22" fmla="*/ 2147483647 w 418"/>
              <a:gd name="T23" fmla="*/ 2147483647 h 520"/>
              <a:gd name="T24" fmla="*/ 2147483647 w 418"/>
              <a:gd name="T25" fmla="*/ 2147483647 h 520"/>
              <a:gd name="T26" fmla="*/ 2147483647 w 418"/>
              <a:gd name="T27" fmla="*/ 2147483647 h 520"/>
              <a:gd name="T28" fmla="*/ 2147483647 w 418"/>
              <a:gd name="T29" fmla="*/ 2147483647 h 520"/>
              <a:gd name="T30" fmla="*/ 2147483647 w 418"/>
              <a:gd name="T31" fmla="*/ 2147483647 h 520"/>
              <a:gd name="T32" fmla="*/ 2147483647 w 418"/>
              <a:gd name="T33" fmla="*/ 2147483647 h 520"/>
              <a:gd name="T34" fmla="*/ 2147483647 w 418"/>
              <a:gd name="T35" fmla="*/ 2147483647 h 520"/>
              <a:gd name="T36" fmla="*/ 2147483647 w 418"/>
              <a:gd name="T37" fmla="*/ 2147483647 h 520"/>
              <a:gd name="T38" fmla="*/ 2147483647 w 418"/>
              <a:gd name="T39" fmla="*/ 2147483647 h 520"/>
              <a:gd name="T40" fmla="*/ 2147483647 w 418"/>
              <a:gd name="T41" fmla="*/ 2147483647 h 520"/>
              <a:gd name="T42" fmla="*/ 2147483647 w 418"/>
              <a:gd name="T43" fmla="*/ 2147483647 h 520"/>
              <a:gd name="T44" fmla="*/ 2147483647 w 418"/>
              <a:gd name="T45" fmla="*/ 2147483647 h 520"/>
              <a:gd name="T46" fmla="*/ 2147483647 w 418"/>
              <a:gd name="T47" fmla="*/ 2147483647 h 520"/>
              <a:gd name="T48" fmla="*/ 2147483647 w 418"/>
              <a:gd name="T49" fmla="*/ 2147483647 h 520"/>
              <a:gd name="T50" fmla="*/ 2147483647 w 418"/>
              <a:gd name="T51" fmla="*/ 2147483647 h 520"/>
              <a:gd name="T52" fmla="*/ 2147483647 w 418"/>
              <a:gd name="T53" fmla="*/ 2147483647 h 520"/>
              <a:gd name="T54" fmla="*/ 2147483647 w 418"/>
              <a:gd name="T55" fmla="*/ 2147483647 h 520"/>
              <a:gd name="T56" fmla="*/ 2147483647 w 418"/>
              <a:gd name="T57" fmla="*/ 2147483647 h 520"/>
              <a:gd name="T58" fmla="*/ 2147483647 w 418"/>
              <a:gd name="T59" fmla="*/ 2147483647 h 520"/>
              <a:gd name="T60" fmla="*/ 2147483647 w 418"/>
              <a:gd name="T61" fmla="*/ 2147483647 h 520"/>
              <a:gd name="T62" fmla="*/ 2147483647 w 418"/>
              <a:gd name="T63" fmla="*/ 2147483647 h 520"/>
              <a:gd name="T64" fmla="*/ 2147483647 w 418"/>
              <a:gd name="T65" fmla="*/ 2147483647 h 520"/>
              <a:gd name="T66" fmla="*/ 2147483647 w 418"/>
              <a:gd name="T67" fmla="*/ 2147483647 h 520"/>
              <a:gd name="T68" fmla="*/ 2147483647 w 418"/>
              <a:gd name="T69" fmla="*/ 2147483647 h 520"/>
              <a:gd name="T70" fmla="*/ 2147483647 w 418"/>
              <a:gd name="T71" fmla="*/ 2147483647 h 520"/>
              <a:gd name="T72" fmla="*/ 2147483647 w 418"/>
              <a:gd name="T73" fmla="*/ 2147483647 h 520"/>
              <a:gd name="T74" fmla="*/ 2147483647 w 418"/>
              <a:gd name="T75" fmla="*/ 2147483647 h 520"/>
              <a:gd name="T76" fmla="*/ 0 w 418"/>
              <a:gd name="T77" fmla="*/ 2147483647 h 520"/>
              <a:gd name="T78" fmla="*/ 2147483647 w 418"/>
              <a:gd name="T79" fmla="*/ 2147483647 h 520"/>
              <a:gd name="T80" fmla="*/ 2147483647 w 418"/>
              <a:gd name="T81" fmla="*/ 2147483647 h 5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8"/>
              <a:gd name="T124" fmla="*/ 0 h 520"/>
              <a:gd name="T125" fmla="*/ 418 w 418"/>
              <a:gd name="T126" fmla="*/ 520 h 5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8" h="520">
                <a:moveTo>
                  <a:pt x="19" y="356"/>
                </a:moveTo>
                <a:lnTo>
                  <a:pt x="30" y="315"/>
                </a:lnTo>
                <a:lnTo>
                  <a:pt x="30" y="307"/>
                </a:lnTo>
                <a:lnTo>
                  <a:pt x="47" y="227"/>
                </a:lnTo>
                <a:lnTo>
                  <a:pt x="51" y="192"/>
                </a:lnTo>
                <a:lnTo>
                  <a:pt x="58" y="173"/>
                </a:lnTo>
                <a:lnTo>
                  <a:pt x="73" y="91"/>
                </a:lnTo>
                <a:lnTo>
                  <a:pt x="90" y="0"/>
                </a:lnTo>
                <a:lnTo>
                  <a:pt x="162" y="13"/>
                </a:lnTo>
                <a:lnTo>
                  <a:pt x="220" y="24"/>
                </a:lnTo>
                <a:lnTo>
                  <a:pt x="222" y="24"/>
                </a:lnTo>
                <a:lnTo>
                  <a:pt x="263" y="32"/>
                </a:lnTo>
                <a:lnTo>
                  <a:pt x="293" y="37"/>
                </a:lnTo>
                <a:lnTo>
                  <a:pt x="289" y="73"/>
                </a:lnTo>
                <a:lnTo>
                  <a:pt x="285" y="104"/>
                </a:lnTo>
                <a:lnTo>
                  <a:pt x="278" y="130"/>
                </a:lnTo>
                <a:lnTo>
                  <a:pt x="347" y="138"/>
                </a:lnTo>
                <a:lnTo>
                  <a:pt x="352" y="138"/>
                </a:lnTo>
                <a:lnTo>
                  <a:pt x="418" y="149"/>
                </a:lnTo>
                <a:lnTo>
                  <a:pt x="412" y="181"/>
                </a:lnTo>
                <a:lnTo>
                  <a:pt x="408" y="225"/>
                </a:lnTo>
                <a:lnTo>
                  <a:pt x="401" y="274"/>
                </a:lnTo>
                <a:lnTo>
                  <a:pt x="397" y="285"/>
                </a:lnTo>
                <a:lnTo>
                  <a:pt x="397" y="300"/>
                </a:lnTo>
                <a:lnTo>
                  <a:pt x="386" y="380"/>
                </a:lnTo>
                <a:lnTo>
                  <a:pt x="384" y="406"/>
                </a:lnTo>
                <a:lnTo>
                  <a:pt x="384" y="412"/>
                </a:lnTo>
                <a:lnTo>
                  <a:pt x="377" y="438"/>
                </a:lnTo>
                <a:lnTo>
                  <a:pt x="375" y="462"/>
                </a:lnTo>
                <a:lnTo>
                  <a:pt x="367" y="520"/>
                </a:lnTo>
                <a:lnTo>
                  <a:pt x="295" y="509"/>
                </a:lnTo>
                <a:lnTo>
                  <a:pt x="263" y="505"/>
                </a:lnTo>
                <a:lnTo>
                  <a:pt x="261" y="505"/>
                </a:lnTo>
                <a:lnTo>
                  <a:pt x="241" y="503"/>
                </a:lnTo>
                <a:lnTo>
                  <a:pt x="196" y="494"/>
                </a:lnTo>
                <a:lnTo>
                  <a:pt x="131" y="484"/>
                </a:lnTo>
                <a:lnTo>
                  <a:pt x="110" y="479"/>
                </a:lnTo>
                <a:lnTo>
                  <a:pt x="84" y="475"/>
                </a:lnTo>
                <a:lnTo>
                  <a:pt x="0" y="460"/>
                </a:lnTo>
                <a:lnTo>
                  <a:pt x="10" y="406"/>
                </a:lnTo>
                <a:lnTo>
                  <a:pt x="19" y="356"/>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228" name="Freeform 61">
            <a:extLst>
              <a:ext uri="{FF2B5EF4-FFF2-40B4-BE49-F238E27FC236}">
                <a16:creationId xmlns:a16="http://schemas.microsoft.com/office/drawing/2014/main" id="{45968D48-3F98-4D7E-B0FB-D65E62689CCE}"/>
              </a:ext>
            </a:extLst>
          </p:cNvPr>
          <p:cNvSpPr>
            <a:spLocks/>
          </p:cNvSpPr>
          <p:nvPr>
            <p:custDataLst>
              <p:tags r:id="rId52"/>
            </p:custDataLst>
          </p:nvPr>
        </p:nvSpPr>
        <p:spPr bwMode="auto">
          <a:xfrm>
            <a:off x="2090807" y="2635964"/>
            <a:ext cx="1209985" cy="2183319"/>
          </a:xfrm>
          <a:custGeom>
            <a:avLst/>
            <a:gdLst>
              <a:gd name="T0" fmla="*/ 2147483647 w 598"/>
              <a:gd name="T1" fmla="*/ 2147483647 h 1010"/>
              <a:gd name="T2" fmla="*/ 2147483647 w 598"/>
              <a:gd name="T3" fmla="*/ 2147483647 h 1010"/>
              <a:gd name="T4" fmla="*/ 2147483647 w 598"/>
              <a:gd name="T5" fmla="*/ 2147483647 h 1010"/>
              <a:gd name="T6" fmla="*/ 2147483647 w 598"/>
              <a:gd name="T7" fmla="*/ 2147483647 h 1010"/>
              <a:gd name="T8" fmla="*/ 2147483647 w 598"/>
              <a:gd name="T9" fmla="*/ 2147483647 h 1010"/>
              <a:gd name="T10" fmla="*/ 2147483647 w 598"/>
              <a:gd name="T11" fmla="*/ 2147483647 h 1010"/>
              <a:gd name="T12" fmla="*/ 2147483647 w 598"/>
              <a:gd name="T13" fmla="*/ 2147483647 h 1010"/>
              <a:gd name="T14" fmla="*/ 2147483647 w 598"/>
              <a:gd name="T15" fmla="*/ 2147483647 h 1010"/>
              <a:gd name="T16" fmla="*/ 2147483647 w 598"/>
              <a:gd name="T17" fmla="*/ 2147483647 h 1010"/>
              <a:gd name="T18" fmla="*/ 2147483647 w 598"/>
              <a:gd name="T19" fmla="*/ 2147483647 h 1010"/>
              <a:gd name="T20" fmla="*/ 2147483647 w 598"/>
              <a:gd name="T21" fmla="*/ 2147483647 h 1010"/>
              <a:gd name="T22" fmla="*/ 2147483647 w 598"/>
              <a:gd name="T23" fmla="*/ 2147483647 h 1010"/>
              <a:gd name="T24" fmla="*/ 2147483647 w 598"/>
              <a:gd name="T25" fmla="*/ 2147483647 h 1010"/>
              <a:gd name="T26" fmla="*/ 2147483647 w 598"/>
              <a:gd name="T27" fmla="*/ 2147483647 h 1010"/>
              <a:gd name="T28" fmla="*/ 2147483647 w 598"/>
              <a:gd name="T29" fmla="*/ 2147483647 h 1010"/>
              <a:gd name="T30" fmla="*/ 2147483647 w 598"/>
              <a:gd name="T31" fmla="*/ 2147483647 h 1010"/>
              <a:gd name="T32" fmla="*/ 2147483647 w 598"/>
              <a:gd name="T33" fmla="*/ 2147483647 h 1010"/>
              <a:gd name="T34" fmla="*/ 2147483647 w 598"/>
              <a:gd name="T35" fmla="*/ 2147483647 h 1010"/>
              <a:gd name="T36" fmla="*/ 2147483647 w 598"/>
              <a:gd name="T37" fmla="*/ 2147483647 h 1010"/>
              <a:gd name="T38" fmla="*/ 2147483647 w 598"/>
              <a:gd name="T39" fmla="*/ 2147483647 h 1010"/>
              <a:gd name="T40" fmla="*/ 2147483647 w 598"/>
              <a:gd name="T41" fmla="*/ 2147483647 h 1010"/>
              <a:gd name="T42" fmla="*/ 2147483647 w 598"/>
              <a:gd name="T43" fmla="*/ 2147483647 h 1010"/>
              <a:gd name="T44" fmla="*/ 2147483647 w 598"/>
              <a:gd name="T45" fmla="*/ 2147483647 h 1010"/>
              <a:gd name="T46" fmla="*/ 2147483647 w 598"/>
              <a:gd name="T47" fmla="*/ 2147483647 h 1010"/>
              <a:gd name="T48" fmla="*/ 2147483647 w 598"/>
              <a:gd name="T49" fmla="*/ 2147483647 h 1010"/>
              <a:gd name="T50" fmla="*/ 2147483647 w 598"/>
              <a:gd name="T51" fmla="*/ 2147483647 h 1010"/>
              <a:gd name="T52" fmla="*/ 2147483647 w 598"/>
              <a:gd name="T53" fmla="*/ 2147483647 h 1010"/>
              <a:gd name="T54" fmla="*/ 2147483647 w 598"/>
              <a:gd name="T55" fmla="*/ 2147483647 h 1010"/>
              <a:gd name="T56" fmla="*/ 2147483647 w 598"/>
              <a:gd name="T57" fmla="*/ 2147483647 h 1010"/>
              <a:gd name="T58" fmla="*/ 2147483647 w 598"/>
              <a:gd name="T59" fmla="*/ 2147483647 h 1010"/>
              <a:gd name="T60" fmla="*/ 2147483647 w 598"/>
              <a:gd name="T61" fmla="*/ 2147483647 h 1010"/>
              <a:gd name="T62" fmla="*/ 2147483647 w 598"/>
              <a:gd name="T63" fmla="*/ 2147483647 h 1010"/>
              <a:gd name="T64" fmla="*/ 2147483647 w 598"/>
              <a:gd name="T65" fmla="*/ 2147483647 h 1010"/>
              <a:gd name="T66" fmla="*/ 2147483647 w 598"/>
              <a:gd name="T67" fmla="*/ 2147483647 h 1010"/>
              <a:gd name="T68" fmla="*/ 2147483647 w 598"/>
              <a:gd name="T69" fmla="*/ 2147483647 h 1010"/>
              <a:gd name="T70" fmla="*/ 2147483647 w 598"/>
              <a:gd name="T71" fmla="*/ 2147483647 h 1010"/>
              <a:gd name="T72" fmla="*/ 2147483647 w 598"/>
              <a:gd name="T73" fmla="*/ 2147483647 h 1010"/>
              <a:gd name="T74" fmla="*/ 2147483647 w 598"/>
              <a:gd name="T75" fmla="*/ 2147483647 h 1010"/>
              <a:gd name="T76" fmla="*/ 2147483647 w 598"/>
              <a:gd name="T77" fmla="*/ 2147483647 h 1010"/>
              <a:gd name="T78" fmla="*/ 2147483647 w 598"/>
              <a:gd name="T79" fmla="*/ 2147483647 h 1010"/>
              <a:gd name="T80" fmla="*/ 2147483647 w 598"/>
              <a:gd name="T81" fmla="*/ 2147483647 h 1010"/>
              <a:gd name="T82" fmla="*/ 2147483647 w 598"/>
              <a:gd name="T83" fmla="*/ 2147483647 h 1010"/>
              <a:gd name="T84" fmla="*/ 2147483647 w 598"/>
              <a:gd name="T85" fmla="*/ 2147483647 h 1010"/>
              <a:gd name="T86" fmla="*/ 2147483647 w 598"/>
              <a:gd name="T87" fmla="*/ 2147483647 h 1010"/>
              <a:gd name="T88" fmla="*/ 2147483647 w 598"/>
              <a:gd name="T89" fmla="*/ 2147483647 h 1010"/>
              <a:gd name="T90" fmla="*/ 2147483647 w 598"/>
              <a:gd name="T91" fmla="*/ 2147483647 h 1010"/>
              <a:gd name="T92" fmla="*/ 2147483647 w 598"/>
              <a:gd name="T93" fmla="*/ 2147483647 h 1010"/>
              <a:gd name="T94" fmla="*/ 2147483647 w 598"/>
              <a:gd name="T95" fmla="*/ 2147483647 h 1010"/>
              <a:gd name="T96" fmla="*/ 2147483647 w 598"/>
              <a:gd name="T97" fmla="*/ 2147483647 h 1010"/>
              <a:gd name="T98" fmla="*/ 2147483647 w 598"/>
              <a:gd name="T99" fmla="*/ 2147483647 h 1010"/>
              <a:gd name="T100" fmla="*/ 2147483647 w 598"/>
              <a:gd name="T101" fmla="*/ 2147483647 h 1010"/>
              <a:gd name="T102" fmla="*/ 2147483647 w 598"/>
              <a:gd name="T103" fmla="*/ 2147483647 h 1010"/>
              <a:gd name="T104" fmla="*/ 2147483647 w 598"/>
              <a:gd name="T105" fmla="*/ 2147483647 h 1010"/>
              <a:gd name="T106" fmla="*/ 2147483647 w 598"/>
              <a:gd name="T107" fmla="*/ 2147483647 h 1010"/>
              <a:gd name="T108" fmla="*/ 2147483647 w 598"/>
              <a:gd name="T109" fmla="*/ 2147483647 h 1010"/>
              <a:gd name="T110" fmla="*/ 2147483647 w 598"/>
              <a:gd name="T111" fmla="*/ 2147483647 h 1010"/>
              <a:gd name="T112" fmla="*/ 2147483647 w 598"/>
              <a:gd name="T113" fmla="*/ 2147483647 h 1010"/>
              <a:gd name="T114" fmla="*/ 2147483647 w 598"/>
              <a:gd name="T115" fmla="*/ 2147483647 h 1010"/>
              <a:gd name="T116" fmla="*/ 2147483647 w 598"/>
              <a:gd name="T117" fmla="*/ 2147483647 h 101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98"/>
              <a:gd name="T178" fmla="*/ 0 h 1010"/>
              <a:gd name="T179" fmla="*/ 598 w 598"/>
              <a:gd name="T180" fmla="*/ 1010 h 101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98" h="1010">
                <a:moveTo>
                  <a:pt x="131" y="393"/>
                </a:moveTo>
                <a:lnTo>
                  <a:pt x="120" y="399"/>
                </a:lnTo>
                <a:lnTo>
                  <a:pt x="112" y="397"/>
                </a:lnTo>
                <a:lnTo>
                  <a:pt x="107" y="388"/>
                </a:lnTo>
                <a:lnTo>
                  <a:pt x="90" y="388"/>
                </a:lnTo>
                <a:lnTo>
                  <a:pt x="88" y="382"/>
                </a:lnTo>
                <a:lnTo>
                  <a:pt x="88" y="377"/>
                </a:lnTo>
                <a:lnTo>
                  <a:pt x="86" y="377"/>
                </a:lnTo>
                <a:lnTo>
                  <a:pt x="88" y="382"/>
                </a:lnTo>
                <a:lnTo>
                  <a:pt x="88" y="386"/>
                </a:lnTo>
                <a:lnTo>
                  <a:pt x="79" y="380"/>
                </a:lnTo>
                <a:lnTo>
                  <a:pt x="77" y="382"/>
                </a:lnTo>
                <a:lnTo>
                  <a:pt x="73" y="382"/>
                </a:lnTo>
                <a:lnTo>
                  <a:pt x="71" y="377"/>
                </a:lnTo>
                <a:lnTo>
                  <a:pt x="73" y="384"/>
                </a:lnTo>
                <a:lnTo>
                  <a:pt x="66" y="388"/>
                </a:lnTo>
                <a:lnTo>
                  <a:pt x="73" y="395"/>
                </a:lnTo>
                <a:lnTo>
                  <a:pt x="66" y="397"/>
                </a:lnTo>
                <a:lnTo>
                  <a:pt x="66" y="405"/>
                </a:lnTo>
                <a:lnTo>
                  <a:pt x="62" y="405"/>
                </a:lnTo>
                <a:lnTo>
                  <a:pt x="56" y="397"/>
                </a:lnTo>
                <a:lnTo>
                  <a:pt x="53" y="397"/>
                </a:lnTo>
                <a:lnTo>
                  <a:pt x="45" y="384"/>
                </a:lnTo>
                <a:lnTo>
                  <a:pt x="41" y="380"/>
                </a:lnTo>
                <a:lnTo>
                  <a:pt x="34" y="382"/>
                </a:lnTo>
                <a:lnTo>
                  <a:pt x="32" y="382"/>
                </a:lnTo>
                <a:lnTo>
                  <a:pt x="43" y="367"/>
                </a:lnTo>
                <a:lnTo>
                  <a:pt x="43" y="354"/>
                </a:lnTo>
                <a:lnTo>
                  <a:pt x="38" y="351"/>
                </a:lnTo>
                <a:lnTo>
                  <a:pt x="34" y="339"/>
                </a:lnTo>
                <a:lnTo>
                  <a:pt x="28" y="323"/>
                </a:lnTo>
                <a:lnTo>
                  <a:pt x="17" y="302"/>
                </a:lnTo>
                <a:lnTo>
                  <a:pt x="8" y="282"/>
                </a:lnTo>
                <a:lnTo>
                  <a:pt x="12" y="272"/>
                </a:lnTo>
                <a:lnTo>
                  <a:pt x="12" y="241"/>
                </a:lnTo>
                <a:lnTo>
                  <a:pt x="23" y="224"/>
                </a:lnTo>
                <a:lnTo>
                  <a:pt x="23" y="213"/>
                </a:lnTo>
                <a:lnTo>
                  <a:pt x="25" y="200"/>
                </a:lnTo>
                <a:lnTo>
                  <a:pt x="17" y="181"/>
                </a:lnTo>
                <a:lnTo>
                  <a:pt x="12" y="170"/>
                </a:lnTo>
                <a:lnTo>
                  <a:pt x="0" y="151"/>
                </a:lnTo>
                <a:lnTo>
                  <a:pt x="4" y="142"/>
                </a:lnTo>
                <a:lnTo>
                  <a:pt x="4" y="133"/>
                </a:lnTo>
                <a:lnTo>
                  <a:pt x="38" y="90"/>
                </a:lnTo>
                <a:lnTo>
                  <a:pt x="38" y="75"/>
                </a:lnTo>
                <a:lnTo>
                  <a:pt x="47" y="60"/>
                </a:lnTo>
                <a:lnTo>
                  <a:pt x="53" y="49"/>
                </a:lnTo>
                <a:lnTo>
                  <a:pt x="56" y="23"/>
                </a:lnTo>
                <a:lnTo>
                  <a:pt x="49" y="17"/>
                </a:lnTo>
                <a:lnTo>
                  <a:pt x="56" y="10"/>
                </a:lnTo>
                <a:lnTo>
                  <a:pt x="58" y="0"/>
                </a:lnTo>
                <a:lnTo>
                  <a:pt x="86" y="6"/>
                </a:lnTo>
                <a:lnTo>
                  <a:pt x="105" y="10"/>
                </a:lnTo>
                <a:lnTo>
                  <a:pt x="125" y="17"/>
                </a:lnTo>
                <a:lnTo>
                  <a:pt x="187" y="36"/>
                </a:lnTo>
                <a:lnTo>
                  <a:pt x="241" y="51"/>
                </a:lnTo>
                <a:lnTo>
                  <a:pt x="282" y="62"/>
                </a:lnTo>
                <a:lnTo>
                  <a:pt x="338" y="77"/>
                </a:lnTo>
                <a:lnTo>
                  <a:pt x="321" y="151"/>
                </a:lnTo>
                <a:lnTo>
                  <a:pt x="287" y="282"/>
                </a:lnTo>
                <a:lnTo>
                  <a:pt x="278" y="310"/>
                </a:lnTo>
                <a:lnTo>
                  <a:pt x="276" y="319"/>
                </a:lnTo>
                <a:lnTo>
                  <a:pt x="272" y="334"/>
                </a:lnTo>
                <a:lnTo>
                  <a:pt x="272" y="339"/>
                </a:lnTo>
                <a:lnTo>
                  <a:pt x="272" y="341"/>
                </a:lnTo>
                <a:lnTo>
                  <a:pt x="269" y="349"/>
                </a:lnTo>
                <a:lnTo>
                  <a:pt x="274" y="356"/>
                </a:lnTo>
                <a:lnTo>
                  <a:pt x="291" y="384"/>
                </a:lnTo>
                <a:lnTo>
                  <a:pt x="306" y="403"/>
                </a:lnTo>
                <a:lnTo>
                  <a:pt x="315" y="416"/>
                </a:lnTo>
                <a:lnTo>
                  <a:pt x="356" y="477"/>
                </a:lnTo>
                <a:lnTo>
                  <a:pt x="386" y="526"/>
                </a:lnTo>
                <a:lnTo>
                  <a:pt x="425" y="582"/>
                </a:lnTo>
                <a:lnTo>
                  <a:pt x="500" y="690"/>
                </a:lnTo>
                <a:lnTo>
                  <a:pt x="516" y="714"/>
                </a:lnTo>
                <a:lnTo>
                  <a:pt x="574" y="803"/>
                </a:lnTo>
                <a:lnTo>
                  <a:pt x="572" y="803"/>
                </a:lnTo>
                <a:lnTo>
                  <a:pt x="572" y="807"/>
                </a:lnTo>
                <a:lnTo>
                  <a:pt x="572" y="809"/>
                </a:lnTo>
                <a:lnTo>
                  <a:pt x="572" y="813"/>
                </a:lnTo>
                <a:lnTo>
                  <a:pt x="574" y="820"/>
                </a:lnTo>
                <a:lnTo>
                  <a:pt x="574" y="824"/>
                </a:lnTo>
                <a:lnTo>
                  <a:pt x="578" y="826"/>
                </a:lnTo>
                <a:lnTo>
                  <a:pt x="580" y="826"/>
                </a:lnTo>
                <a:lnTo>
                  <a:pt x="580" y="831"/>
                </a:lnTo>
                <a:lnTo>
                  <a:pt x="582" y="842"/>
                </a:lnTo>
                <a:lnTo>
                  <a:pt x="580" y="842"/>
                </a:lnTo>
                <a:lnTo>
                  <a:pt x="582" y="844"/>
                </a:lnTo>
                <a:lnTo>
                  <a:pt x="585" y="850"/>
                </a:lnTo>
                <a:lnTo>
                  <a:pt x="582" y="854"/>
                </a:lnTo>
                <a:lnTo>
                  <a:pt x="585" y="857"/>
                </a:lnTo>
                <a:lnTo>
                  <a:pt x="587" y="859"/>
                </a:lnTo>
                <a:lnTo>
                  <a:pt x="589" y="861"/>
                </a:lnTo>
                <a:lnTo>
                  <a:pt x="595" y="867"/>
                </a:lnTo>
                <a:lnTo>
                  <a:pt x="598" y="870"/>
                </a:lnTo>
                <a:lnTo>
                  <a:pt x="598" y="872"/>
                </a:lnTo>
                <a:lnTo>
                  <a:pt x="598" y="876"/>
                </a:lnTo>
                <a:lnTo>
                  <a:pt x="587" y="880"/>
                </a:lnTo>
                <a:lnTo>
                  <a:pt x="585" y="885"/>
                </a:lnTo>
                <a:lnTo>
                  <a:pt x="580" y="885"/>
                </a:lnTo>
                <a:lnTo>
                  <a:pt x="572" y="887"/>
                </a:lnTo>
                <a:lnTo>
                  <a:pt x="572" y="889"/>
                </a:lnTo>
                <a:lnTo>
                  <a:pt x="570" y="893"/>
                </a:lnTo>
                <a:lnTo>
                  <a:pt x="563" y="900"/>
                </a:lnTo>
                <a:lnTo>
                  <a:pt x="565" y="902"/>
                </a:lnTo>
                <a:lnTo>
                  <a:pt x="561" y="908"/>
                </a:lnTo>
                <a:lnTo>
                  <a:pt x="563" y="908"/>
                </a:lnTo>
                <a:lnTo>
                  <a:pt x="561" y="911"/>
                </a:lnTo>
                <a:lnTo>
                  <a:pt x="561" y="917"/>
                </a:lnTo>
                <a:lnTo>
                  <a:pt x="561" y="919"/>
                </a:lnTo>
                <a:lnTo>
                  <a:pt x="561" y="921"/>
                </a:lnTo>
                <a:lnTo>
                  <a:pt x="557" y="924"/>
                </a:lnTo>
                <a:lnTo>
                  <a:pt x="557" y="926"/>
                </a:lnTo>
                <a:lnTo>
                  <a:pt x="554" y="928"/>
                </a:lnTo>
                <a:lnTo>
                  <a:pt x="554" y="934"/>
                </a:lnTo>
                <a:lnTo>
                  <a:pt x="554" y="937"/>
                </a:lnTo>
                <a:lnTo>
                  <a:pt x="550" y="939"/>
                </a:lnTo>
                <a:lnTo>
                  <a:pt x="548" y="941"/>
                </a:lnTo>
                <a:lnTo>
                  <a:pt x="546" y="941"/>
                </a:lnTo>
                <a:lnTo>
                  <a:pt x="546" y="943"/>
                </a:lnTo>
                <a:lnTo>
                  <a:pt x="541" y="945"/>
                </a:lnTo>
                <a:lnTo>
                  <a:pt x="537" y="945"/>
                </a:lnTo>
                <a:lnTo>
                  <a:pt x="537" y="952"/>
                </a:lnTo>
                <a:lnTo>
                  <a:pt x="535" y="956"/>
                </a:lnTo>
                <a:lnTo>
                  <a:pt x="537" y="958"/>
                </a:lnTo>
                <a:lnTo>
                  <a:pt x="537" y="960"/>
                </a:lnTo>
                <a:lnTo>
                  <a:pt x="537" y="962"/>
                </a:lnTo>
                <a:lnTo>
                  <a:pt x="535" y="969"/>
                </a:lnTo>
                <a:lnTo>
                  <a:pt x="533" y="973"/>
                </a:lnTo>
                <a:lnTo>
                  <a:pt x="533" y="975"/>
                </a:lnTo>
                <a:lnTo>
                  <a:pt x="535" y="982"/>
                </a:lnTo>
                <a:lnTo>
                  <a:pt x="537" y="982"/>
                </a:lnTo>
                <a:lnTo>
                  <a:pt x="539" y="984"/>
                </a:lnTo>
                <a:lnTo>
                  <a:pt x="541" y="984"/>
                </a:lnTo>
                <a:lnTo>
                  <a:pt x="546" y="984"/>
                </a:lnTo>
                <a:lnTo>
                  <a:pt x="550" y="988"/>
                </a:lnTo>
                <a:lnTo>
                  <a:pt x="548" y="993"/>
                </a:lnTo>
                <a:lnTo>
                  <a:pt x="548" y="1001"/>
                </a:lnTo>
                <a:lnTo>
                  <a:pt x="541" y="1003"/>
                </a:lnTo>
                <a:lnTo>
                  <a:pt x="539" y="1006"/>
                </a:lnTo>
                <a:lnTo>
                  <a:pt x="539" y="1008"/>
                </a:lnTo>
                <a:lnTo>
                  <a:pt x="537" y="1008"/>
                </a:lnTo>
                <a:lnTo>
                  <a:pt x="537" y="1010"/>
                </a:lnTo>
                <a:lnTo>
                  <a:pt x="535" y="1010"/>
                </a:lnTo>
                <a:lnTo>
                  <a:pt x="533" y="1010"/>
                </a:lnTo>
                <a:lnTo>
                  <a:pt x="529" y="1008"/>
                </a:lnTo>
                <a:lnTo>
                  <a:pt x="524" y="1008"/>
                </a:lnTo>
                <a:lnTo>
                  <a:pt x="416" y="995"/>
                </a:lnTo>
                <a:lnTo>
                  <a:pt x="336" y="986"/>
                </a:lnTo>
                <a:lnTo>
                  <a:pt x="334" y="969"/>
                </a:lnTo>
                <a:lnTo>
                  <a:pt x="338" y="982"/>
                </a:lnTo>
                <a:lnTo>
                  <a:pt x="338" y="973"/>
                </a:lnTo>
                <a:lnTo>
                  <a:pt x="336" y="967"/>
                </a:lnTo>
                <a:lnTo>
                  <a:pt x="332" y="971"/>
                </a:lnTo>
                <a:lnTo>
                  <a:pt x="332" y="956"/>
                </a:lnTo>
                <a:lnTo>
                  <a:pt x="334" y="952"/>
                </a:lnTo>
                <a:lnTo>
                  <a:pt x="334" y="932"/>
                </a:lnTo>
                <a:lnTo>
                  <a:pt x="328" y="919"/>
                </a:lnTo>
                <a:lnTo>
                  <a:pt x="319" y="900"/>
                </a:lnTo>
                <a:lnTo>
                  <a:pt x="287" y="859"/>
                </a:lnTo>
                <a:lnTo>
                  <a:pt x="276" y="854"/>
                </a:lnTo>
                <a:lnTo>
                  <a:pt x="274" y="859"/>
                </a:lnTo>
                <a:lnTo>
                  <a:pt x="263" y="854"/>
                </a:lnTo>
                <a:lnTo>
                  <a:pt x="263" y="852"/>
                </a:lnTo>
                <a:lnTo>
                  <a:pt x="267" y="846"/>
                </a:lnTo>
                <a:lnTo>
                  <a:pt x="267" y="842"/>
                </a:lnTo>
                <a:lnTo>
                  <a:pt x="261" y="824"/>
                </a:lnTo>
                <a:lnTo>
                  <a:pt x="241" y="822"/>
                </a:lnTo>
                <a:lnTo>
                  <a:pt x="231" y="818"/>
                </a:lnTo>
                <a:lnTo>
                  <a:pt x="211" y="803"/>
                </a:lnTo>
                <a:lnTo>
                  <a:pt x="211" y="792"/>
                </a:lnTo>
                <a:lnTo>
                  <a:pt x="200" y="777"/>
                </a:lnTo>
                <a:lnTo>
                  <a:pt x="190" y="770"/>
                </a:lnTo>
                <a:lnTo>
                  <a:pt x="170" y="766"/>
                </a:lnTo>
                <a:lnTo>
                  <a:pt x="161" y="759"/>
                </a:lnTo>
                <a:lnTo>
                  <a:pt x="153" y="755"/>
                </a:lnTo>
                <a:lnTo>
                  <a:pt x="127" y="753"/>
                </a:lnTo>
                <a:lnTo>
                  <a:pt x="125" y="744"/>
                </a:lnTo>
                <a:lnTo>
                  <a:pt x="116" y="738"/>
                </a:lnTo>
                <a:lnTo>
                  <a:pt x="123" y="725"/>
                </a:lnTo>
                <a:lnTo>
                  <a:pt x="123" y="721"/>
                </a:lnTo>
                <a:lnTo>
                  <a:pt x="127" y="712"/>
                </a:lnTo>
                <a:lnTo>
                  <a:pt x="123" y="706"/>
                </a:lnTo>
                <a:lnTo>
                  <a:pt x="127" y="699"/>
                </a:lnTo>
                <a:lnTo>
                  <a:pt x="129" y="693"/>
                </a:lnTo>
                <a:lnTo>
                  <a:pt x="129" y="684"/>
                </a:lnTo>
                <a:lnTo>
                  <a:pt x="116" y="675"/>
                </a:lnTo>
                <a:lnTo>
                  <a:pt x="114" y="671"/>
                </a:lnTo>
                <a:lnTo>
                  <a:pt x="120" y="660"/>
                </a:lnTo>
                <a:lnTo>
                  <a:pt x="120" y="656"/>
                </a:lnTo>
                <a:lnTo>
                  <a:pt x="112" y="649"/>
                </a:lnTo>
                <a:lnTo>
                  <a:pt x="105" y="630"/>
                </a:lnTo>
                <a:lnTo>
                  <a:pt x="97" y="626"/>
                </a:lnTo>
                <a:lnTo>
                  <a:pt x="97" y="613"/>
                </a:lnTo>
                <a:lnTo>
                  <a:pt x="90" y="602"/>
                </a:lnTo>
                <a:lnTo>
                  <a:pt x="79" y="570"/>
                </a:lnTo>
                <a:lnTo>
                  <a:pt x="71" y="557"/>
                </a:lnTo>
                <a:lnTo>
                  <a:pt x="71" y="529"/>
                </a:lnTo>
                <a:lnTo>
                  <a:pt x="75" y="524"/>
                </a:lnTo>
                <a:lnTo>
                  <a:pt x="77" y="529"/>
                </a:lnTo>
                <a:lnTo>
                  <a:pt x="82" y="526"/>
                </a:lnTo>
                <a:lnTo>
                  <a:pt x="90" y="511"/>
                </a:lnTo>
                <a:lnTo>
                  <a:pt x="90" y="509"/>
                </a:lnTo>
                <a:lnTo>
                  <a:pt x="86" y="496"/>
                </a:lnTo>
                <a:lnTo>
                  <a:pt x="73" y="494"/>
                </a:lnTo>
                <a:lnTo>
                  <a:pt x="64" y="485"/>
                </a:lnTo>
                <a:lnTo>
                  <a:pt x="62" y="477"/>
                </a:lnTo>
                <a:lnTo>
                  <a:pt x="56" y="462"/>
                </a:lnTo>
                <a:lnTo>
                  <a:pt x="60" y="451"/>
                </a:lnTo>
                <a:lnTo>
                  <a:pt x="60" y="438"/>
                </a:lnTo>
                <a:lnTo>
                  <a:pt x="56" y="434"/>
                </a:lnTo>
                <a:lnTo>
                  <a:pt x="60" y="416"/>
                </a:lnTo>
                <a:lnTo>
                  <a:pt x="62" y="410"/>
                </a:lnTo>
                <a:lnTo>
                  <a:pt x="71" y="410"/>
                </a:lnTo>
                <a:lnTo>
                  <a:pt x="73" y="418"/>
                </a:lnTo>
                <a:lnTo>
                  <a:pt x="71" y="418"/>
                </a:lnTo>
                <a:lnTo>
                  <a:pt x="66" y="429"/>
                </a:lnTo>
                <a:lnTo>
                  <a:pt x="82" y="449"/>
                </a:lnTo>
                <a:lnTo>
                  <a:pt x="92" y="449"/>
                </a:lnTo>
                <a:lnTo>
                  <a:pt x="86" y="444"/>
                </a:lnTo>
                <a:lnTo>
                  <a:pt x="82" y="421"/>
                </a:lnTo>
                <a:lnTo>
                  <a:pt x="75" y="414"/>
                </a:lnTo>
                <a:lnTo>
                  <a:pt x="79" y="403"/>
                </a:lnTo>
                <a:lnTo>
                  <a:pt x="75" y="401"/>
                </a:lnTo>
                <a:lnTo>
                  <a:pt x="75" y="395"/>
                </a:lnTo>
                <a:lnTo>
                  <a:pt x="82" y="395"/>
                </a:lnTo>
                <a:lnTo>
                  <a:pt x="105" y="397"/>
                </a:lnTo>
                <a:lnTo>
                  <a:pt x="125" y="403"/>
                </a:lnTo>
                <a:lnTo>
                  <a:pt x="129" y="399"/>
                </a:lnTo>
                <a:lnTo>
                  <a:pt x="136" y="401"/>
                </a:lnTo>
                <a:lnTo>
                  <a:pt x="136" y="403"/>
                </a:lnTo>
                <a:lnTo>
                  <a:pt x="138" y="403"/>
                </a:lnTo>
                <a:lnTo>
                  <a:pt x="138" y="399"/>
                </a:lnTo>
                <a:lnTo>
                  <a:pt x="140" y="397"/>
                </a:lnTo>
                <a:lnTo>
                  <a:pt x="129" y="399"/>
                </a:lnTo>
                <a:lnTo>
                  <a:pt x="131" y="393"/>
                </a:lnTo>
                <a:close/>
              </a:path>
            </a:pathLst>
          </a:custGeom>
          <a:solidFill>
            <a:srgbClr val="FFC000"/>
          </a:solidFill>
          <a:ln w="9525">
            <a:noFill/>
            <a:round/>
            <a:headEnd/>
            <a:tailEnd/>
          </a:ln>
        </p:spPr>
        <p:txBody>
          <a:bodyPr/>
          <a:lstStyle/>
          <a:p>
            <a:endParaRPr lang="en-US" dirty="0">
              <a:solidFill>
                <a:prstClr val="black"/>
              </a:solidFill>
            </a:endParaRPr>
          </a:p>
        </p:txBody>
      </p:sp>
      <p:sp>
        <p:nvSpPr>
          <p:cNvPr id="229" name="Freeform 62">
            <a:extLst>
              <a:ext uri="{FF2B5EF4-FFF2-40B4-BE49-F238E27FC236}">
                <a16:creationId xmlns:a16="http://schemas.microsoft.com/office/drawing/2014/main" id="{3D399AEA-5F68-47B7-A124-2C9FC5403E82}"/>
              </a:ext>
            </a:extLst>
          </p:cNvPr>
          <p:cNvSpPr>
            <a:spLocks/>
          </p:cNvSpPr>
          <p:nvPr>
            <p:custDataLst>
              <p:tags r:id="rId53"/>
            </p:custDataLst>
          </p:nvPr>
        </p:nvSpPr>
        <p:spPr bwMode="auto">
          <a:xfrm>
            <a:off x="2090804" y="2639613"/>
            <a:ext cx="1209985" cy="2183319"/>
          </a:xfrm>
          <a:custGeom>
            <a:avLst/>
            <a:gdLst>
              <a:gd name="T0" fmla="*/ 2147483647 w 598"/>
              <a:gd name="T1" fmla="*/ 2147483647 h 1010"/>
              <a:gd name="T2" fmla="*/ 2147483647 w 598"/>
              <a:gd name="T3" fmla="*/ 2147483647 h 1010"/>
              <a:gd name="T4" fmla="*/ 2147483647 w 598"/>
              <a:gd name="T5" fmla="*/ 2147483647 h 1010"/>
              <a:gd name="T6" fmla="*/ 2147483647 w 598"/>
              <a:gd name="T7" fmla="*/ 2147483647 h 1010"/>
              <a:gd name="T8" fmla="*/ 2147483647 w 598"/>
              <a:gd name="T9" fmla="*/ 2147483647 h 1010"/>
              <a:gd name="T10" fmla="*/ 2147483647 w 598"/>
              <a:gd name="T11" fmla="*/ 2147483647 h 1010"/>
              <a:gd name="T12" fmla="*/ 2147483647 w 598"/>
              <a:gd name="T13" fmla="*/ 2147483647 h 1010"/>
              <a:gd name="T14" fmla="*/ 2147483647 w 598"/>
              <a:gd name="T15" fmla="*/ 2147483647 h 1010"/>
              <a:gd name="T16" fmla="*/ 2147483647 w 598"/>
              <a:gd name="T17" fmla="*/ 2147483647 h 1010"/>
              <a:gd name="T18" fmla="*/ 2147483647 w 598"/>
              <a:gd name="T19" fmla="*/ 2147483647 h 1010"/>
              <a:gd name="T20" fmla="*/ 2147483647 w 598"/>
              <a:gd name="T21" fmla="*/ 2147483647 h 1010"/>
              <a:gd name="T22" fmla="*/ 2147483647 w 598"/>
              <a:gd name="T23" fmla="*/ 2147483647 h 1010"/>
              <a:gd name="T24" fmla="*/ 2147483647 w 598"/>
              <a:gd name="T25" fmla="*/ 2147483647 h 1010"/>
              <a:gd name="T26" fmla="*/ 2147483647 w 598"/>
              <a:gd name="T27" fmla="*/ 2147483647 h 1010"/>
              <a:gd name="T28" fmla="*/ 2147483647 w 598"/>
              <a:gd name="T29" fmla="*/ 2147483647 h 1010"/>
              <a:gd name="T30" fmla="*/ 2147483647 w 598"/>
              <a:gd name="T31" fmla="*/ 2147483647 h 1010"/>
              <a:gd name="T32" fmla="*/ 2147483647 w 598"/>
              <a:gd name="T33" fmla="*/ 2147483647 h 1010"/>
              <a:gd name="T34" fmla="*/ 2147483647 w 598"/>
              <a:gd name="T35" fmla="*/ 2147483647 h 1010"/>
              <a:gd name="T36" fmla="*/ 2147483647 w 598"/>
              <a:gd name="T37" fmla="*/ 2147483647 h 1010"/>
              <a:gd name="T38" fmla="*/ 2147483647 w 598"/>
              <a:gd name="T39" fmla="*/ 2147483647 h 1010"/>
              <a:gd name="T40" fmla="*/ 2147483647 w 598"/>
              <a:gd name="T41" fmla="*/ 2147483647 h 1010"/>
              <a:gd name="T42" fmla="*/ 2147483647 w 598"/>
              <a:gd name="T43" fmla="*/ 2147483647 h 1010"/>
              <a:gd name="T44" fmla="*/ 2147483647 w 598"/>
              <a:gd name="T45" fmla="*/ 2147483647 h 1010"/>
              <a:gd name="T46" fmla="*/ 2147483647 w 598"/>
              <a:gd name="T47" fmla="*/ 2147483647 h 1010"/>
              <a:gd name="T48" fmla="*/ 2147483647 w 598"/>
              <a:gd name="T49" fmla="*/ 2147483647 h 1010"/>
              <a:gd name="T50" fmla="*/ 2147483647 w 598"/>
              <a:gd name="T51" fmla="*/ 2147483647 h 1010"/>
              <a:gd name="T52" fmla="*/ 2147483647 w 598"/>
              <a:gd name="T53" fmla="*/ 2147483647 h 1010"/>
              <a:gd name="T54" fmla="*/ 2147483647 w 598"/>
              <a:gd name="T55" fmla="*/ 2147483647 h 1010"/>
              <a:gd name="T56" fmla="*/ 2147483647 w 598"/>
              <a:gd name="T57" fmla="*/ 2147483647 h 1010"/>
              <a:gd name="T58" fmla="*/ 2147483647 w 598"/>
              <a:gd name="T59" fmla="*/ 2147483647 h 1010"/>
              <a:gd name="T60" fmla="*/ 2147483647 w 598"/>
              <a:gd name="T61" fmla="*/ 2147483647 h 1010"/>
              <a:gd name="T62" fmla="*/ 2147483647 w 598"/>
              <a:gd name="T63" fmla="*/ 2147483647 h 1010"/>
              <a:gd name="T64" fmla="*/ 2147483647 w 598"/>
              <a:gd name="T65" fmla="*/ 2147483647 h 1010"/>
              <a:gd name="T66" fmla="*/ 2147483647 w 598"/>
              <a:gd name="T67" fmla="*/ 2147483647 h 1010"/>
              <a:gd name="T68" fmla="*/ 2147483647 w 598"/>
              <a:gd name="T69" fmla="*/ 2147483647 h 1010"/>
              <a:gd name="T70" fmla="*/ 2147483647 w 598"/>
              <a:gd name="T71" fmla="*/ 2147483647 h 1010"/>
              <a:gd name="T72" fmla="*/ 2147483647 w 598"/>
              <a:gd name="T73" fmla="*/ 2147483647 h 1010"/>
              <a:gd name="T74" fmla="*/ 2147483647 w 598"/>
              <a:gd name="T75" fmla="*/ 2147483647 h 1010"/>
              <a:gd name="T76" fmla="*/ 2147483647 w 598"/>
              <a:gd name="T77" fmla="*/ 2147483647 h 1010"/>
              <a:gd name="T78" fmla="*/ 2147483647 w 598"/>
              <a:gd name="T79" fmla="*/ 2147483647 h 1010"/>
              <a:gd name="T80" fmla="*/ 2147483647 w 598"/>
              <a:gd name="T81" fmla="*/ 2147483647 h 1010"/>
              <a:gd name="T82" fmla="*/ 2147483647 w 598"/>
              <a:gd name="T83" fmla="*/ 2147483647 h 1010"/>
              <a:gd name="T84" fmla="*/ 2147483647 w 598"/>
              <a:gd name="T85" fmla="*/ 2147483647 h 1010"/>
              <a:gd name="T86" fmla="*/ 2147483647 w 598"/>
              <a:gd name="T87" fmla="*/ 2147483647 h 1010"/>
              <a:gd name="T88" fmla="*/ 2147483647 w 598"/>
              <a:gd name="T89" fmla="*/ 2147483647 h 1010"/>
              <a:gd name="T90" fmla="*/ 2147483647 w 598"/>
              <a:gd name="T91" fmla="*/ 2147483647 h 1010"/>
              <a:gd name="T92" fmla="*/ 2147483647 w 598"/>
              <a:gd name="T93" fmla="*/ 2147483647 h 1010"/>
              <a:gd name="T94" fmla="*/ 2147483647 w 598"/>
              <a:gd name="T95" fmla="*/ 2147483647 h 1010"/>
              <a:gd name="T96" fmla="*/ 2147483647 w 598"/>
              <a:gd name="T97" fmla="*/ 2147483647 h 1010"/>
              <a:gd name="T98" fmla="*/ 2147483647 w 598"/>
              <a:gd name="T99" fmla="*/ 2147483647 h 1010"/>
              <a:gd name="T100" fmla="*/ 2147483647 w 598"/>
              <a:gd name="T101" fmla="*/ 2147483647 h 1010"/>
              <a:gd name="T102" fmla="*/ 2147483647 w 598"/>
              <a:gd name="T103" fmla="*/ 2147483647 h 1010"/>
              <a:gd name="T104" fmla="*/ 2147483647 w 598"/>
              <a:gd name="T105" fmla="*/ 2147483647 h 1010"/>
              <a:gd name="T106" fmla="*/ 2147483647 w 598"/>
              <a:gd name="T107" fmla="*/ 2147483647 h 1010"/>
              <a:gd name="T108" fmla="*/ 2147483647 w 598"/>
              <a:gd name="T109" fmla="*/ 2147483647 h 1010"/>
              <a:gd name="T110" fmla="*/ 2147483647 w 598"/>
              <a:gd name="T111" fmla="*/ 2147483647 h 1010"/>
              <a:gd name="T112" fmla="*/ 2147483647 w 598"/>
              <a:gd name="T113" fmla="*/ 2147483647 h 1010"/>
              <a:gd name="T114" fmla="*/ 2147483647 w 598"/>
              <a:gd name="T115" fmla="*/ 2147483647 h 1010"/>
              <a:gd name="T116" fmla="*/ 2147483647 w 598"/>
              <a:gd name="T117" fmla="*/ 2147483647 h 101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98"/>
              <a:gd name="T178" fmla="*/ 0 h 1010"/>
              <a:gd name="T179" fmla="*/ 598 w 598"/>
              <a:gd name="T180" fmla="*/ 1010 h 101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98" h="1010">
                <a:moveTo>
                  <a:pt x="131" y="393"/>
                </a:moveTo>
                <a:lnTo>
                  <a:pt x="120" y="399"/>
                </a:lnTo>
                <a:lnTo>
                  <a:pt x="112" y="397"/>
                </a:lnTo>
                <a:lnTo>
                  <a:pt x="107" y="388"/>
                </a:lnTo>
                <a:lnTo>
                  <a:pt x="90" y="388"/>
                </a:lnTo>
                <a:lnTo>
                  <a:pt x="88" y="382"/>
                </a:lnTo>
                <a:lnTo>
                  <a:pt x="88" y="377"/>
                </a:lnTo>
                <a:lnTo>
                  <a:pt x="86" y="377"/>
                </a:lnTo>
                <a:lnTo>
                  <a:pt x="88" y="382"/>
                </a:lnTo>
                <a:lnTo>
                  <a:pt x="88" y="386"/>
                </a:lnTo>
                <a:lnTo>
                  <a:pt x="79" y="380"/>
                </a:lnTo>
                <a:lnTo>
                  <a:pt x="77" y="382"/>
                </a:lnTo>
                <a:lnTo>
                  <a:pt x="73" y="382"/>
                </a:lnTo>
                <a:lnTo>
                  <a:pt x="71" y="377"/>
                </a:lnTo>
                <a:lnTo>
                  <a:pt x="73" y="384"/>
                </a:lnTo>
                <a:lnTo>
                  <a:pt x="66" y="388"/>
                </a:lnTo>
                <a:lnTo>
                  <a:pt x="73" y="395"/>
                </a:lnTo>
                <a:lnTo>
                  <a:pt x="66" y="397"/>
                </a:lnTo>
                <a:lnTo>
                  <a:pt x="66" y="405"/>
                </a:lnTo>
                <a:lnTo>
                  <a:pt x="62" y="405"/>
                </a:lnTo>
                <a:lnTo>
                  <a:pt x="56" y="397"/>
                </a:lnTo>
                <a:lnTo>
                  <a:pt x="53" y="397"/>
                </a:lnTo>
                <a:lnTo>
                  <a:pt x="45" y="384"/>
                </a:lnTo>
                <a:lnTo>
                  <a:pt x="41" y="380"/>
                </a:lnTo>
                <a:lnTo>
                  <a:pt x="34" y="382"/>
                </a:lnTo>
                <a:lnTo>
                  <a:pt x="32" y="382"/>
                </a:lnTo>
                <a:lnTo>
                  <a:pt x="43" y="367"/>
                </a:lnTo>
                <a:lnTo>
                  <a:pt x="43" y="354"/>
                </a:lnTo>
                <a:lnTo>
                  <a:pt x="38" y="351"/>
                </a:lnTo>
                <a:lnTo>
                  <a:pt x="34" y="339"/>
                </a:lnTo>
                <a:lnTo>
                  <a:pt x="28" y="323"/>
                </a:lnTo>
                <a:lnTo>
                  <a:pt x="17" y="302"/>
                </a:lnTo>
                <a:lnTo>
                  <a:pt x="8" y="282"/>
                </a:lnTo>
                <a:lnTo>
                  <a:pt x="12" y="272"/>
                </a:lnTo>
                <a:lnTo>
                  <a:pt x="12" y="241"/>
                </a:lnTo>
                <a:lnTo>
                  <a:pt x="23" y="224"/>
                </a:lnTo>
                <a:lnTo>
                  <a:pt x="23" y="213"/>
                </a:lnTo>
                <a:lnTo>
                  <a:pt x="25" y="200"/>
                </a:lnTo>
                <a:lnTo>
                  <a:pt x="17" y="181"/>
                </a:lnTo>
                <a:lnTo>
                  <a:pt x="12" y="170"/>
                </a:lnTo>
                <a:lnTo>
                  <a:pt x="0" y="151"/>
                </a:lnTo>
                <a:lnTo>
                  <a:pt x="4" y="142"/>
                </a:lnTo>
                <a:lnTo>
                  <a:pt x="4" y="133"/>
                </a:lnTo>
                <a:lnTo>
                  <a:pt x="38" y="90"/>
                </a:lnTo>
                <a:lnTo>
                  <a:pt x="38" y="75"/>
                </a:lnTo>
                <a:lnTo>
                  <a:pt x="47" y="60"/>
                </a:lnTo>
                <a:lnTo>
                  <a:pt x="53" y="49"/>
                </a:lnTo>
                <a:lnTo>
                  <a:pt x="56" y="23"/>
                </a:lnTo>
                <a:lnTo>
                  <a:pt x="49" y="17"/>
                </a:lnTo>
                <a:lnTo>
                  <a:pt x="56" y="10"/>
                </a:lnTo>
                <a:lnTo>
                  <a:pt x="58" y="0"/>
                </a:lnTo>
                <a:lnTo>
                  <a:pt x="86" y="6"/>
                </a:lnTo>
                <a:lnTo>
                  <a:pt x="105" y="10"/>
                </a:lnTo>
                <a:lnTo>
                  <a:pt x="125" y="17"/>
                </a:lnTo>
                <a:lnTo>
                  <a:pt x="187" y="36"/>
                </a:lnTo>
                <a:lnTo>
                  <a:pt x="241" y="51"/>
                </a:lnTo>
                <a:lnTo>
                  <a:pt x="282" y="62"/>
                </a:lnTo>
                <a:lnTo>
                  <a:pt x="338" y="77"/>
                </a:lnTo>
                <a:lnTo>
                  <a:pt x="321" y="151"/>
                </a:lnTo>
                <a:lnTo>
                  <a:pt x="287" y="282"/>
                </a:lnTo>
                <a:lnTo>
                  <a:pt x="278" y="310"/>
                </a:lnTo>
                <a:lnTo>
                  <a:pt x="276" y="319"/>
                </a:lnTo>
                <a:lnTo>
                  <a:pt x="272" y="334"/>
                </a:lnTo>
                <a:lnTo>
                  <a:pt x="272" y="339"/>
                </a:lnTo>
                <a:lnTo>
                  <a:pt x="272" y="341"/>
                </a:lnTo>
                <a:lnTo>
                  <a:pt x="269" y="349"/>
                </a:lnTo>
                <a:lnTo>
                  <a:pt x="274" y="356"/>
                </a:lnTo>
                <a:lnTo>
                  <a:pt x="291" y="384"/>
                </a:lnTo>
                <a:lnTo>
                  <a:pt x="306" y="403"/>
                </a:lnTo>
                <a:lnTo>
                  <a:pt x="315" y="416"/>
                </a:lnTo>
                <a:lnTo>
                  <a:pt x="356" y="477"/>
                </a:lnTo>
                <a:lnTo>
                  <a:pt x="386" y="526"/>
                </a:lnTo>
                <a:lnTo>
                  <a:pt x="425" y="582"/>
                </a:lnTo>
                <a:lnTo>
                  <a:pt x="500" y="690"/>
                </a:lnTo>
                <a:lnTo>
                  <a:pt x="516" y="714"/>
                </a:lnTo>
                <a:lnTo>
                  <a:pt x="574" y="803"/>
                </a:lnTo>
                <a:lnTo>
                  <a:pt x="572" y="803"/>
                </a:lnTo>
                <a:lnTo>
                  <a:pt x="572" y="807"/>
                </a:lnTo>
                <a:lnTo>
                  <a:pt x="572" y="809"/>
                </a:lnTo>
                <a:lnTo>
                  <a:pt x="572" y="813"/>
                </a:lnTo>
                <a:lnTo>
                  <a:pt x="574" y="820"/>
                </a:lnTo>
                <a:lnTo>
                  <a:pt x="574" y="824"/>
                </a:lnTo>
                <a:lnTo>
                  <a:pt x="578" y="826"/>
                </a:lnTo>
                <a:lnTo>
                  <a:pt x="580" y="826"/>
                </a:lnTo>
                <a:lnTo>
                  <a:pt x="580" y="831"/>
                </a:lnTo>
                <a:lnTo>
                  <a:pt x="582" y="842"/>
                </a:lnTo>
                <a:lnTo>
                  <a:pt x="580" y="842"/>
                </a:lnTo>
                <a:lnTo>
                  <a:pt x="582" y="844"/>
                </a:lnTo>
                <a:lnTo>
                  <a:pt x="585" y="850"/>
                </a:lnTo>
                <a:lnTo>
                  <a:pt x="582" y="854"/>
                </a:lnTo>
                <a:lnTo>
                  <a:pt x="585" y="857"/>
                </a:lnTo>
                <a:lnTo>
                  <a:pt x="587" y="859"/>
                </a:lnTo>
                <a:lnTo>
                  <a:pt x="589" y="861"/>
                </a:lnTo>
                <a:lnTo>
                  <a:pt x="595" y="867"/>
                </a:lnTo>
                <a:lnTo>
                  <a:pt x="598" y="870"/>
                </a:lnTo>
                <a:lnTo>
                  <a:pt x="598" y="872"/>
                </a:lnTo>
                <a:lnTo>
                  <a:pt x="598" y="876"/>
                </a:lnTo>
                <a:lnTo>
                  <a:pt x="587" y="880"/>
                </a:lnTo>
                <a:lnTo>
                  <a:pt x="585" y="885"/>
                </a:lnTo>
                <a:lnTo>
                  <a:pt x="580" y="885"/>
                </a:lnTo>
                <a:lnTo>
                  <a:pt x="572" y="887"/>
                </a:lnTo>
                <a:lnTo>
                  <a:pt x="572" y="889"/>
                </a:lnTo>
                <a:lnTo>
                  <a:pt x="570" y="893"/>
                </a:lnTo>
                <a:lnTo>
                  <a:pt x="563" y="900"/>
                </a:lnTo>
                <a:lnTo>
                  <a:pt x="565" y="902"/>
                </a:lnTo>
                <a:lnTo>
                  <a:pt x="561" y="908"/>
                </a:lnTo>
                <a:lnTo>
                  <a:pt x="563" y="908"/>
                </a:lnTo>
                <a:lnTo>
                  <a:pt x="561" y="911"/>
                </a:lnTo>
                <a:lnTo>
                  <a:pt x="561" y="917"/>
                </a:lnTo>
                <a:lnTo>
                  <a:pt x="561" y="919"/>
                </a:lnTo>
                <a:lnTo>
                  <a:pt x="561" y="921"/>
                </a:lnTo>
                <a:lnTo>
                  <a:pt x="557" y="924"/>
                </a:lnTo>
                <a:lnTo>
                  <a:pt x="557" y="926"/>
                </a:lnTo>
                <a:lnTo>
                  <a:pt x="554" y="928"/>
                </a:lnTo>
                <a:lnTo>
                  <a:pt x="554" y="934"/>
                </a:lnTo>
                <a:lnTo>
                  <a:pt x="554" y="937"/>
                </a:lnTo>
                <a:lnTo>
                  <a:pt x="550" y="939"/>
                </a:lnTo>
                <a:lnTo>
                  <a:pt x="548" y="941"/>
                </a:lnTo>
                <a:lnTo>
                  <a:pt x="546" y="941"/>
                </a:lnTo>
                <a:lnTo>
                  <a:pt x="546" y="943"/>
                </a:lnTo>
                <a:lnTo>
                  <a:pt x="541" y="945"/>
                </a:lnTo>
                <a:lnTo>
                  <a:pt x="537" y="945"/>
                </a:lnTo>
                <a:lnTo>
                  <a:pt x="537" y="952"/>
                </a:lnTo>
                <a:lnTo>
                  <a:pt x="535" y="956"/>
                </a:lnTo>
                <a:lnTo>
                  <a:pt x="537" y="958"/>
                </a:lnTo>
                <a:lnTo>
                  <a:pt x="537" y="960"/>
                </a:lnTo>
                <a:lnTo>
                  <a:pt x="537" y="962"/>
                </a:lnTo>
                <a:lnTo>
                  <a:pt x="535" y="969"/>
                </a:lnTo>
                <a:lnTo>
                  <a:pt x="533" y="973"/>
                </a:lnTo>
                <a:lnTo>
                  <a:pt x="533" y="975"/>
                </a:lnTo>
                <a:lnTo>
                  <a:pt x="535" y="982"/>
                </a:lnTo>
                <a:lnTo>
                  <a:pt x="537" y="982"/>
                </a:lnTo>
                <a:lnTo>
                  <a:pt x="539" y="984"/>
                </a:lnTo>
                <a:lnTo>
                  <a:pt x="541" y="984"/>
                </a:lnTo>
                <a:lnTo>
                  <a:pt x="546" y="984"/>
                </a:lnTo>
                <a:lnTo>
                  <a:pt x="550" y="988"/>
                </a:lnTo>
                <a:lnTo>
                  <a:pt x="548" y="993"/>
                </a:lnTo>
                <a:lnTo>
                  <a:pt x="548" y="1001"/>
                </a:lnTo>
                <a:lnTo>
                  <a:pt x="541" y="1003"/>
                </a:lnTo>
                <a:lnTo>
                  <a:pt x="539" y="1006"/>
                </a:lnTo>
                <a:lnTo>
                  <a:pt x="539" y="1008"/>
                </a:lnTo>
                <a:lnTo>
                  <a:pt x="537" y="1008"/>
                </a:lnTo>
                <a:lnTo>
                  <a:pt x="537" y="1010"/>
                </a:lnTo>
                <a:lnTo>
                  <a:pt x="535" y="1010"/>
                </a:lnTo>
                <a:lnTo>
                  <a:pt x="533" y="1010"/>
                </a:lnTo>
                <a:lnTo>
                  <a:pt x="529" y="1008"/>
                </a:lnTo>
                <a:lnTo>
                  <a:pt x="524" y="1008"/>
                </a:lnTo>
                <a:lnTo>
                  <a:pt x="416" y="995"/>
                </a:lnTo>
                <a:lnTo>
                  <a:pt x="336" y="986"/>
                </a:lnTo>
                <a:lnTo>
                  <a:pt x="334" y="969"/>
                </a:lnTo>
                <a:lnTo>
                  <a:pt x="338" y="982"/>
                </a:lnTo>
                <a:lnTo>
                  <a:pt x="338" y="973"/>
                </a:lnTo>
                <a:lnTo>
                  <a:pt x="336" y="967"/>
                </a:lnTo>
                <a:lnTo>
                  <a:pt x="332" y="971"/>
                </a:lnTo>
                <a:lnTo>
                  <a:pt x="332" y="956"/>
                </a:lnTo>
                <a:lnTo>
                  <a:pt x="334" y="952"/>
                </a:lnTo>
                <a:lnTo>
                  <a:pt x="334" y="932"/>
                </a:lnTo>
                <a:lnTo>
                  <a:pt x="328" y="919"/>
                </a:lnTo>
                <a:lnTo>
                  <a:pt x="319" y="900"/>
                </a:lnTo>
                <a:lnTo>
                  <a:pt x="287" y="859"/>
                </a:lnTo>
                <a:lnTo>
                  <a:pt x="276" y="854"/>
                </a:lnTo>
                <a:lnTo>
                  <a:pt x="274" y="859"/>
                </a:lnTo>
                <a:lnTo>
                  <a:pt x="263" y="854"/>
                </a:lnTo>
                <a:lnTo>
                  <a:pt x="263" y="852"/>
                </a:lnTo>
                <a:lnTo>
                  <a:pt x="267" y="846"/>
                </a:lnTo>
                <a:lnTo>
                  <a:pt x="267" y="842"/>
                </a:lnTo>
                <a:lnTo>
                  <a:pt x="261" y="824"/>
                </a:lnTo>
                <a:lnTo>
                  <a:pt x="241" y="822"/>
                </a:lnTo>
                <a:lnTo>
                  <a:pt x="231" y="818"/>
                </a:lnTo>
                <a:lnTo>
                  <a:pt x="211" y="803"/>
                </a:lnTo>
                <a:lnTo>
                  <a:pt x="211" y="792"/>
                </a:lnTo>
                <a:lnTo>
                  <a:pt x="200" y="777"/>
                </a:lnTo>
                <a:lnTo>
                  <a:pt x="190" y="770"/>
                </a:lnTo>
                <a:lnTo>
                  <a:pt x="170" y="766"/>
                </a:lnTo>
                <a:lnTo>
                  <a:pt x="161" y="759"/>
                </a:lnTo>
                <a:lnTo>
                  <a:pt x="153" y="755"/>
                </a:lnTo>
                <a:lnTo>
                  <a:pt x="127" y="753"/>
                </a:lnTo>
                <a:lnTo>
                  <a:pt x="125" y="744"/>
                </a:lnTo>
                <a:lnTo>
                  <a:pt x="116" y="738"/>
                </a:lnTo>
                <a:lnTo>
                  <a:pt x="123" y="725"/>
                </a:lnTo>
                <a:lnTo>
                  <a:pt x="123" y="721"/>
                </a:lnTo>
                <a:lnTo>
                  <a:pt x="127" y="712"/>
                </a:lnTo>
                <a:lnTo>
                  <a:pt x="123" y="706"/>
                </a:lnTo>
                <a:lnTo>
                  <a:pt x="127" y="699"/>
                </a:lnTo>
                <a:lnTo>
                  <a:pt x="129" y="693"/>
                </a:lnTo>
                <a:lnTo>
                  <a:pt x="129" y="684"/>
                </a:lnTo>
                <a:lnTo>
                  <a:pt x="116" y="675"/>
                </a:lnTo>
                <a:lnTo>
                  <a:pt x="114" y="671"/>
                </a:lnTo>
                <a:lnTo>
                  <a:pt x="120" y="660"/>
                </a:lnTo>
                <a:lnTo>
                  <a:pt x="120" y="656"/>
                </a:lnTo>
                <a:lnTo>
                  <a:pt x="112" y="649"/>
                </a:lnTo>
                <a:lnTo>
                  <a:pt x="105" y="630"/>
                </a:lnTo>
                <a:lnTo>
                  <a:pt x="97" y="626"/>
                </a:lnTo>
                <a:lnTo>
                  <a:pt x="97" y="613"/>
                </a:lnTo>
                <a:lnTo>
                  <a:pt x="90" y="602"/>
                </a:lnTo>
                <a:lnTo>
                  <a:pt x="79" y="570"/>
                </a:lnTo>
                <a:lnTo>
                  <a:pt x="71" y="557"/>
                </a:lnTo>
                <a:lnTo>
                  <a:pt x="71" y="529"/>
                </a:lnTo>
                <a:lnTo>
                  <a:pt x="75" y="524"/>
                </a:lnTo>
                <a:lnTo>
                  <a:pt x="77" y="529"/>
                </a:lnTo>
                <a:lnTo>
                  <a:pt x="82" y="526"/>
                </a:lnTo>
                <a:lnTo>
                  <a:pt x="90" y="511"/>
                </a:lnTo>
                <a:lnTo>
                  <a:pt x="90" y="509"/>
                </a:lnTo>
                <a:lnTo>
                  <a:pt x="86" y="496"/>
                </a:lnTo>
                <a:lnTo>
                  <a:pt x="73" y="494"/>
                </a:lnTo>
                <a:lnTo>
                  <a:pt x="64" y="485"/>
                </a:lnTo>
                <a:lnTo>
                  <a:pt x="62" y="477"/>
                </a:lnTo>
                <a:lnTo>
                  <a:pt x="56" y="462"/>
                </a:lnTo>
                <a:lnTo>
                  <a:pt x="60" y="451"/>
                </a:lnTo>
                <a:lnTo>
                  <a:pt x="60" y="438"/>
                </a:lnTo>
                <a:lnTo>
                  <a:pt x="56" y="434"/>
                </a:lnTo>
                <a:lnTo>
                  <a:pt x="60" y="416"/>
                </a:lnTo>
                <a:lnTo>
                  <a:pt x="62" y="410"/>
                </a:lnTo>
                <a:lnTo>
                  <a:pt x="71" y="410"/>
                </a:lnTo>
                <a:lnTo>
                  <a:pt x="73" y="418"/>
                </a:lnTo>
                <a:lnTo>
                  <a:pt x="71" y="418"/>
                </a:lnTo>
                <a:lnTo>
                  <a:pt x="66" y="429"/>
                </a:lnTo>
                <a:lnTo>
                  <a:pt x="82" y="449"/>
                </a:lnTo>
                <a:lnTo>
                  <a:pt x="92" y="449"/>
                </a:lnTo>
                <a:lnTo>
                  <a:pt x="86" y="444"/>
                </a:lnTo>
                <a:lnTo>
                  <a:pt x="82" y="421"/>
                </a:lnTo>
                <a:lnTo>
                  <a:pt x="75" y="414"/>
                </a:lnTo>
                <a:lnTo>
                  <a:pt x="79" y="403"/>
                </a:lnTo>
                <a:lnTo>
                  <a:pt x="75" y="401"/>
                </a:lnTo>
                <a:lnTo>
                  <a:pt x="75" y="395"/>
                </a:lnTo>
                <a:lnTo>
                  <a:pt x="82" y="395"/>
                </a:lnTo>
                <a:lnTo>
                  <a:pt x="105" y="397"/>
                </a:lnTo>
                <a:lnTo>
                  <a:pt x="125" y="403"/>
                </a:lnTo>
                <a:lnTo>
                  <a:pt x="129" y="399"/>
                </a:lnTo>
                <a:lnTo>
                  <a:pt x="136" y="401"/>
                </a:lnTo>
                <a:lnTo>
                  <a:pt x="136" y="403"/>
                </a:lnTo>
                <a:lnTo>
                  <a:pt x="138" y="403"/>
                </a:lnTo>
                <a:lnTo>
                  <a:pt x="138" y="399"/>
                </a:lnTo>
                <a:lnTo>
                  <a:pt x="140" y="397"/>
                </a:lnTo>
                <a:lnTo>
                  <a:pt x="129" y="399"/>
                </a:lnTo>
                <a:lnTo>
                  <a:pt x="131" y="393"/>
                </a:lnTo>
              </a:path>
            </a:pathLst>
          </a:custGeom>
          <a:noFill/>
          <a:ln w="6350">
            <a:solidFill>
              <a:srgbClr val="404040"/>
            </a:solidFill>
            <a:round/>
            <a:headEnd/>
            <a:tailEnd/>
          </a:ln>
        </p:spPr>
        <p:txBody>
          <a:bodyPr/>
          <a:lstStyle/>
          <a:p>
            <a:endParaRPr lang="en-US" dirty="0">
              <a:solidFill>
                <a:prstClr val="black"/>
              </a:solidFill>
            </a:endParaRPr>
          </a:p>
        </p:txBody>
      </p:sp>
      <p:sp>
        <p:nvSpPr>
          <p:cNvPr id="230" name="Freeform 63">
            <a:extLst>
              <a:ext uri="{FF2B5EF4-FFF2-40B4-BE49-F238E27FC236}">
                <a16:creationId xmlns:a16="http://schemas.microsoft.com/office/drawing/2014/main" id="{7EA4624A-F7B3-4DC4-BD1F-0723145CE9A1}"/>
              </a:ext>
            </a:extLst>
          </p:cNvPr>
          <p:cNvSpPr>
            <a:spLocks/>
          </p:cNvSpPr>
          <p:nvPr>
            <p:custDataLst>
              <p:tags r:id="rId54"/>
            </p:custDataLst>
          </p:nvPr>
        </p:nvSpPr>
        <p:spPr bwMode="auto">
          <a:xfrm>
            <a:off x="7681171" y="3071968"/>
            <a:ext cx="624720" cy="760919"/>
          </a:xfrm>
          <a:custGeom>
            <a:avLst/>
            <a:gdLst>
              <a:gd name="T0" fmla="*/ 2147483647 w 309"/>
              <a:gd name="T1" fmla="*/ 2147483647 h 352"/>
              <a:gd name="T2" fmla="*/ 2147483647 w 309"/>
              <a:gd name="T3" fmla="*/ 2147483647 h 352"/>
              <a:gd name="T4" fmla="*/ 2147483647 w 309"/>
              <a:gd name="T5" fmla="*/ 2147483647 h 352"/>
              <a:gd name="T6" fmla="*/ 2147483647 w 309"/>
              <a:gd name="T7" fmla="*/ 2147483647 h 352"/>
              <a:gd name="T8" fmla="*/ 2147483647 w 309"/>
              <a:gd name="T9" fmla="*/ 2147483647 h 352"/>
              <a:gd name="T10" fmla="*/ 2147483647 w 309"/>
              <a:gd name="T11" fmla="*/ 2147483647 h 352"/>
              <a:gd name="T12" fmla="*/ 2147483647 w 309"/>
              <a:gd name="T13" fmla="*/ 2147483647 h 352"/>
              <a:gd name="T14" fmla="*/ 2147483647 w 309"/>
              <a:gd name="T15" fmla="*/ 2147483647 h 352"/>
              <a:gd name="T16" fmla="*/ 2147483647 w 309"/>
              <a:gd name="T17" fmla="*/ 2147483647 h 352"/>
              <a:gd name="T18" fmla="*/ 2147483647 w 309"/>
              <a:gd name="T19" fmla="*/ 2147483647 h 352"/>
              <a:gd name="T20" fmla="*/ 2147483647 w 309"/>
              <a:gd name="T21" fmla="*/ 2147483647 h 352"/>
              <a:gd name="T22" fmla="*/ 2147483647 w 309"/>
              <a:gd name="T23" fmla="*/ 2147483647 h 352"/>
              <a:gd name="T24" fmla="*/ 2147483647 w 309"/>
              <a:gd name="T25" fmla="*/ 2147483647 h 352"/>
              <a:gd name="T26" fmla="*/ 0 w 309"/>
              <a:gd name="T27" fmla="*/ 2147483647 h 352"/>
              <a:gd name="T28" fmla="*/ 2147483647 w 309"/>
              <a:gd name="T29" fmla="*/ 2147483647 h 352"/>
              <a:gd name="T30" fmla="*/ 2147483647 w 309"/>
              <a:gd name="T31" fmla="*/ 2147483647 h 352"/>
              <a:gd name="T32" fmla="*/ 2147483647 w 309"/>
              <a:gd name="T33" fmla="*/ 2147483647 h 352"/>
              <a:gd name="T34" fmla="*/ 2147483647 w 309"/>
              <a:gd name="T35" fmla="*/ 2147483647 h 352"/>
              <a:gd name="T36" fmla="*/ 2147483647 w 309"/>
              <a:gd name="T37" fmla="*/ 2147483647 h 352"/>
              <a:gd name="T38" fmla="*/ 2147483647 w 309"/>
              <a:gd name="T39" fmla="*/ 2147483647 h 352"/>
              <a:gd name="T40" fmla="*/ 2147483647 w 309"/>
              <a:gd name="T41" fmla="*/ 2147483647 h 352"/>
              <a:gd name="T42" fmla="*/ 2147483647 w 309"/>
              <a:gd name="T43" fmla="*/ 2147483647 h 352"/>
              <a:gd name="T44" fmla="*/ 2147483647 w 309"/>
              <a:gd name="T45" fmla="*/ 2147483647 h 352"/>
              <a:gd name="T46" fmla="*/ 2147483647 w 309"/>
              <a:gd name="T47" fmla="*/ 2147483647 h 352"/>
              <a:gd name="T48" fmla="*/ 2147483647 w 309"/>
              <a:gd name="T49" fmla="*/ 2147483647 h 352"/>
              <a:gd name="T50" fmla="*/ 2147483647 w 309"/>
              <a:gd name="T51" fmla="*/ 2147483647 h 352"/>
              <a:gd name="T52" fmla="*/ 2147483647 w 309"/>
              <a:gd name="T53" fmla="*/ 2147483647 h 352"/>
              <a:gd name="T54" fmla="*/ 2147483647 w 309"/>
              <a:gd name="T55" fmla="*/ 2147483647 h 352"/>
              <a:gd name="T56" fmla="*/ 2147483647 w 309"/>
              <a:gd name="T57" fmla="*/ 2147483647 h 352"/>
              <a:gd name="T58" fmla="*/ 2147483647 w 309"/>
              <a:gd name="T59" fmla="*/ 2147483647 h 352"/>
              <a:gd name="T60" fmla="*/ 2147483647 w 309"/>
              <a:gd name="T61" fmla="*/ 2147483647 h 352"/>
              <a:gd name="T62" fmla="*/ 2147483647 w 309"/>
              <a:gd name="T63" fmla="*/ 2147483647 h 352"/>
              <a:gd name="T64" fmla="*/ 2147483647 w 309"/>
              <a:gd name="T65" fmla="*/ 2147483647 h 352"/>
              <a:gd name="T66" fmla="*/ 2147483647 w 309"/>
              <a:gd name="T67" fmla="*/ 2147483647 h 352"/>
              <a:gd name="T68" fmla="*/ 2147483647 w 309"/>
              <a:gd name="T69" fmla="*/ 2147483647 h 352"/>
              <a:gd name="T70" fmla="*/ 2147483647 w 309"/>
              <a:gd name="T71" fmla="*/ 2147483647 h 352"/>
              <a:gd name="T72" fmla="*/ 2147483647 w 309"/>
              <a:gd name="T73" fmla="*/ 2147483647 h 352"/>
              <a:gd name="T74" fmla="*/ 2147483647 w 309"/>
              <a:gd name="T75" fmla="*/ 2147483647 h 352"/>
              <a:gd name="T76" fmla="*/ 2147483647 w 309"/>
              <a:gd name="T77" fmla="*/ 2147483647 h 352"/>
              <a:gd name="T78" fmla="*/ 2147483647 w 309"/>
              <a:gd name="T79" fmla="*/ 2147483647 h 352"/>
              <a:gd name="T80" fmla="*/ 2147483647 w 309"/>
              <a:gd name="T81" fmla="*/ 2147483647 h 352"/>
              <a:gd name="T82" fmla="*/ 2147483647 w 309"/>
              <a:gd name="T83" fmla="*/ 2147483647 h 352"/>
              <a:gd name="T84" fmla="*/ 2147483647 w 309"/>
              <a:gd name="T85" fmla="*/ 2147483647 h 352"/>
              <a:gd name="T86" fmla="*/ 2147483647 w 309"/>
              <a:gd name="T87" fmla="*/ 2147483647 h 352"/>
              <a:gd name="T88" fmla="*/ 2147483647 w 309"/>
              <a:gd name="T89" fmla="*/ 2147483647 h 352"/>
              <a:gd name="T90" fmla="*/ 2147483647 w 309"/>
              <a:gd name="T91" fmla="*/ 2147483647 h 352"/>
              <a:gd name="T92" fmla="*/ 2147483647 w 309"/>
              <a:gd name="T93" fmla="*/ 2147483647 h 352"/>
              <a:gd name="T94" fmla="*/ 2147483647 w 309"/>
              <a:gd name="T95" fmla="*/ 2147483647 h 352"/>
              <a:gd name="T96" fmla="*/ 2147483647 w 309"/>
              <a:gd name="T97" fmla="*/ 2147483647 h 3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09"/>
              <a:gd name="T148" fmla="*/ 0 h 352"/>
              <a:gd name="T149" fmla="*/ 309 w 309"/>
              <a:gd name="T150" fmla="*/ 352 h 3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09" h="352">
                <a:moveTo>
                  <a:pt x="143" y="341"/>
                </a:moveTo>
                <a:lnTo>
                  <a:pt x="143" y="344"/>
                </a:lnTo>
                <a:lnTo>
                  <a:pt x="141" y="344"/>
                </a:lnTo>
                <a:lnTo>
                  <a:pt x="141" y="341"/>
                </a:lnTo>
                <a:lnTo>
                  <a:pt x="134" y="339"/>
                </a:lnTo>
                <a:lnTo>
                  <a:pt x="130" y="339"/>
                </a:lnTo>
                <a:lnTo>
                  <a:pt x="125" y="335"/>
                </a:lnTo>
                <a:lnTo>
                  <a:pt x="117" y="339"/>
                </a:lnTo>
                <a:lnTo>
                  <a:pt x="117" y="341"/>
                </a:lnTo>
                <a:lnTo>
                  <a:pt x="117" y="344"/>
                </a:lnTo>
                <a:lnTo>
                  <a:pt x="115" y="344"/>
                </a:lnTo>
                <a:lnTo>
                  <a:pt x="115" y="346"/>
                </a:lnTo>
                <a:lnTo>
                  <a:pt x="113" y="344"/>
                </a:lnTo>
                <a:lnTo>
                  <a:pt x="108" y="344"/>
                </a:lnTo>
                <a:lnTo>
                  <a:pt x="106" y="339"/>
                </a:lnTo>
                <a:lnTo>
                  <a:pt x="102" y="339"/>
                </a:lnTo>
                <a:lnTo>
                  <a:pt x="100" y="335"/>
                </a:lnTo>
                <a:lnTo>
                  <a:pt x="95" y="333"/>
                </a:lnTo>
                <a:lnTo>
                  <a:pt x="93" y="333"/>
                </a:lnTo>
                <a:lnTo>
                  <a:pt x="84" y="335"/>
                </a:lnTo>
                <a:lnTo>
                  <a:pt x="82" y="335"/>
                </a:lnTo>
                <a:lnTo>
                  <a:pt x="76" y="333"/>
                </a:lnTo>
                <a:lnTo>
                  <a:pt x="74" y="331"/>
                </a:lnTo>
                <a:lnTo>
                  <a:pt x="69" y="326"/>
                </a:lnTo>
                <a:lnTo>
                  <a:pt x="67" y="324"/>
                </a:lnTo>
                <a:lnTo>
                  <a:pt x="65" y="320"/>
                </a:lnTo>
                <a:lnTo>
                  <a:pt x="63" y="313"/>
                </a:lnTo>
                <a:lnTo>
                  <a:pt x="61" y="311"/>
                </a:lnTo>
                <a:lnTo>
                  <a:pt x="59" y="313"/>
                </a:lnTo>
                <a:lnTo>
                  <a:pt x="56" y="311"/>
                </a:lnTo>
                <a:lnTo>
                  <a:pt x="56" y="309"/>
                </a:lnTo>
                <a:lnTo>
                  <a:pt x="52" y="307"/>
                </a:lnTo>
                <a:lnTo>
                  <a:pt x="50" y="307"/>
                </a:lnTo>
                <a:lnTo>
                  <a:pt x="48" y="309"/>
                </a:lnTo>
                <a:lnTo>
                  <a:pt x="43" y="311"/>
                </a:lnTo>
                <a:lnTo>
                  <a:pt x="41" y="311"/>
                </a:lnTo>
                <a:lnTo>
                  <a:pt x="39" y="311"/>
                </a:lnTo>
                <a:lnTo>
                  <a:pt x="30" y="307"/>
                </a:lnTo>
                <a:lnTo>
                  <a:pt x="28" y="309"/>
                </a:lnTo>
                <a:lnTo>
                  <a:pt x="28" y="311"/>
                </a:lnTo>
                <a:lnTo>
                  <a:pt x="26" y="292"/>
                </a:lnTo>
                <a:lnTo>
                  <a:pt x="24" y="270"/>
                </a:lnTo>
                <a:lnTo>
                  <a:pt x="24" y="266"/>
                </a:lnTo>
                <a:lnTo>
                  <a:pt x="20" y="251"/>
                </a:lnTo>
                <a:lnTo>
                  <a:pt x="18" y="234"/>
                </a:lnTo>
                <a:lnTo>
                  <a:pt x="18" y="227"/>
                </a:lnTo>
                <a:lnTo>
                  <a:pt x="15" y="197"/>
                </a:lnTo>
                <a:lnTo>
                  <a:pt x="15" y="195"/>
                </a:lnTo>
                <a:lnTo>
                  <a:pt x="13" y="171"/>
                </a:lnTo>
                <a:lnTo>
                  <a:pt x="11" y="160"/>
                </a:lnTo>
                <a:lnTo>
                  <a:pt x="9" y="139"/>
                </a:lnTo>
                <a:lnTo>
                  <a:pt x="9" y="134"/>
                </a:lnTo>
                <a:lnTo>
                  <a:pt x="7" y="110"/>
                </a:lnTo>
                <a:lnTo>
                  <a:pt x="7" y="106"/>
                </a:lnTo>
                <a:lnTo>
                  <a:pt x="2" y="95"/>
                </a:lnTo>
                <a:lnTo>
                  <a:pt x="0" y="85"/>
                </a:lnTo>
                <a:lnTo>
                  <a:pt x="0" y="69"/>
                </a:lnTo>
                <a:lnTo>
                  <a:pt x="28" y="65"/>
                </a:lnTo>
                <a:lnTo>
                  <a:pt x="30" y="65"/>
                </a:lnTo>
                <a:lnTo>
                  <a:pt x="63" y="59"/>
                </a:lnTo>
                <a:lnTo>
                  <a:pt x="69" y="57"/>
                </a:lnTo>
                <a:lnTo>
                  <a:pt x="91" y="54"/>
                </a:lnTo>
                <a:lnTo>
                  <a:pt x="113" y="63"/>
                </a:lnTo>
                <a:lnTo>
                  <a:pt x="125" y="67"/>
                </a:lnTo>
                <a:lnTo>
                  <a:pt x="141" y="67"/>
                </a:lnTo>
                <a:lnTo>
                  <a:pt x="141" y="69"/>
                </a:lnTo>
                <a:lnTo>
                  <a:pt x="123" y="78"/>
                </a:lnTo>
                <a:lnTo>
                  <a:pt x="132" y="78"/>
                </a:lnTo>
                <a:lnTo>
                  <a:pt x="147" y="72"/>
                </a:lnTo>
                <a:lnTo>
                  <a:pt x="160" y="78"/>
                </a:lnTo>
                <a:lnTo>
                  <a:pt x="173" y="72"/>
                </a:lnTo>
                <a:lnTo>
                  <a:pt x="195" y="59"/>
                </a:lnTo>
                <a:lnTo>
                  <a:pt x="197" y="59"/>
                </a:lnTo>
                <a:lnTo>
                  <a:pt x="212" y="59"/>
                </a:lnTo>
                <a:lnTo>
                  <a:pt x="229" y="46"/>
                </a:lnTo>
                <a:lnTo>
                  <a:pt x="238" y="35"/>
                </a:lnTo>
                <a:lnTo>
                  <a:pt x="259" y="18"/>
                </a:lnTo>
                <a:lnTo>
                  <a:pt x="290" y="0"/>
                </a:lnTo>
                <a:lnTo>
                  <a:pt x="292" y="13"/>
                </a:lnTo>
                <a:lnTo>
                  <a:pt x="296" y="46"/>
                </a:lnTo>
                <a:lnTo>
                  <a:pt x="296" y="48"/>
                </a:lnTo>
                <a:lnTo>
                  <a:pt x="303" y="80"/>
                </a:lnTo>
                <a:lnTo>
                  <a:pt x="307" y="102"/>
                </a:lnTo>
                <a:lnTo>
                  <a:pt x="307" y="104"/>
                </a:lnTo>
                <a:lnTo>
                  <a:pt x="309" y="123"/>
                </a:lnTo>
                <a:lnTo>
                  <a:pt x="307" y="128"/>
                </a:lnTo>
                <a:lnTo>
                  <a:pt x="305" y="128"/>
                </a:lnTo>
                <a:lnTo>
                  <a:pt x="303" y="130"/>
                </a:lnTo>
                <a:lnTo>
                  <a:pt x="303" y="132"/>
                </a:lnTo>
                <a:lnTo>
                  <a:pt x="305" y="134"/>
                </a:lnTo>
                <a:lnTo>
                  <a:pt x="305" y="139"/>
                </a:lnTo>
                <a:lnTo>
                  <a:pt x="307" y="139"/>
                </a:lnTo>
                <a:lnTo>
                  <a:pt x="307" y="149"/>
                </a:lnTo>
                <a:lnTo>
                  <a:pt x="309" y="149"/>
                </a:lnTo>
                <a:lnTo>
                  <a:pt x="309" y="156"/>
                </a:lnTo>
                <a:lnTo>
                  <a:pt x="309" y="160"/>
                </a:lnTo>
                <a:lnTo>
                  <a:pt x="307" y="162"/>
                </a:lnTo>
                <a:lnTo>
                  <a:pt x="307" y="167"/>
                </a:lnTo>
                <a:lnTo>
                  <a:pt x="305" y="169"/>
                </a:lnTo>
                <a:lnTo>
                  <a:pt x="305" y="171"/>
                </a:lnTo>
                <a:lnTo>
                  <a:pt x="305" y="184"/>
                </a:lnTo>
                <a:lnTo>
                  <a:pt x="305" y="188"/>
                </a:lnTo>
                <a:lnTo>
                  <a:pt x="305" y="193"/>
                </a:lnTo>
                <a:lnTo>
                  <a:pt x="305" y="195"/>
                </a:lnTo>
                <a:lnTo>
                  <a:pt x="303" y="195"/>
                </a:lnTo>
                <a:lnTo>
                  <a:pt x="303" y="197"/>
                </a:lnTo>
                <a:lnTo>
                  <a:pt x="305" y="199"/>
                </a:lnTo>
                <a:lnTo>
                  <a:pt x="303" y="201"/>
                </a:lnTo>
                <a:lnTo>
                  <a:pt x="303" y="203"/>
                </a:lnTo>
                <a:lnTo>
                  <a:pt x="298" y="210"/>
                </a:lnTo>
                <a:lnTo>
                  <a:pt x="298" y="212"/>
                </a:lnTo>
                <a:lnTo>
                  <a:pt x="303" y="214"/>
                </a:lnTo>
                <a:lnTo>
                  <a:pt x="303" y="216"/>
                </a:lnTo>
                <a:lnTo>
                  <a:pt x="298" y="218"/>
                </a:lnTo>
                <a:lnTo>
                  <a:pt x="298" y="225"/>
                </a:lnTo>
                <a:lnTo>
                  <a:pt x="296" y="225"/>
                </a:lnTo>
                <a:lnTo>
                  <a:pt x="294" y="229"/>
                </a:lnTo>
                <a:lnTo>
                  <a:pt x="292" y="231"/>
                </a:lnTo>
                <a:lnTo>
                  <a:pt x="292" y="234"/>
                </a:lnTo>
                <a:lnTo>
                  <a:pt x="287" y="236"/>
                </a:lnTo>
                <a:lnTo>
                  <a:pt x="287" y="238"/>
                </a:lnTo>
                <a:lnTo>
                  <a:pt x="281" y="244"/>
                </a:lnTo>
                <a:lnTo>
                  <a:pt x="281" y="246"/>
                </a:lnTo>
                <a:lnTo>
                  <a:pt x="279" y="246"/>
                </a:lnTo>
                <a:lnTo>
                  <a:pt x="279" y="249"/>
                </a:lnTo>
                <a:lnTo>
                  <a:pt x="274" y="249"/>
                </a:lnTo>
                <a:lnTo>
                  <a:pt x="272" y="253"/>
                </a:lnTo>
                <a:lnTo>
                  <a:pt x="270" y="253"/>
                </a:lnTo>
                <a:lnTo>
                  <a:pt x="264" y="249"/>
                </a:lnTo>
                <a:lnTo>
                  <a:pt x="261" y="249"/>
                </a:lnTo>
                <a:lnTo>
                  <a:pt x="257" y="255"/>
                </a:lnTo>
                <a:lnTo>
                  <a:pt x="257" y="264"/>
                </a:lnTo>
                <a:lnTo>
                  <a:pt x="249" y="264"/>
                </a:lnTo>
                <a:lnTo>
                  <a:pt x="249" y="266"/>
                </a:lnTo>
                <a:lnTo>
                  <a:pt x="249" y="268"/>
                </a:lnTo>
                <a:lnTo>
                  <a:pt x="246" y="270"/>
                </a:lnTo>
                <a:lnTo>
                  <a:pt x="244" y="275"/>
                </a:lnTo>
                <a:lnTo>
                  <a:pt x="246" y="279"/>
                </a:lnTo>
                <a:lnTo>
                  <a:pt x="246" y="281"/>
                </a:lnTo>
                <a:lnTo>
                  <a:pt x="244" y="283"/>
                </a:lnTo>
                <a:lnTo>
                  <a:pt x="242" y="283"/>
                </a:lnTo>
                <a:lnTo>
                  <a:pt x="242" y="285"/>
                </a:lnTo>
                <a:lnTo>
                  <a:pt x="244" y="287"/>
                </a:lnTo>
                <a:lnTo>
                  <a:pt x="246" y="294"/>
                </a:lnTo>
                <a:lnTo>
                  <a:pt x="246" y="296"/>
                </a:lnTo>
                <a:lnTo>
                  <a:pt x="246" y="298"/>
                </a:lnTo>
                <a:lnTo>
                  <a:pt x="242" y="296"/>
                </a:lnTo>
                <a:lnTo>
                  <a:pt x="242" y="300"/>
                </a:lnTo>
                <a:lnTo>
                  <a:pt x="240" y="303"/>
                </a:lnTo>
                <a:lnTo>
                  <a:pt x="238" y="303"/>
                </a:lnTo>
                <a:lnTo>
                  <a:pt x="238" y="300"/>
                </a:lnTo>
                <a:lnTo>
                  <a:pt x="238" y="298"/>
                </a:lnTo>
                <a:lnTo>
                  <a:pt x="236" y="294"/>
                </a:lnTo>
                <a:lnTo>
                  <a:pt x="231" y="294"/>
                </a:lnTo>
                <a:lnTo>
                  <a:pt x="229" y="292"/>
                </a:lnTo>
                <a:lnTo>
                  <a:pt x="227" y="292"/>
                </a:lnTo>
                <a:lnTo>
                  <a:pt x="225" y="294"/>
                </a:lnTo>
                <a:lnTo>
                  <a:pt x="225" y="296"/>
                </a:lnTo>
                <a:lnTo>
                  <a:pt x="223" y="298"/>
                </a:lnTo>
                <a:lnTo>
                  <a:pt x="223" y="303"/>
                </a:lnTo>
                <a:lnTo>
                  <a:pt x="223" y="309"/>
                </a:lnTo>
                <a:lnTo>
                  <a:pt x="216" y="313"/>
                </a:lnTo>
                <a:lnTo>
                  <a:pt x="216" y="316"/>
                </a:lnTo>
                <a:lnTo>
                  <a:pt x="220" y="320"/>
                </a:lnTo>
                <a:lnTo>
                  <a:pt x="220" y="324"/>
                </a:lnTo>
                <a:lnTo>
                  <a:pt x="223" y="329"/>
                </a:lnTo>
                <a:lnTo>
                  <a:pt x="223" y="333"/>
                </a:lnTo>
                <a:lnTo>
                  <a:pt x="220" y="333"/>
                </a:lnTo>
                <a:lnTo>
                  <a:pt x="216" y="333"/>
                </a:lnTo>
                <a:lnTo>
                  <a:pt x="214" y="335"/>
                </a:lnTo>
                <a:lnTo>
                  <a:pt x="214" y="346"/>
                </a:lnTo>
                <a:lnTo>
                  <a:pt x="214" y="348"/>
                </a:lnTo>
                <a:lnTo>
                  <a:pt x="210" y="350"/>
                </a:lnTo>
                <a:lnTo>
                  <a:pt x="208" y="350"/>
                </a:lnTo>
                <a:lnTo>
                  <a:pt x="203" y="352"/>
                </a:lnTo>
                <a:lnTo>
                  <a:pt x="199" y="352"/>
                </a:lnTo>
                <a:lnTo>
                  <a:pt x="197" y="352"/>
                </a:lnTo>
                <a:lnTo>
                  <a:pt x="195" y="352"/>
                </a:lnTo>
                <a:lnTo>
                  <a:pt x="192" y="348"/>
                </a:lnTo>
                <a:lnTo>
                  <a:pt x="188" y="346"/>
                </a:lnTo>
                <a:lnTo>
                  <a:pt x="188" y="344"/>
                </a:lnTo>
                <a:lnTo>
                  <a:pt x="182" y="341"/>
                </a:lnTo>
                <a:lnTo>
                  <a:pt x="177" y="344"/>
                </a:lnTo>
                <a:lnTo>
                  <a:pt x="177" y="341"/>
                </a:lnTo>
                <a:lnTo>
                  <a:pt x="175" y="339"/>
                </a:lnTo>
                <a:lnTo>
                  <a:pt x="173" y="333"/>
                </a:lnTo>
                <a:lnTo>
                  <a:pt x="171" y="331"/>
                </a:lnTo>
                <a:lnTo>
                  <a:pt x="171" y="329"/>
                </a:lnTo>
                <a:lnTo>
                  <a:pt x="171" y="326"/>
                </a:lnTo>
                <a:lnTo>
                  <a:pt x="166" y="326"/>
                </a:lnTo>
                <a:lnTo>
                  <a:pt x="164" y="329"/>
                </a:lnTo>
                <a:lnTo>
                  <a:pt x="160" y="331"/>
                </a:lnTo>
                <a:lnTo>
                  <a:pt x="158" y="333"/>
                </a:lnTo>
                <a:lnTo>
                  <a:pt x="156" y="335"/>
                </a:lnTo>
                <a:lnTo>
                  <a:pt x="151" y="341"/>
                </a:lnTo>
                <a:lnTo>
                  <a:pt x="149" y="341"/>
                </a:lnTo>
                <a:lnTo>
                  <a:pt x="145" y="341"/>
                </a:lnTo>
                <a:lnTo>
                  <a:pt x="143" y="341"/>
                </a:lnTo>
                <a:close/>
              </a:path>
            </a:pathLst>
          </a:custGeom>
          <a:noFill/>
          <a:ln w="9525">
            <a:noFill/>
            <a:round/>
            <a:headEnd/>
            <a:tailEnd/>
          </a:ln>
        </p:spPr>
        <p:txBody>
          <a:bodyPr/>
          <a:lstStyle/>
          <a:p>
            <a:endParaRPr lang="en-US" dirty="0">
              <a:solidFill>
                <a:prstClr val="black"/>
              </a:solidFill>
            </a:endParaRPr>
          </a:p>
        </p:txBody>
      </p:sp>
      <p:sp>
        <p:nvSpPr>
          <p:cNvPr id="231" name="Freeform 64" descr="Wide upward diagonal">
            <a:extLst>
              <a:ext uri="{FF2B5EF4-FFF2-40B4-BE49-F238E27FC236}">
                <a16:creationId xmlns:a16="http://schemas.microsoft.com/office/drawing/2014/main" id="{20688076-B53B-43AC-9DC6-3FD8B1A69159}"/>
              </a:ext>
            </a:extLst>
          </p:cNvPr>
          <p:cNvSpPr>
            <a:spLocks/>
          </p:cNvSpPr>
          <p:nvPr>
            <p:custDataLst>
              <p:tags r:id="rId55"/>
            </p:custDataLst>
          </p:nvPr>
        </p:nvSpPr>
        <p:spPr bwMode="auto">
          <a:xfrm>
            <a:off x="7681171" y="3071968"/>
            <a:ext cx="624720" cy="760919"/>
          </a:xfrm>
          <a:custGeom>
            <a:avLst/>
            <a:gdLst>
              <a:gd name="T0" fmla="*/ 2147483647 w 309"/>
              <a:gd name="T1" fmla="*/ 2147483647 h 352"/>
              <a:gd name="T2" fmla="*/ 2147483647 w 309"/>
              <a:gd name="T3" fmla="*/ 2147483647 h 352"/>
              <a:gd name="T4" fmla="*/ 2147483647 w 309"/>
              <a:gd name="T5" fmla="*/ 2147483647 h 352"/>
              <a:gd name="T6" fmla="*/ 2147483647 w 309"/>
              <a:gd name="T7" fmla="*/ 2147483647 h 352"/>
              <a:gd name="T8" fmla="*/ 2147483647 w 309"/>
              <a:gd name="T9" fmla="*/ 2147483647 h 352"/>
              <a:gd name="T10" fmla="*/ 2147483647 w 309"/>
              <a:gd name="T11" fmla="*/ 2147483647 h 352"/>
              <a:gd name="T12" fmla="*/ 2147483647 w 309"/>
              <a:gd name="T13" fmla="*/ 2147483647 h 352"/>
              <a:gd name="T14" fmla="*/ 2147483647 w 309"/>
              <a:gd name="T15" fmla="*/ 2147483647 h 352"/>
              <a:gd name="T16" fmla="*/ 2147483647 w 309"/>
              <a:gd name="T17" fmla="*/ 2147483647 h 352"/>
              <a:gd name="T18" fmla="*/ 2147483647 w 309"/>
              <a:gd name="T19" fmla="*/ 2147483647 h 352"/>
              <a:gd name="T20" fmla="*/ 2147483647 w 309"/>
              <a:gd name="T21" fmla="*/ 2147483647 h 352"/>
              <a:gd name="T22" fmla="*/ 2147483647 w 309"/>
              <a:gd name="T23" fmla="*/ 2147483647 h 352"/>
              <a:gd name="T24" fmla="*/ 2147483647 w 309"/>
              <a:gd name="T25" fmla="*/ 2147483647 h 352"/>
              <a:gd name="T26" fmla="*/ 0 w 309"/>
              <a:gd name="T27" fmla="*/ 2147483647 h 352"/>
              <a:gd name="T28" fmla="*/ 2147483647 w 309"/>
              <a:gd name="T29" fmla="*/ 2147483647 h 352"/>
              <a:gd name="T30" fmla="*/ 2147483647 w 309"/>
              <a:gd name="T31" fmla="*/ 2147483647 h 352"/>
              <a:gd name="T32" fmla="*/ 2147483647 w 309"/>
              <a:gd name="T33" fmla="*/ 2147483647 h 352"/>
              <a:gd name="T34" fmla="*/ 2147483647 w 309"/>
              <a:gd name="T35" fmla="*/ 2147483647 h 352"/>
              <a:gd name="T36" fmla="*/ 2147483647 w 309"/>
              <a:gd name="T37" fmla="*/ 2147483647 h 352"/>
              <a:gd name="T38" fmla="*/ 2147483647 w 309"/>
              <a:gd name="T39" fmla="*/ 2147483647 h 352"/>
              <a:gd name="T40" fmla="*/ 2147483647 w 309"/>
              <a:gd name="T41" fmla="*/ 2147483647 h 352"/>
              <a:gd name="T42" fmla="*/ 2147483647 w 309"/>
              <a:gd name="T43" fmla="*/ 2147483647 h 352"/>
              <a:gd name="T44" fmla="*/ 2147483647 w 309"/>
              <a:gd name="T45" fmla="*/ 2147483647 h 352"/>
              <a:gd name="T46" fmla="*/ 2147483647 w 309"/>
              <a:gd name="T47" fmla="*/ 2147483647 h 352"/>
              <a:gd name="T48" fmla="*/ 2147483647 w 309"/>
              <a:gd name="T49" fmla="*/ 2147483647 h 352"/>
              <a:gd name="T50" fmla="*/ 2147483647 w 309"/>
              <a:gd name="T51" fmla="*/ 2147483647 h 352"/>
              <a:gd name="T52" fmla="*/ 2147483647 w 309"/>
              <a:gd name="T53" fmla="*/ 2147483647 h 352"/>
              <a:gd name="T54" fmla="*/ 2147483647 w 309"/>
              <a:gd name="T55" fmla="*/ 2147483647 h 352"/>
              <a:gd name="T56" fmla="*/ 2147483647 w 309"/>
              <a:gd name="T57" fmla="*/ 2147483647 h 352"/>
              <a:gd name="T58" fmla="*/ 2147483647 w 309"/>
              <a:gd name="T59" fmla="*/ 2147483647 h 352"/>
              <a:gd name="T60" fmla="*/ 2147483647 w 309"/>
              <a:gd name="T61" fmla="*/ 2147483647 h 352"/>
              <a:gd name="T62" fmla="*/ 2147483647 w 309"/>
              <a:gd name="T63" fmla="*/ 2147483647 h 352"/>
              <a:gd name="T64" fmla="*/ 2147483647 w 309"/>
              <a:gd name="T65" fmla="*/ 2147483647 h 352"/>
              <a:gd name="T66" fmla="*/ 2147483647 w 309"/>
              <a:gd name="T67" fmla="*/ 2147483647 h 352"/>
              <a:gd name="T68" fmla="*/ 2147483647 w 309"/>
              <a:gd name="T69" fmla="*/ 2147483647 h 352"/>
              <a:gd name="T70" fmla="*/ 2147483647 w 309"/>
              <a:gd name="T71" fmla="*/ 2147483647 h 352"/>
              <a:gd name="T72" fmla="*/ 2147483647 w 309"/>
              <a:gd name="T73" fmla="*/ 2147483647 h 352"/>
              <a:gd name="T74" fmla="*/ 2147483647 w 309"/>
              <a:gd name="T75" fmla="*/ 2147483647 h 352"/>
              <a:gd name="T76" fmla="*/ 2147483647 w 309"/>
              <a:gd name="T77" fmla="*/ 2147483647 h 352"/>
              <a:gd name="T78" fmla="*/ 2147483647 w 309"/>
              <a:gd name="T79" fmla="*/ 2147483647 h 352"/>
              <a:gd name="T80" fmla="*/ 2147483647 w 309"/>
              <a:gd name="T81" fmla="*/ 2147483647 h 352"/>
              <a:gd name="T82" fmla="*/ 2147483647 w 309"/>
              <a:gd name="T83" fmla="*/ 2147483647 h 352"/>
              <a:gd name="T84" fmla="*/ 2147483647 w 309"/>
              <a:gd name="T85" fmla="*/ 2147483647 h 352"/>
              <a:gd name="T86" fmla="*/ 2147483647 w 309"/>
              <a:gd name="T87" fmla="*/ 2147483647 h 352"/>
              <a:gd name="T88" fmla="*/ 2147483647 w 309"/>
              <a:gd name="T89" fmla="*/ 2147483647 h 352"/>
              <a:gd name="T90" fmla="*/ 2147483647 w 309"/>
              <a:gd name="T91" fmla="*/ 2147483647 h 352"/>
              <a:gd name="T92" fmla="*/ 2147483647 w 309"/>
              <a:gd name="T93" fmla="*/ 2147483647 h 352"/>
              <a:gd name="T94" fmla="*/ 2147483647 w 309"/>
              <a:gd name="T95" fmla="*/ 2147483647 h 352"/>
              <a:gd name="T96" fmla="*/ 2147483647 w 309"/>
              <a:gd name="T97" fmla="*/ 2147483647 h 3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09"/>
              <a:gd name="T148" fmla="*/ 0 h 352"/>
              <a:gd name="T149" fmla="*/ 309 w 309"/>
              <a:gd name="T150" fmla="*/ 352 h 3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09" h="352">
                <a:moveTo>
                  <a:pt x="143" y="341"/>
                </a:moveTo>
                <a:lnTo>
                  <a:pt x="143" y="344"/>
                </a:lnTo>
                <a:lnTo>
                  <a:pt x="141" y="344"/>
                </a:lnTo>
                <a:lnTo>
                  <a:pt x="141" y="341"/>
                </a:lnTo>
                <a:lnTo>
                  <a:pt x="134" y="339"/>
                </a:lnTo>
                <a:lnTo>
                  <a:pt x="130" y="339"/>
                </a:lnTo>
                <a:lnTo>
                  <a:pt x="125" y="335"/>
                </a:lnTo>
                <a:lnTo>
                  <a:pt x="117" y="339"/>
                </a:lnTo>
                <a:lnTo>
                  <a:pt x="117" y="341"/>
                </a:lnTo>
                <a:lnTo>
                  <a:pt x="117" y="344"/>
                </a:lnTo>
                <a:lnTo>
                  <a:pt x="115" y="344"/>
                </a:lnTo>
                <a:lnTo>
                  <a:pt x="115" y="346"/>
                </a:lnTo>
                <a:lnTo>
                  <a:pt x="113" y="344"/>
                </a:lnTo>
                <a:lnTo>
                  <a:pt x="108" y="344"/>
                </a:lnTo>
                <a:lnTo>
                  <a:pt x="106" y="339"/>
                </a:lnTo>
                <a:lnTo>
                  <a:pt x="102" y="339"/>
                </a:lnTo>
                <a:lnTo>
                  <a:pt x="100" y="335"/>
                </a:lnTo>
                <a:lnTo>
                  <a:pt x="95" y="333"/>
                </a:lnTo>
                <a:lnTo>
                  <a:pt x="93" y="333"/>
                </a:lnTo>
                <a:lnTo>
                  <a:pt x="84" y="335"/>
                </a:lnTo>
                <a:lnTo>
                  <a:pt x="82" y="335"/>
                </a:lnTo>
                <a:lnTo>
                  <a:pt x="76" y="333"/>
                </a:lnTo>
                <a:lnTo>
                  <a:pt x="74" y="331"/>
                </a:lnTo>
                <a:lnTo>
                  <a:pt x="69" y="326"/>
                </a:lnTo>
                <a:lnTo>
                  <a:pt x="67" y="324"/>
                </a:lnTo>
                <a:lnTo>
                  <a:pt x="65" y="320"/>
                </a:lnTo>
                <a:lnTo>
                  <a:pt x="63" y="313"/>
                </a:lnTo>
                <a:lnTo>
                  <a:pt x="61" y="311"/>
                </a:lnTo>
                <a:lnTo>
                  <a:pt x="59" y="313"/>
                </a:lnTo>
                <a:lnTo>
                  <a:pt x="56" y="311"/>
                </a:lnTo>
                <a:lnTo>
                  <a:pt x="56" y="309"/>
                </a:lnTo>
                <a:lnTo>
                  <a:pt x="52" y="307"/>
                </a:lnTo>
                <a:lnTo>
                  <a:pt x="50" y="307"/>
                </a:lnTo>
                <a:lnTo>
                  <a:pt x="48" y="309"/>
                </a:lnTo>
                <a:lnTo>
                  <a:pt x="43" y="311"/>
                </a:lnTo>
                <a:lnTo>
                  <a:pt x="41" y="311"/>
                </a:lnTo>
                <a:lnTo>
                  <a:pt x="39" y="311"/>
                </a:lnTo>
                <a:lnTo>
                  <a:pt x="30" y="307"/>
                </a:lnTo>
                <a:lnTo>
                  <a:pt x="28" y="309"/>
                </a:lnTo>
                <a:lnTo>
                  <a:pt x="28" y="311"/>
                </a:lnTo>
                <a:lnTo>
                  <a:pt x="26" y="292"/>
                </a:lnTo>
                <a:lnTo>
                  <a:pt x="24" y="270"/>
                </a:lnTo>
                <a:lnTo>
                  <a:pt x="24" y="266"/>
                </a:lnTo>
                <a:lnTo>
                  <a:pt x="20" y="251"/>
                </a:lnTo>
                <a:lnTo>
                  <a:pt x="18" y="234"/>
                </a:lnTo>
                <a:lnTo>
                  <a:pt x="18" y="227"/>
                </a:lnTo>
                <a:lnTo>
                  <a:pt x="15" y="197"/>
                </a:lnTo>
                <a:lnTo>
                  <a:pt x="15" y="195"/>
                </a:lnTo>
                <a:lnTo>
                  <a:pt x="13" y="171"/>
                </a:lnTo>
                <a:lnTo>
                  <a:pt x="11" y="160"/>
                </a:lnTo>
                <a:lnTo>
                  <a:pt x="9" y="139"/>
                </a:lnTo>
                <a:lnTo>
                  <a:pt x="9" y="134"/>
                </a:lnTo>
                <a:lnTo>
                  <a:pt x="7" y="110"/>
                </a:lnTo>
                <a:lnTo>
                  <a:pt x="7" y="106"/>
                </a:lnTo>
                <a:lnTo>
                  <a:pt x="2" y="95"/>
                </a:lnTo>
                <a:lnTo>
                  <a:pt x="0" y="85"/>
                </a:lnTo>
                <a:lnTo>
                  <a:pt x="0" y="69"/>
                </a:lnTo>
                <a:lnTo>
                  <a:pt x="28" y="65"/>
                </a:lnTo>
                <a:lnTo>
                  <a:pt x="30" y="65"/>
                </a:lnTo>
                <a:lnTo>
                  <a:pt x="63" y="59"/>
                </a:lnTo>
                <a:lnTo>
                  <a:pt x="69" y="57"/>
                </a:lnTo>
                <a:lnTo>
                  <a:pt x="91" y="54"/>
                </a:lnTo>
                <a:lnTo>
                  <a:pt x="113" y="63"/>
                </a:lnTo>
                <a:lnTo>
                  <a:pt x="125" y="67"/>
                </a:lnTo>
                <a:lnTo>
                  <a:pt x="141" y="67"/>
                </a:lnTo>
                <a:lnTo>
                  <a:pt x="141" y="69"/>
                </a:lnTo>
                <a:lnTo>
                  <a:pt x="123" y="78"/>
                </a:lnTo>
                <a:lnTo>
                  <a:pt x="132" y="78"/>
                </a:lnTo>
                <a:lnTo>
                  <a:pt x="147" y="72"/>
                </a:lnTo>
                <a:lnTo>
                  <a:pt x="160" y="78"/>
                </a:lnTo>
                <a:lnTo>
                  <a:pt x="173" y="72"/>
                </a:lnTo>
                <a:lnTo>
                  <a:pt x="195" y="59"/>
                </a:lnTo>
                <a:lnTo>
                  <a:pt x="197" y="59"/>
                </a:lnTo>
                <a:lnTo>
                  <a:pt x="212" y="59"/>
                </a:lnTo>
                <a:lnTo>
                  <a:pt x="229" y="46"/>
                </a:lnTo>
                <a:lnTo>
                  <a:pt x="238" y="35"/>
                </a:lnTo>
                <a:lnTo>
                  <a:pt x="259" y="18"/>
                </a:lnTo>
                <a:lnTo>
                  <a:pt x="290" y="0"/>
                </a:lnTo>
                <a:lnTo>
                  <a:pt x="292" y="13"/>
                </a:lnTo>
                <a:lnTo>
                  <a:pt x="296" y="46"/>
                </a:lnTo>
                <a:lnTo>
                  <a:pt x="296" y="48"/>
                </a:lnTo>
                <a:lnTo>
                  <a:pt x="303" y="80"/>
                </a:lnTo>
                <a:lnTo>
                  <a:pt x="307" y="102"/>
                </a:lnTo>
                <a:lnTo>
                  <a:pt x="307" y="104"/>
                </a:lnTo>
                <a:lnTo>
                  <a:pt x="309" y="123"/>
                </a:lnTo>
                <a:lnTo>
                  <a:pt x="307" y="128"/>
                </a:lnTo>
                <a:lnTo>
                  <a:pt x="305" y="128"/>
                </a:lnTo>
                <a:lnTo>
                  <a:pt x="303" y="130"/>
                </a:lnTo>
                <a:lnTo>
                  <a:pt x="303" y="132"/>
                </a:lnTo>
                <a:lnTo>
                  <a:pt x="305" y="134"/>
                </a:lnTo>
                <a:lnTo>
                  <a:pt x="305" y="139"/>
                </a:lnTo>
                <a:lnTo>
                  <a:pt x="307" y="139"/>
                </a:lnTo>
                <a:lnTo>
                  <a:pt x="307" y="149"/>
                </a:lnTo>
                <a:lnTo>
                  <a:pt x="309" y="149"/>
                </a:lnTo>
                <a:lnTo>
                  <a:pt x="309" y="156"/>
                </a:lnTo>
                <a:lnTo>
                  <a:pt x="309" y="160"/>
                </a:lnTo>
                <a:lnTo>
                  <a:pt x="307" y="162"/>
                </a:lnTo>
                <a:lnTo>
                  <a:pt x="307" y="167"/>
                </a:lnTo>
                <a:lnTo>
                  <a:pt x="305" y="169"/>
                </a:lnTo>
                <a:lnTo>
                  <a:pt x="305" y="171"/>
                </a:lnTo>
                <a:lnTo>
                  <a:pt x="305" y="184"/>
                </a:lnTo>
                <a:lnTo>
                  <a:pt x="305" y="188"/>
                </a:lnTo>
                <a:lnTo>
                  <a:pt x="305" y="193"/>
                </a:lnTo>
                <a:lnTo>
                  <a:pt x="305" y="195"/>
                </a:lnTo>
                <a:lnTo>
                  <a:pt x="303" y="195"/>
                </a:lnTo>
                <a:lnTo>
                  <a:pt x="303" y="197"/>
                </a:lnTo>
                <a:lnTo>
                  <a:pt x="305" y="199"/>
                </a:lnTo>
                <a:lnTo>
                  <a:pt x="303" y="201"/>
                </a:lnTo>
                <a:lnTo>
                  <a:pt x="303" y="203"/>
                </a:lnTo>
                <a:lnTo>
                  <a:pt x="298" y="210"/>
                </a:lnTo>
                <a:lnTo>
                  <a:pt x="298" y="212"/>
                </a:lnTo>
                <a:lnTo>
                  <a:pt x="303" y="214"/>
                </a:lnTo>
                <a:lnTo>
                  <a:pt x="303" y="216"/>
                </a:lnTo>
                <a:lnTo>
                  <a:pt x="298" y="218"/>
                </a:lnTo>
                <a:lnTo>
                  <a:pt x="298" y="225"/>
                </a:lnTo>
                <a:lnTo>
                  <a:pt x="296" y="225"/>
                </a:lnTo>
                <a:lnTo>
                  <a:pt x="294" y="229"/>
                </a:lnTo>
                <a:lnTo>
                  <a:pt x="292" y="231"/>
                </a:lnTo>
                <a:lnTo>
                  <a:pt x="292" y="234"/>
                </a:lnTo>
                <a:lnTo>
                  <a:pt x="287" y="236"/>
                </a:lnTo>
                <a:lnTo>
                  <a:pt x="287" y="238"/>
                </a:lnTo>
                <a:lnTo>
                  <a:pt x="281" y="244"/>
                </a:lnTo>
                <a:lnTo>
                  <a:pt x="281" y="246"/>
                </a:lnTo>
                <a:lnTo>
                  <a:pt x="279" y="246"/>
                </a:lnTo>
                <a:lnTo>
                  <a:pt x="279" y="249"/>
                </a:lnTo>
                <a:lnTo>
                  <a:pt x="274" y="249"/>
                </a:lnTo>
                <a:lnTo>
                  <a:pt x="272" y="253"/>
                </a:lnTo>
                <a:lnTo>
                  <a:pt x="270" y="253"/>
                </a:lnTo>
                <a:lnTo>
                  <a:pt x="264" y="249"/>
                </a:lnTo>
                <a:lnTo>
                  <a:pt x="261" y="249"/>
                </a:lnTo>
                <a:lnTo>
                  <a:pt x="257" y="255"/>
                </a:lnTo>
                <a:lnTo>
                  <a:pt x="257" y="264"/>
                </a:lnTo>
                <a:lnTo>
                  <a:pt x="249" y="264"/>
                </a:lnTo>
                <a:lnTo>
                  <a:pt x="249" y="266"/>
                </a:lnTo>
                <a:lnTo>
                  <a:pt x="249" y="268"/>
                </a:lnTo>
                <a:lnTo>
                  <a:pt x="246" y="270"/>
                </a:lnTo>
                <a:lnTo>
                  <a:pt x="244" y="275"/>
                </a:lnTo>
                <a:lnTo>
                  <a:pt x="246" y="279"/>
                </a:lnTo>
                <a:lnTo>
                  <a:pt x="246" y="281"/>
                </a:lnTo>
                <a:lnTo>
                  <a:pt x="244" y="283"/>
                </a:lnTo>
                <a:lnTo>
                  <a:pt x="242" y="283"/>
                </a:lnTo>
                <a:lnTo>
                  <a:pt x="242" y="285"/>
                </a:lnTo>
                <a:lnTo>
                  <a:pt x="244" y="287"/>
                </a:lnTo>
                <a:lnTo>
                  <a:pt x="246" y="294"/>
                </a:lnTo>
                <a:lnTo>
                  <a:pt x="246" y="296"/>
                </a:lnTo>
                <a:lnTo>
                  <a:pt x="246" y="298"/>
                </a:lnTo>
                <a:lnTo>
                  <a:pt x="242" y="296"/>
                </a:lnTo>
                <a:lnTo>
                  <a:pt x="242" y="300"/>
                </a:lnTo>
                <a:lnTo>
                  <a:pt x="240" y="303"/>
                </a:lnTo>
                <a:lnTo>
                  <a:pt x="238" y="303"/>
                </a:lnTo>
                <a:lnTo>
                  <a:pt x="238" y="300"/>
                </a:lnTo>
                <a:lnTo>
                  <a:pt x="238" y="298"/>
                </a:lnTo>
                <a:lnTo>
                  <a:pt x="236" y="294"/>
                </a:lnTo>
                <a:lnTo>
                  <a:pt x="231" y="294"/>
                </a:lnTo>
                <a:lnTo>
                  <a:pt x="229" y="292"/>
                </a:lnTo>
                <a:lnTo>
                  <a:pt x="227" y="292"/>
                </a:lnTo>
                <a:lnTo>
                  <a:pt x="225" y="294"/>
                </a:lnTo>
                <a:lnTo>
                  <a:pt x="225" y="296"/>
                </a:lnTo>
                <a:lnTo>
                  <a:pt x="223" y="298"/>
                </a:lnTo>
                <a:lnTo>
                  <a:pt x="223" y="303"/>
                </a:lnTo>
                <a:lnTo>
                  <a:pt x="223" y="309"/>
                </a:lnTo>
                <a:lnTo>
                  <a:pt x="216" y="313"/>
                </a:lnTo>
                <a:lnTo>
                  <a:pt x="216" y="316"/>
                </a:lnTo>
                <a:lnTo>
                  <a:pt x="220" y="320"/>
                </a:lnTo>
                <a:lnTo>
                  <a:pt x="220" y="324"/>
                </a:lnTo>
                <a:lnTo>
                  <a:pt x="223" y="329"/>
                </a:lnTo>
                <a:lnTo>
                  <a:pt x="223" y="333"/>
                </a:lnTo>
                <a:lnTo>
                  <a:pt x="220" y="333"/>
                </a:lnTo>
                <a:lnTo>
                  <a:pt x="216" y="333"/>
                </a:lnTo>
                <a:lnTo>
                  <a:pt x="214" y="335"/>
                </a:lnTo>
                <a:lnTo>
                  <a:pt x="214" y="346"/>
                </a:lnTo>
                <a:lnTo>
                  <a:pt x="214" y="348"/>
                </a:lnTo>
                <a:lnTo>
                  <a:pt x="210" y="350"/>
                </a:lnTo>
                <a:lnTo>
                  <a:pt x="208" y="350"/>
                </a:lnTo>
                <a:lnTo>
                  <a:pt x="203" y="352"/>
                </a:lnTo>
                <a:lnTo>
                  <a:pt x="199" y="352"/>
                </a:lnTo>
                <a:lnTo>
                  <a:pt x="197" y="352"/>
                </a:lnTo>
                <a:lnTo>
                  <a:pt x="195" y="352"/>
                </a:lnTo>
                <a:lnTo>
                  <a:pt x="192" y="348"/>
                </a:lnTo>
                <a:lnTo>
                  <a:pt x="188" y="346"/>
                </a:lnTo>
                <a:lnTo>
                  <a:pt x="188" y="344"/>
                </a:lnTo>
                <a:lnTo>
                  <a:pt x="182" y="341"/>
                </a:lnTo>
                <a:lnTo>
                  <a:pt x="177" y="344"/>
                </a:lnTo>
                <a:lnTo>
                  <a:pt x="177" y="341"/>
                </a:lnTo>
                <a:lnTo>
                  <a:pt x="175" y="339"/>
                </a:lnTo>
                <a:lnTo>
                  <a:pt x="173" y="333"/>
                </a:lnTo>
                <a:lnTo>
                  <a:pt x="171" y="331"/>
                </a:lnTo>
                <a:lnTo>
                  <a:pt x="171" y="329"/>
                </a:lnTo>
                <a:lnTo>
                  <a:pt x="171" y="326"/>
                </a:lnTo>
                <a:lnTo>
                  <a:pt x="166" y="326"/>
                </a:lnTo>
                <a:lnTo>
                  <a:pt x="164" y="329"/>
                </a:lnTo>
                <a:lnTo>
                  <a:pt x="160" y="331"/>
                </a:lnTo>
                <a:lnTo>
                  <a:pt x="158" y="333"/>
                </a:lnTo>
                <a:lnTo>
                  <a:pt x="156" y="335"/>
                </a:lnTo>
                <a:lnTo>
                  <a:pt x="151" y="341"/>
                </a:lnTo>
                <a:lnTo>
                  <a:pt x="149" y="341"/>
                </a:lnTo>
                <a:lnTo>
                  <a:pt x="145" y="341"/>
                </a:lnTo>
                <a:lnTo>
                  <a:pt x="143" y="341"/>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232" name="Freeform 65">
            <a:extLst>
              <a:ext uri="{FF2B5EF4-FFF2-40B4-BE49-F238E27FC236}">
                <a16:creationId xmlns:a16="http://schemas.microsoft.com/office/drawing/2014/main" id="{35438B9A-76C7-4B0F-BAA0-D6357D45138D}"/>
              </a:ext>
            </a:extLst>
          </p:cNvPr>
          <p:cNvSpPr>
            <a:spLocks/>
          </p:cNvSpPr>
          <p:nvPr>
            <p:custDataLst>
              <p:tags r:id="rId56"/>
            </p:custDataLst>
          </p:nvPr>
        </p:nvSpPr>
        <p:spPr bwMode="auto">
          <a:xfrm>
            <a:off x="6749577" y="3110862"/>
            <a:ext cx="598417" cy="1124085"/>
          </a:xfrm>
          <a:custGeom>
            <a:avLst/>
            <a:gdLst>
              <a:gd name="T0" fmla="*/ 2147483647 w 296"/>
              <a:gd name="T1" fmla="*/ 2147483647 h 520"/>
              <a:gd name="T2" fmla="*/ 2147483647 w 296"/>
              <a:gd name="T3" fmla="*/ 2147483647 h 520"/>
              <a:gd name="T4" fmla="*/ 2147483647 w 296"/>
              <a:gd name="T5" fmla="*/ 2147483647 h 520"/>
              <a:gd name="T6" fmla="*/ 2147483647 w 296"/>
              <a:gd name="T7" fmla="*/ 2147483647 h 520"/>
              <a:gd name="T8" fmla="*/ 2147483647 w 296"/>
              <a:gd name="T9" fmla="*/ 2147483647 h 520"/>
              <a:gd name="T10" fmla="*/ 2147483647 w 296"/>
              <a:gd name="T11" fmla="*/ 2147483647 h 520"/>
              <a:gd name="T12" fmla="*/ 2147483647 w 296"/>
              <a:gd name="T13" fmla="*/ 2147483647 h 520"/>
              <a:gd name="T14" fmla="*/ 2147483647 w 296"/>
              <a:gd name="T15" fmla="*/ 2147483647 h 520"/>
              <a:gd name="T16" fmla="*/ 2147483647 w 296"/>
              <a:gd name="T17" fmla="*/ 2147483647 h 520"/>
              <a:gd name="T18" fmla="*/ 2147483647 w 296"/>
              <a:gd name="T19" fmla="*/ 2147483647 h 520"/>
              <a:gd name="T20" fmla="*/ 2147483647 w 296"/>
              <a:gd name="T21" fmla="*/ 2147483647 h 520"/>
              <a:gd name="T22" fmla="*/ 2147483647 w 296"/>
              <a:gd name="T23" fmla="*/ 2147483647 h 520"/>
              <a:gd name="T24" fmla="*/ 2147483647 w 296"/>
              <a:gd name="T25" fmla="*/ 2147483647 h 520"/>
              <a:gd name="T26" fmla="*/ 2147483647 w 296"/>
              <a:gd name="T27" fmla="*/ 2147483647 h 520"/>
              <a:gd name="T28" fmla="*/ 2147483647 w 296"/>
              <a:gd name="T29" fmla="*/ 2147483647 h 520"/>
              <a:gd name="T30" fmla="*/ 2147483647 w 296"/>
              <a:gd name="T31" fmla="*/ 2147483647 h 520"/>
              <a:gd name="T32" fmla="*/ 2147483647 w 296"/>
              <a:gd name="T33" fmla="*/ 2147483647 h 520"/>
              <a:gd name="T34" fmla="*/ 2147483647 w 296"/>
              <a:gd name="T35" fmla="*/ 2147483647 h 520"/>
              <a:gd name="T36" fmla="*/ 2147483647 w 296"/>
              <a:gd name="T37" fmla="*/ 2147483647 h 520"/>
              <a:gd name="T38" fmla="*/ 2147483647 w 296"/>
              <a:gd name="T39" fmla="*/ 2147483647 h 520"/>
              <a:gd name="T40" fmla="*/ 2147483647 w 296"/>
              <a:gd name="T41" fmla="*/ 2147483647 h 520"/>
              <a:gd name="T42" fmla="*/ 2147483647 w 296"/>
              <a:gd name="T43" fmla="*/ 2147483647 h 520"/>
              <a:gd name="T44" fmla="*/ 2147483647 w 296"/>
              <a:gd name="T45" fmla="*/ 2147483647 h 520"/>
              <a:gd name="T46" fmla="*/ 2147483647 w 296"/>
              <a:gd name="T47" fmla="*/ 2147483647 h 520"/>
              <a:gd name="T48" fmla="*/ 2147483647 w 296"/>
              <a:gd name="T49" fmla="*/ 2147483647 h 520"/>
              <a:gd name="T50" fmla="*/ 0 w 296"/>
              <a:gd name="T51" fmla="*/ 2147483647 h 520"/>
              <a:gd name="T52" fmla="*/ 2147483647 w 296"/>
              <a:gd name="T53" fmla="*/ 2147483647 h 520"/>
              <a:gd name="T54" fmla="*/ 2147483647 w 296"/>
              <a:gd name="T55" fmla="*/ 2147483647 h 520"/>
              <a:gd name="T56" fmla="*/ 2147483647 w 296"/>
              <a:gd name="T57" fmla="*/ 2147483647 h 520"/>
              <a:gd name="T58" fmla="*/ 2147483647 w 296"/>
              <a:gd name="T59" fmla="*/ 2147483647 h 520"/>
              <a:gd name="T60" fmla="*/ 2147483647 w 296"/>
              <a:gd name="T61" fmla="*/ 2147483647 h 520"/>
              <a:gd name="T62" fmla="*/ 2147483647 w 296"/>
              <a:gd name="T63" fmla="*/ 2147483647 h 520"/>
              <a:gd name="T64" fmla="*/ 2147483647 w 296"/>
              <a:gd name="T65" fmla="*/ 2147483647 h 520"/>
              <a:gd name="T66" fmla="*/ 2147483647 w 296"/>
              <a:gd name="T67" fmla="*/ 2147483647 h 520"/>
              <a:gd name="T68" fmla="*/ 2147483647 w 296"/>
              <a:gd name="T69" fmla="*/ 2147483647 h 520"/>
              <a:gd name="T70" fmla="*/ 2147483647 w 296"/>
              <a:gd name="T71" fmla="*/ 2147483647 h 520"/>
              <a:gd name="T72" fmla="*/ 2147483647 w 296"/>
              <a:gd name="T73" fmla="*/ 2147483647 h 520"/>
              <a:gd name="T74" fmla="*/ 2147483647 w 296"/>
              <a:gd name="T75" fmla="*/ 2147483647 h 520"/>
              <a:gd name="T76" fmla="*/ 2147483647 w 296"/>
              <a:gd name="T77" fmla="*/ 2147483647 h 520"/>
              <a:gd name="T78" fmla="*/ 2147483647 w 296"/>
              <a:gd name="T79" fmla="*/ 2147483647 h 520"/>
              <a:gd name="T80" fmla="*/ 2147483647 w 296"/>
              <a:gd name="T81" fmla="*/ 2147483647 h 520"/>
              <a:gd name="T82" fmla="*/ 2147483647 w 296"/>
              <a:gd name="T83" fmla="*/ 2147483647 h 520"/>
              <a:gd name="T84" fmla="*/ 2147483647 w 296"/>
              <a:gd name="T85" fmla="*/ 2147483647 h 520"/>
              <a:gd name="T86" fmla="*/ 2147483647 w 296"/>
              <a:gd name="T87" fmla="*/ 2147483647 h 520"/>
              <a:gd name="T88" fmla="*/ 2147483647 w 296"/>
              <a:gd name="T89" fmla="*/ 2147483647 h 520"/>
              <a:gd name="T90" fmla="*/ 2147483647 w 296"/>
              <a:gd name="T91" fmla="*/ 2147483647 h 520"/>
              <a:gd name="T92" fmla="*/ 2147483647 w 296"/>
              <a:gd name="T93" fmla="*/ 2147483647 h 520"/>
              <a:gd name="T94" fmla="*/ 2147483647 w 296"/>
              <a:gd name="T95" fmla="*/ 2147483647 h 520"/>
              <a:gd name="T96" fmla="*/ 2147483647 w 296"/>
              <a:gd name="T97" fmla="*/ 2147483647 h 520"/>
              <a:gd name="T98" fmla="*/ 2147483647 w 296"/>
              <a:gd name="T99" fmla="*/ 2147483647 h 520"/>
              <a:gd name="T100" fmla="*/ 2147483647 w 296"/>
              <a:gd name="T101" fmla="*/ 2147483647 h 520"/>
              <a:gd name="T102" fmla="*/ 2147483647 w 296"/>
              <a:gd name="T103" fmla="*/ 2147483647 h 520"/>
              <a:gd name="T104" fmla="*/ 2147483647 w 296"/>
              <a:gd name="T105" fmla="*/ 2147483647 h 520"/>
              <a:gd name="T106" fmla="*/ 2147483647 w 296"/>
              <a:gd name="T107" fmla="*/ 2147483647 h 520"/>
              <a:gd name="T108" fmla="*/ 2147483647 w 296"/>
              <a:gd name="T109" fmla="*/ 2147483647 h 520"/>
              <a:gd name="T110" fmla="*/ 2147483647 w 296"/>
              <a:gd name="T111" fmla="*/ 2147483647 h 520"/>
              <a:gd name="T112" fmla="*/ 2147483647 w 296"/>
              <a:gd name="T113" fmla="*/ 2147483647 h 520"/>
              <a:gd name="T114" fmla="*/ 2147483647 w 296"/>
              <a:gd name="T115" fmla="*/ 2147483647 h 520"/>
              <a:gd name="T116" fmla="*/ 2147483647 w 296"/>
              <a:gd name="T117" fmla="*/ 2147483647 h 520"/>
              <a:gd name="T118" fmla="*/ 2147483647 w 296"/>
              <a:gd name="T119" fmla="*/ 2147483647 h 520"/>
              <a:gd name="T120" fmla="*/ 2147483647 w 296"/>
              <a:gd name="T121" fmla="*/ 2147483647 h 5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6"/>
              <a:gd name="T184" fmla="*/ 0 h 520"/>
              <a:gd name="T185" fmla="*/ 296 w 296"/>
              <a:gd name="T186" fmla="*/ 520 h 5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6" h="520">
                <a:moveTo>
                  <a:pt x="266" y="464"/>
                </a:moveTo>
                <a:lnTo>
                  <a:pt x="264" y="466"/>
                </a:lnTo>
                <a:lnTo>
                  <a:pt x="249" y="472"/>
                </a:lnTo>
                <a:lnTo>
                  <a:pt x="244" y="475"/>
                </a:lnTo>
                <a:lnTo>
                  <a:pt x="242" y="475"/>
                </a:lnTo>
                <a:lnTo>
                  <a:pt x="238" y="477"/>
                </a:lnTo>
                <a:lnTo>
                  <a:pt x="234" y="488"/>
                </a:lnTo>
                <a:lnTo>
                  <a:pt x="238" y="490"/>
                </a:lnTo>
                <a:lnTo>
                  <a:pt x="240" y="494"/>
                </a:lnTo>
                <a:lnTo>
                  <a:pt x="242" y="498"/>
                </a:lnTo>
                <a:lnTo>
                  <a:pt x="242" y="505"/>
                </a:lnTo>
                <a:lnTo>
                  <a:pt x="240" y="507"/>
                </a:lnTo>
                <a:lnTo>
                  <a:pt x="238" y="507"/>
                </a:lnTo>
                <a:lnTo>
                  <a:pt x="238" y="509"/>
                </a:lnTo>
                <a:lnTo>
                  <a:pt x="231" y="507"/>
                </a:lnTo>
                <a:lnTo>
                  <a:pt x="229" y="505"/>
                </a:lnTo>
                <a:lnTo>
                  <a:pt x="223" y="503"/>
                </a:lnTo>
                <a:lnTo>
                  <a:pt x="218" y="503"/>
                </a:lnTo>
                <a:lnTo>
                  <a:pt x="210" y="496"/>
                </a:lnTo>
                <a:lnTo>
                  <a:pt x="205" y="496"/>
                </a:lnTo>
                <a:lnTo>
                  <a:pt x="199" y="496"/>
                </a:lnTo>
                <a:lnTo>
                  <a:pt x="195" y="498"/>
                </a:lnTo>
                <a:lnTo>
                  <a:pt x="192" y="507"/>
                </a:lnTo>
                <a:lnTo>
                  <a:pt x="190" y="509"/>
                </a:lnTo>
                <a:lnTo>
                  <a:pt x="188" y="511"/>
                </a:lnTo>
                <a:lnTo>
                  <a:pt x="188" y="518"/>
                </a:lnTo>
                <a:lnTo>
                  <a:pt x="190" y="520"/>
                </a:lnTo>
                <a:lnTo>
                  <a:pt x="192" y="520"/>
                </a:lnTo>
                <a:lnTo>
                  <a:pt x="188" y="520"/>
                </a:lnTo>
                <a:lnTo>
                  <a:pt x="184" y="518"/>
                </a:lnTo>
                <a:lnTo>
                  <a:pt x="182" y="513"/>
                </a:lnTo>
                <a:lnTo>
                  <a:pt x="180" y="511"/>
                </a:lnTo>
                <a:lnTo>
                  <a:pt x="180" y="509"/>
                </a:lnTo>
                <a:lnTo>
                  <a:pt x="177" y="511"/>
                </a:lnTo>
                <a:lnTo>
                  <a:pt x="177" y="513"/>
                </a:lnTo>
                <a:lnTo>
                  <a:pt x="182" y="518"/>
                </a:lnTo>
                <a:lnTo>
                  <a:pt x="180" y="520"/>
                </a:lnTo>
                <a:lnTo>
                  <a:pt x="177" y="520"/>
                </a:lnTo>
                <a:lnTo>
                  <a:pt x="173" y="513"/>
                </a:lnTo>
                <a:lnTo>
                  <a:pt x="173" y="509"/>
                </a:lnTo>
                <a:lnTo>
                  <a:pt x="169" y="507"/>
                </a:lnTo>
                <a:lnTo>
                  <a:pt x="167" y="505"/>
                </a:lnTo>
                <a:lnTo>
                  <a:pt x="164" y="498"/>
                </a:lnTo>
                <a:lnTo>
                  <a:pt x="164" y="496"/>
                </a:lnTo>
                <a:lnTo>
                  <a:pt x="162" y="496"/>
                </a:lnTo>
                <a:lnTo>
                  <a:pt x="162" y="494"/>
                </a:lnTo>
                <a:lnTo>
                  <a:pt x="160" y="492"/>
                </a:lnTo>
                <a:lnTo>
                  <a:pt x="162" y="490"/>
                </a:lnTo>
                <a:lnTo>
                  <a:pt x="164" y="488"/>
                </a:lnTo>
                <a:lnTo>
                  <a:pt x="167" y="488"/>
                </a:lnTo>
                <a:lnTo>
                  <a:pt x="167" y="481"/>
                </a:lnTo>
                <a:lnTo>
                  <a:pt x="164" y="477"/>
                </a:lnTo>
                <a:lnTo>
                  <a:pt x="162" y="475"/>
                </a:lnTo>
                <a:lnTo>
                  <a:pt x="158" y="466"/>
                </a:lnTo>
                <a:lnTo>
                  <a:pt x="160" y="462"/>
                </a:lnTo>
                <a:lnTo>
                  <a:pt x="158" y="459"/>
                </a:lnTo>
                <a:lnTo>
                  <a:pt x="158" y="457"/>
                </a:lnTo>
                <a:lnTo>
                  <a:pt x="158" y="455"/>
                </a:lnTo>
                <a:lnTo>
                  <a:pt x="151" y="455"/>
                </a:lnTo>
                <a:lnTo>
                  <a:pt x="147" y="453"/>
                </a:lnTo>
                <a:lnTo>
                  <a:pt x="145" y="447"/>
                </a:lnTo>
                <a:lnTo>
                  <a:pt x="145" y="444"/>
                </a:lnTo>
                <a:lnTo>
                  <a:pt x="143" y="442"/>
                </a:lnTo>
                <a:lnTo>
                  <a:pt x="132" y="438"/>
                </a:lnTo>
                <a:lnTo>
                  <a:pt x="132" y="440"/>
                </a:lnTo>
                <a:lnTo>
                  <a:pt x="130" y="440"/>
                </a:lnTo>
                <a:lnTo>
                  <a:pt x="126" y="440"/>
                </a:lnTo>
                <a:lnTo>
                  <a:pt x="123" y="438"/>
                </a:lnTo>
                <a:lnTo>
                  <a:pt x="126" y="431"/>
                </a:lnTo>
                <a:lnTo>
                  <a:pt x="119" y="431"/>
                </a:lnTo>
                <a:lnTo>
                  <a:pt x="117" y="429"/>
                </a:lnTo>
                <a:lnTo>
                  <a:pt x="113" y="427"/>
                </a:lnTo>
                <a:lnTo>
                  <a:pt x="110" y="425"/>
                </a:lnTo>
                <a:lnTo>
                  <a:pt x="104" y="423"/>
                </a:lnTo>
                <a:lnTo>
                  <a:pt x="102" y="421"/>
                </a:lnTo>
                <a:lnTo>
                  <a:pt x="97" y="414"/>
                </a:lnTo>
                <a:lnTo>
                  <a:pt x="95" y="412"/>
                </a:lnTo>
                <a:lnTo>
                  <a:pt x="93" y="410"/>
                </a:lnTo>
                <a:lnTo>
                  <a:pt x="93" y="399"/>
                </a:lnTo>
                <a:lnTo>
                  <a:pt x="93" y="397"/>
                </a:lnTo>
                <a:lnTo>
                  <a:pt x="95" y="395"/>
                </a:lnTo>
                <a:lnTo>
                  <a:pt x="97" y="390"/>
                </a:lnTo>
                <a:lnTo>
                  <a:pt x="97" y="382"/>
                </a:lnTo>
                <a:lnTo>
                  <a:pt x="97" y="380"/>
                </a:lnTo>
                <a:lnTo>
                  <a:pt x="100" y="377"/>
                </a:lnTo>
                <a:lnTo>
                  <a:pt x="104" y="373"/>
                </a:lnTo>
                <a:lnTo>
                  <a:pt x="102" y="367"/>
                </a:lnTo>
                <a:lnTo>
                  <a:pt x="102" y="364"/>
                </a:lnTo>
                <a:lnTo>
                  <a:pt x="102" y="362"/>
                </a:lnTo>
                <a:lnTo>
                  <a:pt x="104" y="358"/>
                </a:lnTo>
                <a:lnTo>
                  <a:pt x="108" y="358"/>
                </a:lnTo>
                <a:lnTo>
                  <a:pt x="108" y="356"/>
                </a:lnTo>
                <a:lnTo>
                  <a:pt x="108" y="352"/>
                </a:lnTo>
                <a:lnTo>
                  <a:pt x="104" y="349"/>
                </a:lnTo>
                <a:lnTo>
                  <a:pt x="97" y="345"/>
                </a:lnTo>
                <a:lnTo>
                  <a:pt x="95" y="345"/>
                </a:lnTo>
                <a:lnTo>
                  <a:pt x="93" y="345"/>
                </a:lnTo>
                <a:lnTo>
                  <a:pt x="85" y="341"/>
                </a:lnTo>
                <a:lnTo>
                  <a:pt x="80" y="343"/>
                </a:lnTo>
                <a:lnTo>
                  <a:pt x="78" y="347"/>
                </a:lnTo>
                <a:lnTo>
                  <a:pt x="76" y="349"/>
                </a:lnTo>
                <a:lnTo>
                  <a:pt x="69" y="349"/>
                </a:lnTo>
                <a:lnTo>
                  <a:pt x="67" y="345"/>
                </a:lnTo>
                <a:lnTo>
                  <a:pt x="63" y="334"/>
                </a:lnTo>
                <a:lnTo>
                  <a:pt x="63" y="332"/>
                </a:lnTo>
                <a:lnTo>
                  <a:pt x="65" y="330"/>
                </a:lnTo>
                <a:lnTo>
                  <a:pt x="63" y="326"/>
                </a:lnTo>
                <a:lnTo>
                  <a:pt x="63" y="321"/>
                </a:lnTo>
                <a:lnTo>
                  <a:pt x="61" y="317"/>
                </a:lnTo>
                <a:lnTo>
                  <a:pt x="61" y="315"/>
                </a:lnTo>
                <a:lnTo>
                  <a:pt x="59" y="311"/>
                </a:lnTo>
                <a:lnTo>
                  <a:pt x="52" y="308"/>
                </a:lnTo>
                <a:lnTo>
                  <a:pt x="46" y="302"/>
                </a:lnTo>
                <a:lnTo>
                  <a:pt x="37" y="298"/>
                </a:lnTo>
                <a:lnTo>
                  <a:pt x="35" y="295"/>
                </a:lnTo>
                <a:lnTo>
                  <a:pt x="33" y="291"/>
                </a:lnTo>
                <a:lnTo>
                  <a:pt x="28" y="289"/>
                </a:lnTo>
                <a:lnTo>
                  <a:pt x="26" y="285"/>
                </a:lnTo>
                <a:lnTo>
                  <a:pt x="15" y="278"/>
                </a:lnTo>
                <a:lnTo>
                  <a:pt x="13" y="274"/>
                </a:lnTo>
                <a:lnTo>
                  <a:pt x="13" y="269"/>
                </a:lnTo>
                <a:lnTo>
                  <a:pt x="11" y="265"/>
                </a:lnTo>
                <a:lnTo>
                  <a:pt x="5" y="261"/>
                </a:lnTo>
                <a:lnTo>
                  <a:pt x="5" y="259"/>
                </a:lnTo>
                <a:lnTo>
                  <a:pt x="9" y="259"/>
                </a:lnTo>
                <a:lnTo>
                  <a:pt x="9" y="257"/>
                </a:lnTo>
                <a:lnTo>
                  <a:pt x="5" y="252"/>
                </a:lnTo>
                <a:lnTo>
                  <a:pt x="2" y="248"/>
                </a:lnTo>
                <a:lnTo>
                  <a:pt x="0" y="244"/>
                </a:lnTo>
                <a:lnTo>
                  <a:pt x="0" y="235"/>
                </a:lnTo>
                <a:lnTo>
                  <a:pt x="0" y="231"/>
                </a:lnTo>
                <a:lnTo>
                  <a:pt x="0" y="226"/>
                </a:lnTo>
                <a:lnTo>
                  <a:pt x="0" y="218"/>
                </a:lnTo>
                <a:lnTo>
                  <a:pt x="2" y="213"/>
                </a:lnTo>
                <a:lnTo>
                  <a:pt x="5" y="211"/>
                </a:lnTo>
                <a:lnTo>
                  <a:pt x="9" y="211"/>
                </a:lnTo>
                <a:lnTo>
                  <a:pt x="11" y="211"/>
                </a:lnTo>
                <a:lnTo>
                  <a:pt x="9" y="207"/>
                </a:lnTo>
                <a:lnTo>
                  <a:pt x="9" y="200"/>
                </a:lnTo>
                <a:lnTo>
                  <a:pt x="9" y="198"/>
                </a:lnTo>
                <a:lnTo>
                  <a:pt x="5" y="196"/>
                </a:lnTo>
                <a:lnTo>
                  <a:pt x="5" y="194"/>
                </a:lnTo>
                <a:lnTo>
                  <a:pt x="9" y="192"/>
                </a:lnTo>
                <a:lnTo>
                  <a:pt x="15" y="187"/>
                </a:lnTo>
                <a:lnTo>
                  <a:pt x="20" y="187"/>
                </a:lnTo>
                <a:lnTo>
                  <a:pt x="22" y="185"/>
                </a:lnTo>
                <a:lnTo>
                  <a:pt x="26" y="183"/>
                </a:lnTo>
                <a:lnTo>
                  <a:pt x="26" y="181"/>
                </a:lnTo>
                <a:lnTo>
                  <a:pt x="28" y="177"/>
                </a:lnTo>
                <a:lnTo>
                  <a:pt x="28" y="168"/>
                </a:lnTo>
                <a:lnTo>
                  <a:pt x="31" y="164"/>
                </a:lnTo>
                <a:lnTo>
                  <a:pt x="35" y="162"/>
                </a:lnTo>
                <a:lnTo>
                  <a:pt x="35" y="159"/>
                </a:lnTo>
                <a:lnTo>
                  <a:pt x="35" y="146"/>
                </a:lnTo>
                <a:lnTo>
                  <a:pt x="35" y="144"/>
                </a:lnTo>
                <a:lnTo>
                  <a:pt x="33" y="138"/>
                </a:lnTo>
                <a:lnTo>
                  <a:pt x="31" y="138"/>
                </a:lnTo>
                <a:lnTo>
                  <a:pt x="28" y="136"/>
                </a:lnTo>
                <a:lnTo>
                  <a:pt x="26" y="131"/>
                </a:lnTo>
                <a:lnTo>
                  <a:pt x="26" y="129"/>
                </a:lnTo>
                <a:lnTo>
                  <a:pt x="26" y="121"/>
                </a:lnTo>
                <a:lnTo>
                  <a:pt x="28" y="116"/>
                </a:lnTo>
                <a:lnTo>
                  <a:pt x="28" y="114"/>
                </a:lnTo>
                <a:lnTo>
                  <a:pt x="31" y="114"/>
                </a:lnTo>
                <a:lnTo>
                  <a:pt x="35" y="114"/>
                </a:lnTo>
                <a:lnTo>
                  <a:pt x="41" y="112"/>
                </a:lnTo>
                <a:lnTo>
                  <a:pt x="46" y="112"/>
                </a:lnTo>
                <a:lnTo>
                  <a:pt x="50" y="110"/>
                </a:lnTo>
                <a:lnTo>
                  <a:pt x="54" y="110"/>
                </a:lnTo>
                <a:lnTo>
                  <a:pt x="59" y="103"/>
                </a:lnTo>
                <a:lnTo>
                  <a:pt x="63" y="101"/>
                </a:lnTo>
                <a:lnTo>
                  <a:pt x="67" y="101"/>
                </a:lnTo>
                <a:lnTo>
                  <a:pt x="69" y="101"/>
                </a:lnTo>
                <a:lnTo>
                  <a:pt x="69" y="99"/>
                </a:lnTo>
                <a:lnTo>
                  <a:pt x="76" y="97"/>
                </a:lnTo>
                <a:lnTo>
                  <a:pt x="76" y="95"/>
                </a:lnTo>
                <a:lnTo>
                  <a:pt x="76" y="88"/>
                </a:lnTo>
                <a:lnTo>
                  <a:pt x="76" y="84"/>
                </a:lnTo>
                <a:lnTo>
                  <a:pt x="78" y="80"/>
                </a:lnTo>
                <a:lnTo>
                  <a:pt x="80" y="77"/>
                </a:lnTo>
                <a:lnTo>
                  <a:pt x="85" y="73"/>
                </a:lnTo>
                <a:lnTo>
                  <a:pt x="87" y="64"/>
                </a:lnTo>
                <a:lnTo>
                  <a:pt x="87" y="60"/>
                </a:lnTo>
                <a:lnTo>
                  <a:pt x="87" y="54"/>
                </a:lnTo>
                <a:lnTo>
                  <a:pt x="85" y="51"/>
                </a:lnTo>
                <a:lnTo>
                  <a:pt x="85" y="47"/>
                </a:lnTo>
                <a:lnTo>
                  <a:pt x="85" y="45"/>
                </a:lnTo>
                <a:lnTo>
                  <a:pt x="82" y="45"/>
                </a:lnTo>
                <a:lnTo>
                  <a:pt x="80" y="41"/>
                </a:lnTo>
                <a:lnTo>
                  <a:pt x="74" y="39"/>
                </a:lnTo>
                <a:lnTo>
                  <a:pt x="69" y="36"/>
                </a:lnTo>
                <a:lnTo>
                  <a:pt x="67" y="34"/>
                </a:lnTo>
                <a:lnTo>
                  <a:pt x="67" y="32"/>
                </a:lnTo>
                <a:lnTo>
                  <a:pt x="65" y="28"/>
                </a:lnTo>
                <a:lnTo>
                  <a:pt x="65" y="23"/>
                </a:lnTo>
                <a:lnTo>
                  <a:pt x="61" y="21"/>
                </a:lnTo>
                <a:lnTo>
                  <a:pt x="54" y="19"/>
                </a:lnTo>
                <a:lnTo>
                  <a:pt x="52" y="15"/>
                </a:lnTo>
                <a:lnTo>
                  <a:pt x="50" y="15"/>
                </a:lnTo>
                <a:lnTo>
                  <a:pt x="50" y="13"/>
                </a:lnTo>
                <a:lnTo>
                  <a:pt x="65" y="10"/>
                </a:lnTo>
                <a:lnTo>
                  <a:pt x="100" y="10"/>
                </a:lnTo>
                <a:lnTo>
                  <a:pt x="104" y="6"/>
                </a:lnTo>
                <a:lnTo>
                  <a:pt x="134" y="6"/>
                </a:lnTo>
                <a:lnTo>
                  <a:pt x="136" y="6"/>
                </a:lnTo>
                <a:lnTo>
                  <a:pt x="167" y="4"/>
                </a:lnTo>
                <a:lnTo>
                  <a:pt x="180" y="4"/>
                </a:lnTo>
                <a:lnTo>
                  <a:pt x="182" y="4"/>
                </a:lnTo>
                <a:lnTo>
                  <a:pt x="212" y="2"/>
                </a:lnTo>
                <a:lnTo>
                  <a:pt x="216" y="2"/>
                </a:lnTo>
                <a:lnTo>
                  <a:pt x="244" y="0"/>
                </a:lnTo>
                <a:lnTo>
                  <a:pt x="244" y="15"/>
                </a:lnTo>
                <a:lnTo>
                  <a:pt x="251" y="30"/>
                </a:lnTo>
                <a:lnTo>
                  <a:pt x="257" y="36"/>
                </a:lnTo>
                <a:lnTo>
                  <a:pt x="264" y="56"/>
                </a:lnTo>
                <a:lnTo>
                  <a:pt x="270" y="69"/>
                </a:lnTo>
                <a:lnTo>
                  <a:pt x="272" y="92"/>
                </a:lnTo>
                <a:lnTo>
                  <a:pt x="275" y="110"/>
                </a:lnTo>
                <a:lnTo>
                  <a:pt x="275" y="118"/>
                </a:lnTo>
                <a:lnTo>
                  <a:pt x="277" y="133"/>
                </a:lnTo>
                <a:lnTo>
                  <a:pt x="279" y="159"/>
                </a:lnTo>
                <a:lnTo>
                  <a:pt x="279" y="183"/>
                </a:lnTo>
                <a:lnTo>
                  <a:pt x="281" y="213"/>
                </a:lnTo>
                <a:lnTo>
                  <a:pt x="283" y="241"/>
                </a:lnTo>
                <a:lnTo>
                  <a:pt x="287" y="265"/>
                </a:lnTo>
                <a:lnTo>
                  <a:pt x="290" y="278"/>
                </a:lnTo>
                <a:lnTo>
                  <a:pt x="290" y="291"/>
                </a:lnTo>
                <a:lnTo>
                  <a:pt x="283" y="291"/>
                </a:lnTo>
                <a:lnTo>
                  <a:pt x="283" y="293"/>
                </a:lnTo>
                <a:lnTo>
                  <a:pt x="283" y="295"/>
                </a:lnTo>
                <a:lnTo>
                  <a:pt x="283" y="298"/>
                </a:lnTo>
                <a:lnTo>
                  <a:pt x="287" y="300"/>
                </a:lnTo>
                <a:lnTo>
                  <a:pt x="287" y="302"/>
                </a:lnTo>
                <a:lnTo>
                  <a:pt x="287" y="306"/>
                </a:lnTo>
                <a:lnTo>
                  <a:pt x="283" y="308"/>
                </a:lnTo>
                <a:lnTo>
                  <a:pt x="281" y="311"/>
                </a:lnTo>
                <a:lnTo>
                  <a:pt x="281" y="313"/>
                </a:lnTo>
                <a:lnTo>
                  <a:pt x="283" y="313"/>
                </a:lnTo>
                <a:lnTo>
                  <a:pt x="283" y="315"/>
                </a:lnTo>
                <a:lnTo>
                  <a:pt x="287" y="315"/>
                </a:lnTo>
                <a:lnTo>
                  <a:pt x="290" y="317"/>
                </a:lnTo>
                <a:lnTo>
                  <a:pt x="290" y="323"/>
                </a:lnTo>
                <a:lnTo>
                  <a:pt x="292" y="326"/>
                </a:lnTo>
                <a:lnTo>
                  <a:pt x="294" y="326"/>
                </a:lnTo>
                <a:lnTo>
                  <a:pt x="294" y="328"/>
                </a:lnTo>
                <a:lnTo>
                  <a:pt x="294" y="330"/>
                </a:lnTo>
                <a:lnTo>
                  <a:pt x="292" y="334"/>
                </a:lnTo>
                <a:lnTo>
                  <a:pt x="296" y="341"/>
                </a:lnTo>
                <a:lnTo>
                  <a:pt x="296" y="343"/>
                </a:lnTo>
                <a:lnTo>
                  <a:pt x="296" y="347"/>
                </a:lnTo>
                <a:lnTo>
                  <a:pt x="294" y="352"/>
                </a:lnTo>
                <a:lnTo>
                  <a:pt x="292" y="352"/>
                </a:lnTo>
                <a:lnTo>
                  <a:pt x="290" y="356"/>
                </a:lnTo>
                <a:lnTo>
                  <a:pt x="290" y="358"/>
                </a:lnTo>
                <a:lnTo>
                  <a:pt x="290" y="360"/>
                </a:lnTo>
                <a:lnTo>
                  <a:pt x="287" y="362"/>
                </a:lnTo>
                <a:lnTo>
                  <a:pt x="287" y="364"/>
                </a:lnTo>
                <a:lnTo>
                  <a:pt x="290" y="367"/>
                </a:lnTo>
                <a:lnTo>
                  <a:pt x="290" y="371"/>
                </a:lnTo>
                <a:lnTo>
                  <a:pt x="287" y="371"/>
                </a:lnTo>
                <a:lnTo>
                  <a:pt x="287" y="373"/>
                </a:lnTo>
                <a:lnTo>
                  <a:pt x="281" y="373"/>
                </a:lnTo>
                <a:lnTo>
                  <a:pt x="281" y="375"/>
                </a:lnTo>
                <a:lnTo>
                  <a:pt x="281" y="377"/>
                </a:lnTo>
                <a:lnTo>
                  <a:pt x="279" y="382"/>
                </a:lnTo>
                <a:lnTo>
                  <a:pt x="277" y="384"/>
                </a:lnTo>
                <a:lnTo>
                  <a:pt x="277" y="390"/>
                </a:lnTo>
                <a:lnTo>
                  <a:pt x="275" y="390"/>
                </a:lnTo>
                <a:lnTo>
                  <a:pt x="275" y="388"/>
                </a:lnTo>
                <a:lnTo>
                  <a:pt x="272" y="390"/>
                </a:lnTo>
                <a:lnTo>
                  <a:pt x="272" y="393"/>
                </a:lnTo>
                <a:lnTo>
                  <a:pt x="272" y="390"/>
                </a:lnTo>
                <a:lnTo>
                  <a:pt x="270" y="390"/>
                </a:lnTo>
                <a:lnTo>
                  <a:pt x="266" y="395"/>
                </a:lnTo>
                <a:lnTo>
                  <a:pt x="266" y="397"/>
                </a:lnTo>
                <a:lnTo>
                  <a:pt x="266" y="399"/>
                </a:lnTo>
                <a:lnTo>
                  <a:pt x="272" y="403"/>
                </a:lnTo>
                <a:lnTo>
                  <a:pt x="270" y="405"/>
                </a:lnTo>
                <a:lnTo>
                  <a:pt x="266" y="405"/>
                </a:lnTo>
                <a:lnTo>
                  <a:pt x="264" y="410"/>
                </a:lnTo>
                <a:lnTo>
                  <a:pt x="270" y="410"/>
                </a:lnTo>
                <a:lnTo>
                  <a:pt x="270" y="412"/>
                </a:lnTo>
                <a:lnTo>
                  <a:pt x="264" y="412"/>
                </a:lnTo>
                <a:lnTo>
                  <a:pt x="264" y="414"/>
                </a:lnTo>
                <a:lnTo>
                  <a:pt x="264" y="416"/>
                </a:lnTo>
                <a:lnTo>
                  <a:pt x="266" y="421"/>
                </a:lnTo>
                <a:lnTo>
                  <a:pt x="264" y="423"/>
                </a:lnTo>
                <a:lnTo>
                  <a:pt x="264" y="425"/>
                </a:lnTo>
                <a:lnTo>
                  <a:pt x="262" y="425"/>
                </a:lnTo>
                <a:lnTo>
                  <a:pt x="264" y="427"/>
                </a:lnTo>
                <a:lnTo>
                  <a:pt x="266" y="427"/>
                </a:lnTo>
                <a:lnTo>
                  <a:pt x="264" y="427"/>
                </a:lnTo>
                <a:lnTo>
                  <a:pt x="259" y="427"/>
                </a:lnTo>
                <a:lnTo>
                  <a:pt x="259" y="429"/>
                </a:lnTo>
                <a:lnTo>
                  <a:pt x="262" y="431"/>
                </a:lnTo>
                <a:lnTo>
                  <a:pt x="266" y="431"/>
                </a:lnTo>
                <a:lnTo>
                  <a:pt x="264" y="434"/>
                </a:lnTo>
                <a:lnTo>
                  <a:pt x="262" y="434"/>
                </a:lnTo>
                <a:lnTo>
                  <a:pt x="266" y="438"/>
                </a:lnTo>
                <a:lnTo>
                  <a:pt x="264" y="442"/>
                </a:lnTo>
                <a:lnTo>
                  <a:pt x="259" y="447"/>
                </a:lnTo>
                <a:lnTo>
                  <a:pt x="257" y="449"/>
                </a:lnTo>
                <a:lnTo>
                  <a:pt x="259" y="455"/>
                </a:lnTo>
                <a:lnTo>
                  <a:pt x="259" y="457"/>
                </a:lnTo>
                <a:lnTo>
                  <a:pt x="266" y="464"/>
                </a:lnTo>
                <a:close/>
              </a:path>
            </a:pathLst>
          </a:custGeom>
          <a:noFill/>
          <a:ln w="9525">
            <a:noFill/>
            <a:round/>
            <a:headEnd/>
            <a:tailEnd/>
          </a:ln>
        </p:spPr>
        <p:txBody>
          <a:bodyPr/>
          <a:lstStyle/>
          <a:p>
            <a:endParaRPr lang="en-US" dirty="0">
              <a:solidFill>
                <a:prstClr val="black"/>
              </a:solidFill>
            </a:endParaRPr>
          </a:p>
        </p:txBody>
      </p:sp>
      <p:sp>
        <p:nvSpPr>
          <p:cNvPr id="233" name="Freeform 66">
            <a:extLst>
              <a:ext uri="{FF2B5EF4-FFF2-40B4-BE49-F238E27FC236}">
                <a16:creationId xmlns:a16="http://schemas.microsoft.com/office/drawing/2014/main" id="{F2F1C40F-81B9-46FF-8420-1D54584BF083}"/>
              </a:ext>
            </a:extLst>
          </p:cNvPr>
          <p:cNvSpPr>
            <a:spLocks/>
          </p:cNvSpPr>
          <p:nvPr>
            <p:custDataLst>
              <p:tags r:id="rId57"/>
            </p:custDataLst>
          </p:nvPr>
        </p:nvSpPr>
        <p:spPr bwMode="auto">
          <a:xfrm>
            <a:off x="6749577" y="3110862"/>
            <a:ext cx="598417" cy="1124085"/>
          </a:xfrm>
          <a:custGeom>
            <a:avLst/>
            <a:gdLst>
              <a:gd name="T0" fmla="*/ 2147483647 w 296"/>
              <a:gd name="T1" fmla="*/ 2147483647 h 520"/>
              <a:gd name="T2" fmla="*/ 2147483647 w 296"/>
              <a:gd name="T3" fmla="*/ 2147483647 h 520"/>
              <a:gd name="T4" fmla="*/ 2147483647 w 296"/>
              <a:gd name="T5" fmla="*/ 2147483647 h 520"/>
              <a:gd name="T6" fmla="*/ 2147483647 w 296"/>
              <a:gd name="T7" fmla="*/ 2147483647 h 520"/>
              <a:gd name="T8" fmla="*/ 2147483647 w 296"/>
              <a:gd name="T9" fmla="*/ 2147483647 h 520"/>
              <a:gd name="T10" fmla="*/ 2147483647 w 296"/>
              <a:gd name="T11" fmla="*/ 2147483647 h 520"/>
              <a:gd name="T12" fmla="*/ 2147483647 w 296"/>
              <a:gd name="T13" fmla="*/ 2147483647 h 520"/>
              <a:gd name="T14" fmla="*/ 2147483647 w 296"/>
              <a:gd name="T15" fmla="*/ 2147483647 h 520"/>
              <a:gd name="T16" fmla="*/ 2147483647 w 296"/>
              <a:gd name="T17" fmla="*/ 2147483647 h 520"/>
              <a:gd name="T18" fmla="*/ 2147483647 w 296"/>
              <a:gd name="T19" fmla="*/ 2147483647 h 520"/>
              <a:gd name="T20" fmla="*/ 2147483647 w 296"/>
              <a:gd name="T21" fmla="*/ 2147483647 h 520"/>
              <a:gd name="T22" fmla="*/ 2147483647 w 296"/>
              <a:gd name="T23" fmla="*/ 2147483647 h 520"/>
              <a:gd name="T24" fmla="*/ 2147483647 w 296"/>
              <a:gd name="T25" fmla="*/ 2147483647 h 520"/>
              <a:gd name="T26" fmla="*/ 2147483647 w 296"/>
              <a:gd name="T27" fmla="*/ 2147483647 h 520"/>
              <a:gd name="T28" fmla="*/ 2147483647 w 296"/>
              <a:gd name="T29" fmla="*/ 2147483647 h 520"/>
              <a:gd name="T30" fmla="*/ 2147483647 w 296"/>
              <a:gd name="T31" fmla="*/ 2147483647 h 520"/>
              <a:gd name="T32" fmla="*/ 2147483647 w 296"/>
              <a:gd name="T33" fmla="*/ 2147483647 h 520"/>
              <a:gd name="T34" fmla="*/ 2147483647 w 296"/>
              <a:gd name="T35" fmla="*/ 2147483647 h 520"/>
              <a:gd name="T36" fmla="*/ 2147483647 w 296"/>
              <a:gd name="T37" fmla="*/ 2147483647 h 520"/>
              <a:gd name="T38" fmla="*/ 2147483647 w 296"/>
              <a:gd name="T39" fmla="*/ 2147483647 h 520"/>
              <a:gd name="T40" fmla="*/ 2147483647 w 296"/>
              <a:gd name="T41" fmla="*/ 2147483647 h 520"/>
              <a:gd name="T42" fmla="*/ 2147483647 w 296"/>
              <a:gd name="T43" fmla="*/ 2147483647 h 520"/>
              <a:gd name="T44" fmla="*/ 2147483647 w 296"/>
              <a:gd name="T45" fmla="*/ 2147483647 h 520"/>
              <a:gd name="T46" fmla="*/ 2147483647 w 296"/>
              <a:gd name="T47" fmla="*/ 2147483647 h 520"/>
              <a:gd name="T48" fmla="*/ 2147483647 w 296"/>
              <a:gd name="T49" fmla="*/ 2147483647 h 520"/>
              <a:gd name="T50" fmla="*/ 0 w 296"/>
              <a:gd name="T51" fmla="*/ 2147483647 h 520"/>
              <a:gd name="T52" fmla="*/ 2147483647 w 296"/>
              <a:gd name="T53" fmla="*/ 2147483647 h 520"/>
              <a:gd name="T54" fmla="*/ 2147483647 w 296"/>
              <a:gd name="T55" fmla="*/ 2147483647 h 520"/>
              <a:gd name="T56" fmla="*/ 2147483647 w 296"/>
              <a:gd name="T57" fmla="*/ 2147483647 h 520"/>
              <a:gd name="T58" fmla="*/ 2147483647 w 296"/>
              <a:gd name="T59" fmla="*/ 2147483647 h 520"/>
              <a:gd name="T60" fmla="*/ 2147483647 w 296"/>
              <a:gd name="T61" fmla="*/ 2147483647 h 520"/>
              <a:gd name="T62" fmla="*/ 2147483647 w 296"/>
              <a:gd name="T63" fmla="*/ 2147483647 h 520"/>
              <a:gd name="T64" fmla="*/ 2147483647 w 296"/>
              <a:gd name="T65" fmla="*/ 2147483647 h 520"/>
              <a:gd name="T66" fmla="*/ 2147483647 w 296"/>
              <a:gd name="T67" fmla="*/ 2147483647 h 520"/>
              <a:gd name="T68" fmla="*/ 2147483647 w 296"/>
              <a:gd name="T69" fmla="*/ 2147483647 h 520"/>
              <a:gd name="T70" fmla="*/ 2147483647 w 296"/>
              <a:gd name="T71" fmla="*/ 2147483647 h 520"/>
              <a:gd name="T72" fmla="*/ 2147483647 w 296"/>
              <a:gd name="T73" fmla="*/ 2147483647 h 520"/>
              <a:gd name="T74" fmla="*/ 2147483647 w 296"/>
              <a:gd name="T75" fmla="*/ 2147483647 h 520"/>
              <a:gd name="T76" fmla="*/ 2147483647 w 296"/>
              <a:gd name="T77" fmla="*/ 2147483647 h 520"/>
              <a:gd name="T78" fmla="*/ 2147483647 w 296"/>
              <a:gd name="T79" fmla="*/ 2147483647 h 520"/>
              <a:gd name="T80" fmla="*/ 2147483647 w 296"/>
              <a:gd name="T81" fmla="*/ 2147483647 h 520"/>
              <a:gd name="T82" fmla="*/ 2147483647 w 296"/>
              <a:gd name="T83" fmla="*/ 2147483647 h 520"/>
              <a:gd name="T84" fmla="*/ 2147483647 w 296"/>
              <a:gd name="T85" fmla="*/ 2147483647 h 520"/>
              <a:gd name="T86" fmla="*/ 2147483647 w 296"/>
              <a:gd name="T87" fmla="*/ 2147483647 h 520"/>
              <a:gd name="T88" fmla="*/ 2147483647 w 296"/>
              <a:gd name="T89" fmla="*/ 2147483647 h 520"/>
              <a:gd name="T90" fmla="*/ 2147483647 w 296"/>
              <a:gd name="T91" fmla="*/ 2147483647 h 520"/>
              <a:gd name="T92" fmla="*/ 2147483647 w 296"/>
              <a:gd name="T93" fmla="*/ 2147483647 h 520"/>
              <a:gd name="T94" fmla="*/ 2147483647 w 296"/>
              <a:gd name="T95" fmla="*/ 2147483647 h 520"/>
              <a:gd name="T96" fmla="*/ 2147483647 w 296"/>
              <a:gd name="T97" fmla="*/ 2147483647 h 520"/>
              <a:gd name="T98" fmla="*/ 2147483647 w 296"/>
              <a:gd name="T99" fmla="*/ 2147483647 h 520"/>
              <a:gd name="T100" fmla="*/ 2147483647 w 296"/>
              <a:gd name="T101" fmla="*/ 2147483647 h 520"/>
              <a:gd name="T102" fmla="*/ 2147483647 w 296"/>
              <a:gd name="T103" fmla="*/ 2147483647 h 520"/>
              <a:gd name="T104" fmla="*/ 2147483647 w 296"/>
              <a:gd name="T105" fmla="*/ 2147483647 h 520"/>
              <a:gd name="T106" fmla="*/ 2147483647 w 296"/>
              <a:gd name="T107" fmla="*/ 2147483647 h 520"/>
              <a:gd name="T108" fmla="*/ 2147483647 w 296"/>
              <a:gd name="T109" fmla="*/ 2147483647 h 520"/>
              <a:gd name="T110" fmla="*/ 2147483647 w 296"/>
              <a:gd name="T111" fmla="*/ 2147483647 h 520"/>
              <a:gd name="T112" fmla="*/ 2147483647 w 296"/>
              <a:gd name="T113" fmla="*/ 2147483647 h 520"/>
              <a:gd name="T114" fmla="*/ 2147483647 w 296"/>
              <a:gd name="T115" fmla="*/ 2147483647 h 520"/>
              <a:gd name="T116" fmla="*/ 2147483647 w 296"/>
              <a:gd name="T117" fmla="*/ 2147483647 h 520"/>
              <a:gd name="T118" fmla="*/ 2147483647 w 296"/>
              <a:gd name="T119" fmla="*/ 2147483647 h 520"/>
              <a:gd name="T120" fmla="*/ 2147483647 w 296"/>
              <a:gd name="T121" fmla="*/ 2147483647 h 5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6"/>
              <a:gd name="T184" fmla="*/ 0 h 520"/>
              <a:gd name="T185" fmla="*/ 296 w 296"/>
              <a:gd name="T186" fmla="*/ 520 h 5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6" h="520">
                <a:moveTo>
                  <a:pt x="266" y="464"/>
                </a:moveTo>
                <a:lnTo>
                  <a:pt x="264" y="466"/>
                </a:lnTo>
                <a:lnTo>
                  <a:pt x="249" y="472"/>
                </a:lnTo>
                <a:lnTo>
                  <a:pt x="244" y="475"/>
                </a:lnTo>
                <a:lnTo>
                  <a:pt x="242" y="475"/>
                </a:lnTo>
                <a:lnTo>
                  <a:pt x="238" y="477"/>
                </a:lnTo>
                <a:lnTo>
                  <a:pt x="234" y="488"/>
                </a:lnTo>
                <a:lnTo>
                  <a:pt x="238" y="490"/>
                </a:lnTo>
                <a:lnTo>
                  <a:pt x="240" y="494"/>
                </a:lnTo>
                <a:lnTo>
                  <a:pt x="242" y="498"/>
                </a:lnTo>
                <a:lnTo>
                  <a:pt x="242" y="505"/>
                </a:lnTo>
                <a:lnTo>
                  <a:pt x="240" y="507"/>
                </a:lnTo>
                <a:lnTo>
                  <a:pt x="238" y="507"/>
                </a:lnTo>
                <a:lnTo>
                  <a:pt x="238" y="509"/>
                </a:lnTo>
                <a:lnTo>
                  <a:pt x="231" y="507"/>
                </a:lnTo>
                <a:lnTo>
                  <a:pt x="229" y="505"/>
                </a:lnTo>
                <a:lnTo>
                  <a:pt x="223" y="503"/>
                </a:lnTo>
                <a:lnTo>
                  <a:pt x="218" y="503"/>
                </a:lnTo>
                <a:lnTo>
                  <a:pt x="210" y="496"/>
                </a:lnTo>
                <a:lnTo>
                  <a:pt x="205" y="496"/>
                </a:lnTo>
                <a:lnTo>
                  <a:pt x="199" y="496"/>
                </a:lnTo>
                <a:lnTo>
                  <a:pt x="195" y="498"/>
                </a:lnTo>
                <a:lnTo>
                  <a:pt x="192" y="507"/>
                </a:lnTo>
                <a:lnTo>
                  <a:pt x="190" y="509"/>
                </a:lnTo>
                <a:lnTo>
                  <a:pt x="188" y="511"/>
                </a:lnTo>
                <a:lnTo>
                  <a:pt x="188" y="518"/>
                </a:lnTo>
                <a:lnTo>
                  <a:pt x="190" y="520"/>
                </a:lnTo>
                <a:lnTo>
                  <a:pt x="192" y="520"/>
                </a:lnTo>
                <a:lnTo>
                  <a:pt x="188" y="520"/>
                </a:lnTo>
                <a:lnTo>
                  <a:pt x="184" y="518"/>
                </a:lnTo>
                <a:lnTo>
                  <a:pt x="182" y="513"/>
                </a:lnTo>
                <a:lnTo>
                  <a:pt x="180" y="511"/>
                </a:lnTo>
                <a:lnTo>
                  <a:pt x="180" y="509"/>
                </a:lnTo>
                <a:lnTo>
                  <a:pt x="177" y="511"/>
                </a:lnTo>
                <a:lnTo>
                  <a:pt x="177" y="513"/>
                </a:lnTo>
                <a:lnTo>
                  <a:pt x="182" y="518"/>
                </a:lnTo>
                <a:lnTo>
                  <a:pt x="180" y="520"/>
                </a:lnTo>
                <a:lnTo>
                  <a:pt x="177" y="520"/>
                </a:lnTo>
                <a:lnTo>
                  <a:pt x="173" y="513"/>
                </a:lnTo>
                <a:lnTo>
                  <a:pt x="173" y="509"/>
                </a:lnTo>
                <a:lnTo>
                  <a:pt x="169" y="507"/>
                </a:lnTo>
                <a:lnTo>
                  <a:pt x="167" y="505"/>
                </a:lnTo>
                <a:lnTo>
                  <a:pt x="164" y="498"/>
                </a:lnTo>
                <a:lnTo>
                  <a:pt x="164" y="496"/>
                </a:lnTo>
                <a:lnTo>
                  <a:pt x="162" y="496"/>
                </a:lnTo>
                <a:lnTo>
                  <a:pt x="162" y="494"/>
                </a:lnTo>
                <a:lnTo>
                  <a:pt x="160" y="492"/>
                </a:lnTo>
                <a:lnTo>
                  <a:pt x="162" y="490"/>
                </a:lnTo>
                <a:lnTo>
                  <a:pt x="164" y="488"/>
                </a:lnTo>
                <a:lnTo>
                  <a:pt x="167" y="488"/>
                </a:lnTo>
                <a:lnTo>
                  <a:pt x="167" y="481"/>
                </a:lnTo>
                <a:lnTo>
                  <a:pt x="164" y="477"/>
                </a:lnTo>
                <a:lnTo>
                  <a:pt x="162" y="475"/>
                </a:lnTo>
                <a:lnTo>
                  <a:pt x="158" y="466"/>
                </a:lnTo>
                <a:lnTo>
                  <a:pt x="160" y="462"/>
                </a:lnTo>
                <a:lnTo>
                  <a:pt x="158" y="459"/>
                </a:lnTo>
                <a:lnTo>
                  <a:pt x="158" y="457"/>
                </a:lnTo>
                <a:lnTo>
                  <a:pt x="158" y="455"/>
                </a:lnTo>
                <a:lnTo>
                  <a:pt x="151" y="455"/>
                </a:lnTo>
                <a:lnTo>
                  <a:pt x="147" y="453"/>
                </a:lnTo>
                <a:lnTo>
                  <a:pt x="145" y="447"/>
                </a:lnTo>
                <a:lnTo>
                  <a:pt x="145" y="444"/>
                </a:lnTo>
                <a:lnTo>
                  <a:pt x="143" y="442"/>
                </a:lnTo>
                <a:lnTo>
                  <a:pt x="132" y="438"/>
                </a:lnTo>
                <a:lnTo>
                  <a:pt x="132" y="440"/>
                </a:lnTo>
                <a:lnTo>
                  <a:pt x="130" y="440"/>
                </a:lnTo>
                <a:lnTo>
                  <a:pt x="126" y="440"/>
                </a:lnTo>
                <a:lnTo>
                  <a:pt x="123" y="438"/>
                </a:lnTo>
                <a:lnTo>
                  <a:pt x="126" y="431"/>
                </a:lnTo>
                <a:lnTo>
                  <a:pt x="119" y="431"/>
                </a:lnTo>
                <a:lnTo>
                  <a:pt x="117" y="429"/>
                </a:lnTo>
                <a:lnTo>
                  <a:pt x="113" y="427"/>
                </a:lnTo>
                <a:lnTo>
                  <a:pt x="110" y="425"/>
                </a:lnTo>
                <a:lnTo>
                  <a:pt x="104" y="423"/>
                </a:lnTo>
                <a:lnTo>
                  <a:pt x="102" y="421"/>
                </a:lnTo>
                <a:lnTo>
                  <a:pt x="97" y="414"/>
                </a:lnTo>
                <a:lnTo>
                  <a:pt x="95" y="412"/>
                </a:lnTo>
                <a:lnTo>
                  <a:pt x="93" y="410"/>
                </a:lnTo>
                <a:lnTo>
                  <a:pt x="93" y="399"/>
                </a:lnTo>
                <a:lnTo>
                  <a:pt x="93" y="397"/>
                </a:lnTo>
                <a:lnTo>
                  <a:pt x="95" y="395"/>
                </a:lnTo>
                <a:lnTo>
                  <a:pt x="97" y="390"/>
                </a:lnTo>
                <a:lnTo>
                  <a:pt x="97" y="382"/>
                </a:lnTo>
                <a:lnTo>
                  <a:pt x="97" y="380"/>
                </a:lnTo>
                <a:lnTo>
                  <a:pt x="100" y="377"/>
                </a:lnTo>
                <a:lnTo>
                  <a:pt x="104" y="373"/>
                </a:lnTo>
                <a:lnTo>
                  <a:pt x="102" y="367"/>
                </a:lnTo>
                <a:lnTo>
                  <a:pt x="102" y="364"/>
                </a:lnTo>
                <a:lnTo>
                  <a:pt x="102" y="362"/>
                </a:lnTo>
                <a:lnTo>
                  <a:pt x="104" y="358"/>
                </a:lnTo>
                <a:lnTo>
                  <a:pt x="108" y="358"/>
                </a:lnTo>
                <a:lnTo>
                  <a:pt x="108" y="356"/>
                </a:lnTo>
                <a:lnTo>
                  <a:pt x="108" y="352"/>
                </a:lnTo>
                <a:lnTo>
                  <a:pt x="104" y="349"/>
                </a:lnTo>
                <a:lnTo>
                  <a:pt x="97" y="345"/>
                </a:lnTo>
                <a:lnTo>
                  <a:pt x="95" y="345"/>
                </a:lnTo>
                <a:lnTo>
                  <a:pt x="93" y="345"/>
                </a:lnTo>
                <a:lnTo>
                  <a:pt x="85" y="341"/>
                </a:lnTo>
                <a:lnTo>
                  <a:pt x="80" y="343"/>
                </a:lnTo>
                <a:lnTo>
                  <a:pt x="78" y="347"/>
                </a:lnTo>
                <a:lnTo>
                  <a:pt x="76" y="349"/>
                </a:lnTo>
                <a:lnTo>
                  <a:pt x="69" y="349"/>
                </a:lnTo>
                <a:lnTo>
                  <a:pt x="67" y="345"/>
                </a:lnTo>
                <a:lnTo>
                  <a:pt x="63" y="334"/>
                </a:lnTo>
                <a:lnTo>
                  <a:pt x="63" y="332"/>
                </a:lnTo>
                <a:lnTo>
                  <a:pt x="65" y="330"/>
                </a:lnTo>
                <a:lnTo>
                  <a:pt x="63" y="326"/>
                </a:lnTo>
                <a:lnTo>
                  <a:pt x="63" y="321"/>
                </a:lnTo>
                <a:lnTo>
                  <a:pt x="61" y="317"/>
                </a:lnTo>
                <a:lnTo>
                  <a:pt x="61" y="315"/>
                </a:lnTo>
                <a:lnTo>
                  <a:pt x="59" y="311"/>
                </a:lnTo>
                <a:lnTo>
                  <a:pt x="52" y="308"/>
                </a:lnTo>
                <a:lnTo>
                  <a:pt x="46" y="302"/>
                </a:lnTo>
                <a:lnTo>
                  <a:pt x="37" y="298"/>
                </a:lnTo>
                <a:lnTo>
                  <a:pt x="35" y="295"/>
                </a:lnTo>
                <a:lnTo>
                  <a:pt x="33" y="291"/>
                </a:lnTo>
                <a:lnTo>
                  <a:pt x="28" y="289"/>
                </a:lnTo>
                <a:lnTo>
                  <a:pt x="26" y="285"/>
                </a:lnTo>
                <a:lnTo>
                  <a:pt x="15" y="278"/>
                </a:lnTo>
                <a:lnTo>
                  <a:pt x="13" y="274"/>
                </a:lnTo>
                <a:lnTo>
                  <a:pt x="13" y="269"/>
                </a:lnTo>
                <a:lnTo>
                  <a:pt x="11" y="265"/>
                </a:lnTo>
                <a:lnTo>
                  <a:pt x="5" y="261"/>
                </a:lnTo>
                <a:lnTo>
                  <a:pt x="5" y="259"/>
                </a:lnTo>
                <a:lnTo>
                  <a:pt x="9" y="259"/>
                </a:lnTo>
                <a:lnTo>
                  <a:pt x="9" y="257"/>
                </a:lnTo>
                <a:lnTo>
                  <a:pt x="5" y="252"/>
                </a:lnTo>
                <a:lnTo>
                  <a:pt x="2" y="248"/>
                </a:lnTo>
                <a:lnTo>
                  <a:pt x="0" y="244"/>
                </a:lnTo>
                <a:lnTo>
                  <a:pt x="0" y="235"/>
                </a:lnTo>
                <a:lnTo>
                  <a:pt x="0" y="231"/>
                </a:lnTo>
                <a:lnTo>
                  <a:pt x="0" y="226"/>
                </a:lnTo>
                <a:lnTo>
                  <a:pt x="0" y="218"/>
                </a:lnTo>
                <a:lnTo>
                  <a:pt x="2" y="213"/>
                </a:lnTo>
                <a:lnTo>
                  <a:pt x="5" y="211"/>
                </a:lnTo>
                <a:lnTo>
                  <a:pt x="9" y="211"/>
                </a:lnTo>
                <a:lnTo>
                  <a:pt x="11" y="211"/>
                </a:lnTo>
                <a:lnTo>
                  <a:pt x="9" y="207"/>
                </a:lnTo>
                <a:lnTo>
                  <a:pt x="9" y="200"/>
                </a:lnTo>
                <a:lnTo>
                  <a:pt x="9" y="198"/>
                </a:lnTo>
                <a:lnTo>
                  <a:pt x="5" y="196"/>
                </a:lnTo>
                <a:lnTo>
                  <a:pt x="5" y="194"/>
                </a:lnTo>
                <a:lnTo>
                  <a:pt x="9" y="192"/>
                </a:lnTo>
                <a:lnTo>
                  <a:pt x="15" y="187"/>
                </a:lnTo>
                <a:lnTo>
                  <a:pt x="20" y="187"/>
                </a:lnTo>
                <a:lnTo>
                  <a:pt x="22" y="185"/>
                </a:lnTo>
                <a:lnTo>
                  <a:pt x="26" y="183"/>
                </a:lnTo>
                <a:lnTo>
                  <a:pt x="26" y="181"/>
                </a:lnTo>
                <a:lnTo>
                  <a:pt x="28" y="177"/>
                </a:lnTo>
                <a:lnTo>
                  <a:pt x="28" y="168"/>
                </a:lnTo>
                <a:lnTo>
                  <a:pt x="31" y="164"/>
                </a:lnTo>
                <a:lnTo>
                  <a:pt x="35" y="162"/>
                </a:lnTo>
                <a:lnTo>
                  <a:pt x="35" y="159"/>
                </a:lnTo>
                <a:lnTo>
                  <a:pt x="35" y="146"/>
                </a:lnTo>
                <a:lnTo>
                  <a:pt x="35" y="144"/>
                </a:lnTo>
                <a:lnTo>
                  <a:pt x="33" y="138"/>
                </a:lnTo>
                <a:lnTo>
                  <a:pt x="31" y="138"/>
                </a:lnTo>
                <a:lnTo>
                  <a:pt x="28" y="136"/>
                </a:lnTo>
                <a:lnTo>
                  <a:pt x="26" y="131"/>
                </a:lnTo>
                <a:lnTo>
                  <a:pt x="26" y="129"/>
                </a:lnTo>
                <a:lnTo>
                  <a:pt x="26" y="121"/>
                </a:lnTo>
                <a:lnTo>
                  <a:pt x="28" y="116"/>
                </a:lnTo>
                <a:lnTo>
                  <a:pt x="28" y="114"/>
                </a:lnTo>
                <a:lnTo>
                  <a:pt x="31" y="114"/>
                </a:lnTo>
                <a:lnTo>
                  <a:pt x="35" y="114"/>
                </a:lnTo>
                <a:lnTo>
                  <a:pt x="41" y="112"/>
                </a:lnTo>
                <a:lnTo>
                  <a:pt x="46" y="112"/>
                </a:lnTo>
                <a:lnTo>
                  <a:pt x="50" y="110"/>
                </a:lnTo>
                <a:lnTo>
                  <a:pt x="54" y="110"/>
                </a:lnTo>
                <a:lnTo>
                  <a:pt x="59" y="103"/>
                </a:lnTo>
                <a:lnTo>
                  <a:pt x="63" y="101"/>
                </a:lnTo>
                <a:lnTo>
                  <a:pt x="67" y="101"/>
                </a:lnTo>
                <a:lnTo>
                  <a:pt x="69" y="101"/>
                </a:lnTo>
                <a:lnTo>
                  <a:pt x="69" y="99"/>
                </a:lnTo>
                <a:lnTo>
                  <a:pt x="76" y="97"/>
                </a:lnTo>
                <a:lnTo>
                  <a:pt x="76" y="95"/>
                </a:lnTo>
                <a:lnTo>
                  <a:pt x="76" y="88"/>
                </a:lnTo>
                <a:lnTo>
                  <a:pt x="76" y="84"/>
                </a:lnTo>
                <a:lnTo>
                  <a:pt x="78" y="80"/>
                </a:lnTo>
                <a:lnTo>
                  <a:pt x="80" y="77"/>
                </a:lnTo>
                <a:lnTo>
                  <a:pt x="85" y="73"/>
                </a:lnTo>
                <a:lnTo>
                  <a:pt x="87" y="64"/>
                </a:lnTo>
                <a:lnTo>
                  <a:pt x="87" y="60"/>
                </a:lnTo>
                <a:lnTo>
                  <a:pt x="87" y="54"/>
                </a:lnTo>
                <a:lnTo>
                  <a:pt x="85" y="51"/>
                </a:lnTo>
                <a:lnTo>
                  <a:pt x="85" y="47"/>
                </a:lnTo>
                <a:lnTo>
                  <a:pt x="85" y="45"/>
                </a:lnTo>
                <a:lnTo>
                  <a:pt x="82" y="45"/>
                </a:lnTo>
                <a:lnTo>
                  <a:pt x="80" y="41"/>
                </a:lnTo>
                <a:lnTo>
                  <a:pt x="74" y="39"/>
                </a:lnTo>
                <a:lnTo>
                  <a:pt x="69" y="36"/>
                </a:lnTo>
                <a:lnTo>
                  <a:pt x="67" y="34"/>
                </a:lnTo>
                <a:lnTo>
                  <a:pt x="67" y="32"/>
                </a:lnTo>
                <a:lnTo>
                  <a:pt x="65" y="28"/>
                </a:lnTo>
                <a:lnTo>
                  <a:pt x="65" y="23"/>
                </a:lnTo>
                <a:lnTo>
                  <a:pt x="61" y="21"/>
                </a:lnTo>
                <a:lnTo>
                  <a:pt x="54" y="19"/>
                </a:lnTo>
                <a:lnTo>
                  <a:pt x="52" y="15"/>
                </a:lnTo>
                <a:lnTo>
                  <a:pt x="50" y="15"/>
                </a:lnTo>
                <a:lnTo>
                  <a:pt x="50" y="13"/>
                </a:lnTo>
                <a:lnTo>
                  <a:pt x="65" y="10"/>
                </a:lnTo>
                <a:lnTo>
                  <a:pt x="100" y="10"/>
                </a:lnTo>
                <a:lnTo>
                  <a:pt x="104" y="6"/>
                </a:lnTo>
                <a:lnTo>
                  <a:pt x="134" y="6"/>
                </a:lnTo>
                <a:lnTo>
                  <a:pt x="136" y="6"/>
                </a:lnTo>
                <a:lnTo>
                  <a:pt x="167" y="4"/>
                </a:lnTo>
                <a:lnTo>
                  <a:pt x="180" y="4"/>
                </a:lnTo>
                <a:lnTo>
                  <a:pt x="182" y="4"/>
                </a:lnTo>
                <a:lnTo>
                  <a:pt x="212" y="2"/>
                </a:lnTo>
                <a:lnTo>
                  <a:pt x="216" y="2"/>
                </a:lnTo>
                <a:lnTo>
                  <a:pt x="244" y="0"/>
                </a:lnTo>
                <a:lnTo>
                  <a:pt x="244" y="15"/>
                </a:lnTo>
                <a:lnTo>
                  <a:pt x="251" y="30"/>
                </a:lnTo>
                <a:lnTo>
                  <a:pt x="257" y="36"/>
                </a:lnTo>
                <a:lnTo>
                  <a:pt x="264" y="56"/>
                </a:lnTo>
                <a:lnTo>
                  <a:pt x="270" y="69"/>
                </a:lnTo>
                <a:lnTo>
                  <a:pt x="272" y="92"/>
                </a:lnTo>
                <a:lnTo>
                  <a:pt x="275" y="110"/>
                </a:lnTo>
                <a:lnTo>
                  <a:pt x="275" y="118"/>
                </a:lnTo>
                <a:lnTo>
                  <a:pt x="277" y="133"/>
                </a:lnTo>
                <a:lnTo>
                  <a:pt x="279" y="159"/>
                </a:lnTo>
                <a:lnTo>
                  <a:pt x="279" y="183"/>
                </a:lnTo>
                <a:lnTo>
                  <a:pt x="281" y="213"/>
                </a:lnTo>
                <a:lnTo>
                  <a:pt x="283" y="241"/>
                </a:lnTo>
                <a:lnTo>
                  <a:pt x="287" y="265"/>
                </a:lnTo>
                <a:lnTo>
                  <a:pt x="290" y="278"/>
                </a:lnTo>
                <a:lnTo>
                  <a:pt x="290" y="291"/>
                </a:lnTo>
                <a:lnTo>
                  <a:pt x="283" y="291"/>
                </a:lnTo>
                <a:lnTo>
                  <a:pt x="283" y="293"/>
                </a:lnTo>
                <a:lnTo>
                  <a:pt x="283" y="295"/>
                </a:lnTo>
                <a:lnTo>
                  <a:pt x="283" y="298"/>
                </a:lnTo>
                <a:lnTo>
                  <a:pt x="287" y="300"/>
                </a:lnTo>
                <a:lnTo>
                  <a:pt x="287" y="302"/>
                </a:lnTo>
                <a:lnTo>
                  <a:pt x="287" y="306"/>
                </a:lnTo>
                <a:lnTo>
                  <a:pt x="283" y="308"/>
                </a:lnTo>
                <a:lnTo>
                  <a:pt x="281" y="311"/>
                </a:lnTo>
                <a:lnTo>
                  <a:pt x="281" y="313"/>
                </a:lnTo>
                <a:lnTo>
                  <a:pt x="283" y="313"/>
                </a:lnTo>
                <a:lnTo>
                  <a:pt x="283" y="315"/>
                </a:lnTo>
                <a:lnTo>
                  <a:pt x="287" y="315"/>
                </a:lnTo>
                <a:lnTo>
                  <a:pt x="290" y="317"/>
                </a:lnTo>
                <a:lnTo>
                  <a:pt x="290" y="323"/>
                </a:lnTo>
                <a:lnTo>
                  <a:pt x="292" y="326"/>
                </a:lnTo>
                <a:lnTo>
                  <a:pt x="294" y="326"/>
                </a:lnTo>
                <a:lnTo>
                  <a:pt x="294" y="328"/>
                </a:lnTo>
                <a:lnTo>
                  <a:pt x="294" y="330"/>
                </a:lnTo>
                <a:lnTo>
                  <a:pt x="292" y="334"/>
                </a:lnTo>
                <a:lnTo>
                  <a:pt x="296" y="341"/>
                </a:lnTo>
                <a:lnTo>
                  <a:pt x="296" y="343"/>
                </a:lnTo>
                <a:lnTo>
                  <a:pt x="296" y="347"/>
                </a:lnTo>
                <a:lnTo>
                  <a:pt x="294" y="352"/>
                </a:lnTo>
                <a:lnTo>
                  <a:pt x="292" y="352"/>
                </a:lnTo>
                <a:lnTo>
                  <a:pt x="290" y="356"/>
                </a:lnTo>
                <a:lnTo>
                  <a:pt x="290" y="358"/>
                </a:lnTo>
                <a:lnTo>
                  <a:pt x="290" y="360"/>
                </a:lnTo>
                <a:lnTo>
                  <a:pt x="287" y="362"/>
                </a:lnTo>
                <a:lnTo>
                  <a:pt x="287" y="364"/>
                </a:lnTo>
                <a:lnTo>
                  <a:pt x="290" y="367"/>
                </a:lnTo>
                <a:lnTo>
                  <a:pt x="290" y="371"/>
                </a:lnTo>
                <a:lnTo>
                  <a:pt x="287" y="371"/>
                </a:lnTo>
                <a:lnTo>
                  <a:pt x="287" y="373"/>
                </a:lnTo>
                <a:lnTo>
                  <a:pt x="281" y="373"/>
                </a:lnTo>
                <a:lnTo>
                  <a:pt x="281" y="375"/>
                </a:lnTo>
                <a:lnTo>
                  <a:pt x="281" y="377"/>
                </a:lnTo>
                <a:lnTo>
                  <a:pt x="279" y="382"/>
                </a:lnTo>
                <a:lnTo>
                  <a:pt x="277" y="384"/>
                </a:lnTo>
                <a:lnTo>
                  <a:pt x="277" y="390"/>
                </a:lnTo>
                <a:lnTo>
                  <a:pt x="275" y="390"/>
                </a:lnTo>
                <a:lnTo>
                  <a:pt x="275" y="388"/>
                </a:lnTo>
                <a:lnTo>
                  <a:pt x="272" y="390"/>
                </a:lnTo>
                <a:lnTo>
                  <a:pt x="272" y="393"/>
                </a:lnTo>
                <a:lnTo>
                  <a:pt x="272" y="390"/>
                </a:lnTo>
                <a:lnTo>
                  <a:pt x="270" y="390"/>
                </a:lnTo>
                <a:lnTo>
                  <a:pt x="266" y="395"/>
                </a:lnTo>
                <a:lnTo>
                  <a:pt x="266" y="397"/>
                </a:lnTo>
                <a:lnTo>
                  <a:pt x="266" y="399"/>
                </a:lnTo>
                <a:lnTo>
                  <a:pt x="272" y="403"/>
                </a:lnTo>
                <a:lnTo>
                  <a:pt x="270" y="405"/>
                </a:lnTo>
                <a:lnTo>
                  <a:pt x="266" y="405"/>
                </a:lnTo>
                <a:lnTo>
                  <a:pt x="264" y="410"/>
                </a:lnTo>
                <a:lnTo>
                  <a:pt x="270" y="410"/>
                </a:lnTo>
                <a:lnTo>
                  <a:pt x="270" y="412"/>
                </a:lnTo>
                <a:lnTo>
                  <a:pt x="264" y="412"/>
                </a:lnTo>
                <a:lnTo>
                  <a:pt x="264" y="414"/>
                </a:lnTo>
                <a:lnTo>
                  <a:pt x="264" y="416"/>
                </a:lnTo>
                <a:lnTo>
                  <a:pt x="266" y="421"/>
                </a:lnTo>
                <a:lnTo>
                  <a:pt x="264" y="423"/>
                </a:lnTo>
                <a:lnTo>
                  <a:pt x="264" y="425"/>
                </a:lnTo>
                <a:lnTo>
                  <a:pt x="262" y="425"/>
                </a:lnTo>
                <a:lnTo>
                  <a:pt x="264" y="427"/>
                </a:lnTo>
                <a:lnTo>
                  <a:pt x="266" y="427"/>
                </a:lnTo>
                <a:lnTo>
                  <a:pt x="264" y="427"/>
                </a:lnTo>
                <a:lnTo>
                  <a:pt x="259" y="427"/>
                </a:lnTo>
                <a:lnTo>
                  <a:pt x="259" y="429"/>
                </a:lnTo>
                <a:lnTo>
                  <a:pt x="262" y="431"/>
                </a:lnTo>
                <a:lnTo>
                  <a:pt x="266" y="431"/>
                </a:lnTo>
                <a:lnTo>
                  <a:pt x="264" y="434"/>
                </a:lnTo>
                <a:lnTo>
                  <a:pt x="262" y="434"/>
                </a:lnTo>
                <a:lnTo>
                  <a:pt x="266" y="438"/>
                </a:lnTo>
                <a:lnTo>
                  <a:pt x="264" y="442"/>
                </a:lnTo>
                <a:lnTo>
                  <a:pt x="259" y="447"/>
                </a:lnTo>
                <a:lnTo>
                  <a:pt x="257" y="449"/>
                </a:lnTo>
                <a:lnTo>
                  <a:pt x="259" y="455"/>
                </a:lnTo>
                <a:lnTo>
                  <a:pt x="259" y="457"/>
                </a:lnTo>
                <a:lnTo>
                  <a:pt x="266" y="464"/>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34" name="Freeform 67">
            <a:extLst>
              <a:ext uri="{FF2B5EF4-FFF2-40B4-BE49-F238E27FC236}">
                <a16:creationId xmlns:a16="http://schemas.microsoft.com/office/drawing/2014/main" id="{46D3AD0F-ED69-4AFD-8AD4-C4871E9BA8F2}"/>
              </a:ext>
            </a:extLst>
          </p:cNvPr>
          <p:cNvSpPr>
            <a:spLocks/>
          </p:cNvSpPr>
          <p:nvPr>
            <p:custDataLst>
              <p:tags r:id="rId58"/>
            </p:custDataLst>
          </p:nvPr>
        </p:nvSpPr>
        <p:spPr bwMode="auto">
          <a:xfrm>
            <a:off x="8847317" y="3571321"/>
            <a:ext cx="39456" cy="38911"/>
          </a:xfrm>
          <a:custGeom>
            <a:avLst/>
            <a:gdLst>
              <a:gd name="T0" fmla="*/ 2147483647 w 19"/>
              <a:gd name="T1" fmla="*/ 2147483647 h 18"/>
              <a:gd name="T2" fmla="*/ 2147483647 w 19"/>
              <a:gd name="T3" fmla="*/ 2147483647 h 18"/>
              <a:gd name="T4" fmla="*/ 2147483647 w 19"/>
              <a:gd name="T5" fmla="*/ 2147483647 h 18"/>
              <a:gd name="T6" fmla="*/ 2147483647 w 19"/>
              <a:gd name="T7" fmla="*/ 2147483647 h 18"/>
              <a:gd name="T8" fmla="*/ 2147483647 w 19"/>
              <a:gd name="T9" fmla="*/ 2147483647 h 18"/>
              <a:gd name="T10" fmla="*/ 2147483647 w 19"/>
              <a:gd name="T11" fmla="*/ 2147483647 h 18"/>
              <a:gd name="T12" fmla="*/ 2147483647 w 19"/>
              <a:gd name="T13" fmla="*/ 2147483647 h 18"/>
              <a:gd name="T14" fmla="*/ 2147483647 w 19"/>
              <a:gd name="T15" fmla="*/ 2147483647 h 18"/>
              <a:gd name="T16" fmla="*/ 0 w 19"/>
              <a:gd name="T17" fmla="*/ 2147483647 h 18"/>
              <a:gd name="T18" fmla="*/ 2147483647 w 19"/>
              <a:gd name="T19" fmla="*/ 0 h 18"/>
              <a:gd name="T20" fmla="*/ 2147483647 w 19"/>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8"/>
              <a:gd name="T35" fmla="*/ 19 w 19"/>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8">
                <a:moveTo>
                  <a:pt x="8" y="3"/>
                </a:moveTo>
                <a:lnTo>
                  <a:pt x="19" y="7"/>
                </a:lnTo>
                <a:lnTo>
                  <a:pt x="8" y="18"/>
                </a:lnTo>
                <a:lnTo>
                  <a:pt x="11" y="15"/>
                </a:lnTo>
                <a:lnTo>
                  <a:pt x="8" y="15"/>
                </a:lnTo>
                <a:lnTo>
                  <a:pt x="8" y="13"/>
                </a:lnTo>
                <a:lnTo>
                  <a:pt x="6" y="11"/>
                </a:lnTo>
                <a:lnTo>
                  <a:pt x="6" y="7"/>
                </a:lnTo>
                <a:lnTo>
                  <a:pt x="0" y="7"/>
                </a:lnTo>
                <a:lnTo>
                  <a:pt x="6" y="0"/>
                </a:lnTo>
                <a:lnTo>
                  <a:pt x="8" y="3"/>
                </a:lnTo>
                <a:close/>
              </a:path>
            </a:pathLst>
          </a:custGeom>
          <a:noFill/>
          <a:ln w="9525">
            <a:noFill/>
            <a:round/>
            <a:headEnd/>
            <a:tailEnd/>
          </a:ln>
        </p:spPr>
        <p:txBody>
          <a:bodyPr/>
          <a:lstStyle/>
          <a:p>
            <a:endParaRPr lang="en-US" dirty="0">
              <a:solidFill>
                <a:prstClr val="black"/>
              </a:solidFill>
            </a:endParaRPr>
          </a:p>
        </p:txBody>
      </p:sp>
      <p:sp>
        <p:nvSpPr>
          <p:cNvPr id="235" name="Freeform 68">
            <a:extLst>
              <a:ext uri="{FF2B5EF4-FFF2-40B4-BE49-F238E27FC236}">
                <a16:creationId xmlns:a16="http://schemas.microsoft.com/office/drawing/2014/main" id="{237B6A91-ACB4-4D17-A016-6E812CDB6973}"/>
              </a:ext>
            </a:extLst>
          </p:cNvPr>
          <p:cNvSpPr>
            <a:spLocks/>
          </p:cNvSpPr>
          <p:nvPr>
            <p:custDataLst>
              <p:tags r:id="rId59"/>
            </p:custDataLst>
          </p:nvPr>
        </p:nvSpPr>
        <p:spPr bwMode="auto">
          <a:xfrm>
            <a:off x="8847317" y="3571321"/>
            <a:ext cx="39456" cy="38911"/>
          </a:xfrm>
          <a:custGeom>
            <a:avLst/>
            <a:gdLst>
              <a:gd name="T0" fmla="*/ 2147483647 w 19"/>
              <a:gd name="T1" fmla="*/ 2147483647 h 18"/>
              <a:gd name="T2" fmla="*/ 2147483647 w 19"/>
              <a:gd name="T3" fmla="*/ 2147483647 h 18"/>
              <a:gd name="T4" fmla="*/ 2147483647 w 19"/>
              <a:gd name="T5" fmla="*/ 2147483647 h 18"/>
              <a:gd name="T6" fmla="*/ 2147483647 w 19"/>
              <a:gd name="T7" fmla="*/ 2147483647 h 18"/>
              <a:gd name="T8" fmla="*/ 2147483647 w 19"/>
              <a:gd name="T9" fmla="*/ 2147483647 h 18"/>
              <a:gd name="T10" fmla="*/ 2147483647 w 19"/>
              <a:gd name="T11" fmla="*/ 2147483647 h 18"/>
              <a:gd name="T12" fmla="*/ 2147483647 w 19"/>
              <a:gd name="T13" fmla="*/ 2147483647 h 18"/>
              <a:gd name="T14" fmla="*/ 2147483647 w 19"/>
              <a:gd name="T15" fmla="*/ 2147483647 h 18"/>
              <a:gd name="T16" fmla="*/ 0 w 19"/>
              <a:gd name="T17" fmla="*/ 2147483647 h 18"/>
              <a:gd name="T18" fmla="*/ 2147483647 w 19"/>
              <a:gd name="T19" fmla="*/ 0 h 18"/>
              <a:gd name="T20" fmla="*/ 2147483647 w 19"/>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8"/>
              <a:gd name="T35" fmla="*/ 19 w 19"/>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8">
                <a:moveTo>
                  <a:pt x="8" y="3"/>
                </a:moveTo>
                <a:lnTo>
                  <a:pt x="19" y="7"/>
                </a:lnTo>
                <a:lnTo>
                  <a:pt x="8" y="18"/>
                </a:lnTo>
                <a:lnTo>
                  <a:pt x="11" y="15"/>
                </a:lnTo>
                <a:lnTo>
                  <a:pt x="8" y="15"/>
                </a:lnTo>
                <a:lnTo>
                  <a:pt x="8" y="13"/>
                </a:lnTo>
                <a:lnTo>
                  <a:pt x="6" y="11"/>
                </a:lnTo>
                <a:lnTo>
                  <a:pt x="6" y="7"/>
                </a:lnTo>
                <a:lnTo>
                  <a:pt x="0" y="7"/>
                </a:lnTo>
                <a:lnTo>
                  <a:pt x="6" y="0"/>
                </a:lnTo>
                <a:lnTo>
                  <a:pt x="8" y="3"/>
                </a:lnTo>
              </a:path>
            </a:pathLst>
          </a:custGeom>
          <a:noFill/>
          <a:ln w="6350">
            <a:solidFill>
              <a:srgbClr val="404040"/>
            </a:solidFill>
            <a:round/>
            <a:headEnd/>
            <a:tailEnd/>
          </a:ln>
        </p:spPr>
        <p:txBody>
          <a:bodyPr/>
          <a:lstStyle/>
          <a:p>
            <a:endParaRPr lang="en-US" dirty="0">
              <a:solidFill>
                <a:prstClr val="black"/>
              </a:solidFill>
            </a:endParaRPr>
          </a:p>
        </p:txBody>
      </p:sp>
      <p:sp>
        <p:nvSpPr>
          <p:cNvPr id="236" name="Freeform 69">
            <a:extLst>
              <a:ext uri="{FF2B5EF4-FFF2-40B4-BE49-F238E27FC236}">
                <a16:creationId xmlns:a16="http://schemas.microsoft.com/office/drawing/2014/main" id="{290DC2C7-3BCB-4561-A25C-3E4EBEAC065F}"/>
              </a:ext>
            </a:extLst>
          </p:cNvPr>
          <p:cNvSpPr>
            <a:spLocks/>
          </p:cNvSpPr>
          <p:nvPr>
            <p:custDataLst>
              <p:tags r:id="rId60"/>
            </p:custDataLst>
          </p:nvPr>
        </p:nvSpPr>
        <p:spPr bwMode="auto">
          <a:xfrm>
            <a:off x="9009524" y="3357313"/>
            <a:ext cx="155632" cy="274535"/>
          </a:xfrm>
          <a:custGeom>
            <a:avLst/>
            <a:gdLst>
              <a:gd name="T0" fmla="*/ 2147483647 w 77"/>
              <a:gd name="T1" fmla="*/ 2147483647 h 127"/>
              <a:gd name="T2" fmla="*/ 2147483647 w 77"/>
              <a:gd name="T3" fmla="*/ 2147483647 h 127"/>
              <a:gd name="T4" fmla="*/ 2147483647 w 77"/>
              <a:gd name="T5" fmla="*/ 2147483647 h 127"/>
              <a:gd name="T6" fmla="*/ 2147483647 w 77"/>
              <a:gd name="T7" fmla="*/ 2147483647 h 127"/>
              <a:gd name="T8" fmla="*/ 2147483647 w 77"/>
              <a:gd name="T9" fmla="*/ 2147483647 h 127"/>
              <a:gd name="T10" fmla="*/ 2147483647 w 77"/>
              <a:gd name="T11" fmla="*/ 2147483647 h 127"/>
              <a:gd name="T12" fmla="*/ 2147483647 w 77"/>
              <a:gd name="T13" fmla="*/ 2147483647 h 127"/>
              <a:gd name="T14" fmla="*/ 0 w 77"/>
              <a:gd name="T15" fmla="*/ 2147483647 h 127"/>
              <a:gd name="T16" fmla="*/ 0 w 77"/>
              <a:gd name="T17" fmla="*/ 2147483647 h 127"/>
              <a:gd name="T18" fmla="*/ 2147483647 w 77"/>
              <a:gd name="T19" fmla="*/ 2147483647 h 127"/>
              <a:gd name="T20" fmla="*/ 2147483647 w 77"/>
              <a:gd name="T21" fmla="*/ 2147483647 h 127"/>
              <a:gd name="T22" fmla="*/ 2147483647 w 77"/>
              <a:gd name="T23" fmla="*/ 0 h 127"/>
              <a:gd name="T24" fmla="*/ 2147483647 w 77"/>
              <a:gd name="T25" fmla="*/ 0 h 127"/>
              <a:gd name="T26" fmla="*/ 2147483647 w 77"/>
              <a:gd name="T27" fmla="*/ 0 h 127"/>
              <a:gd name="T28" fmla="*/ 2147483647 w 77"/>
              <a:gd name="T29" fmla="*/ 2147483647 h 127"/>
              <a:gd name="T30" fmla="*/ 2147483647 w 77"/>
              <a:gd name="T31" fmla="*/ 2147483647 h 127"/>
              <a:gd name="T32" fmla="*/ 2147483647 w 77"/>
              <a:gd name="T33" fmla="*/ 2147483647 h 127"/>
              <a:gd name="T34" fmla="*/ 2147483647 w 77"/>
              <a:gd name="T35" fmla="*/ 2147483647 h 127"/>
              <a:gd name="T36" fmla="*/ 2147483647 w 77"/>
              <a:gd name="T37" fmla="*/ 2147483647 h 127"/>
              <a:gd name="T38" fmla="*/ 2147483647 w 77"/>
              <a:gd name="T39" fmla="*/ 2147483647 h 127"/>
              <a:gd name="T40" fmla="*/ 2147483647 w 77"/>
              <a:gd name="T41" fmla="*/ 2147483647 h 127"/>
              <a:gd name="T42" fmla="*/ 2147483647 w 77"/>
              <a:gd name="T43" fmla="*/ 2147483647 h 127"/>
              <a:gd name="T44" fmla="*/ 2147483647 w 77"/>
              <a:gd name="T45" fmla="*/ 2147483647 h 127"/>
              <a:gd name="T46" fmla="*/ 2147483647 w 77"/>
              <a:gd name="T47" fmla="*/ 2147483647 h 127"/>
              <a:gd name="T48" fmla="*/ 2147483647 w 77"/>
              <a:gd name="T49" fmla="*/ 2147483647 h 127"/>
              <a:gd name="T50" fmla="*/ 2147483647 w 77"/>
              <a:gd name="T51" fmla="*/ 2147483647 h 127"/>
              <a:gd name="T52" fmla="*/ 2147483647 w 77"/>
              <a:gd name="T53" fmla="*/ 2147483647 h 127"/>
              <a:gd name="T54" fmla="*/ 2147483647 w 77"/>
              <a:gd name="T55" fmla="*/ 2147483647 h 127"/>
              <a:gd name="T56" fmla="*/ 2147483647 w 77"/>
              <a:gd name="T57" fmla="*/ 2147483647 h 127"/>
              <a:gd name="T58" fmla="*/ 2147483647 w 77"/>
              <a:gd name="T59" fmla="*/ 2147483647 h 127"/>
              <a:gd name="T60" fmla="*/ 2147483647 w 77"/>
              <a:gd name="T61" fmla="*/ 2147483647 h 127"/>
              <a:gd name="T62" fmla="*/ 2147483647 w 77"/>
              <a:gd name="T63" fmla="*/ 2147483647 h 127"/>
              <a:gd name="T64" fmla="*/ 2147483647 w 77"/>
              <a:gd name="T65" fmla="*/ 2147483647 h 127"/>
              <a:gd name="T66" fmla="*/ 2147483647 w 77"/>
              <a:gd name="T67" fmla="*/ 2147483647 h 1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7"/>
              <a:gd name="T103" fmla="*/ 0 h 127"/>
              <a:gd name="T104" fmla="*/ 77 w 77"/>
              <a:gd name="T105" fmla="*/ 127 h 1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7" h="127">
                <a:moveTo>
                  <a:pt x="28" y="119"/>
                </a:moveTo>
                <a:lnTo>
                  <a:pt x="28" y="112"/>
                </a:lnTo>
                <a:lnTo>
                  <a:pt x="23" y="95"/>
                </a:lnTo>
                <a:lnTo>
                  <a:pt x="13" y="67"/>
                </a:lnTo>
                <a:lnTo>
                  <a:pt x="10" y="56"/>
                </a:lnTo>
                <a:lnTo>
                  <a:pt x="10" y="52"/>
                </a:lnTo>
                <a:lnTo>
                  <a:pt x="8" y="45"/>
                </a:lnTo>
                <a:lnTo>
                  <a:pt x="0" y="15"/>
                </a:lnTo>
                <a:lnTo>
                  <a:pt x="0" y="13"/>
                </a:lnTo>
                <a:lnTo>
                  <a:pt x="4" y="7"/>
                </a:lnTo>
                <a:lnTo>
                  <a:pt x="6" y="2"/>
                </a:lnTo>
                <a:lnTo>
                  <a:pt x="8" y="0"/>
                </a:lnTo>
                <a:lnTo>
                  <a:pt x="13" y="0"/>
                </a:lnTo>
                <a:lnTo>
                  <a:pt x="21" y="0"/>
                </a:lnTo>
                <a:lnTo>
                  <a:pt x="26" y="2"/>
                </a:lnTo>
                <a:lnTo>
                  <a:pt x="23" y="4"/>
                </a:lnTo>
                <a:lnTo>
                  <a:pt x="21" y="7"/>
                </a:lnTo>
                <a:lnTo>
                  <a:pt x="23" y="9"/>
                </a:lnTo>
                <a:lnTo>
                  <a:pt x="21" y="9"/>
                </a:lnTo>
                <a:lnTo>
                  <a:pt x="15" y="22"/>
                </a:lnTo>
                <a:lnTo>
                  <a:pt x="17" y="24"/>
                </a:lnTo>
                <a:lnTo>
                  <a:pt x="17" y="35"/>
                </a:lnTo>
                <a:lnTo>
                  <a:pt x="26" y="41"/>
                </a:lnTo>
                <a:lnTo>
                  <a:pt x="34" y="50"/>
                </a:lnTo>
                <a:lnTo>
                  <a:pt x="41" y="67"/>
                </a:lnTo>
                <a:lnTo>
                  <a:pt x="47" y="71"/>
                </a:lnTo>
                <a:lnTo>
                  <a:pt x="49" y="78"/>
                </a:lnTo>
                <a:lnTo>
                  <a:pt x="60" y="86"/>
                </a:lnTo>
                <a:lnTo>
                  <a:pt x="67" y="86"/>
                </a:lnTo>
                <a:lnTo>
                  <a:pt x="77" y="119"/>
                </a:lnTo>
                <a:lnTo>
                  <a:pt x="75" y="119"/>
                </a:lnTo>
                <a:lnTo>
                  <a:pt x="56" y="121"/>
                </a:lnTo>
                <a:lnTo>
                  <a:pt x="30" y="127"/>
                </a:lnTo>
                <a:lnTo>
                  <a:pt x="28" y="119"/>
                </a:lnTo>
                <a:close/>
              </a:path>
            </a:pathLst>
          </a:custGeom>
          <a:noFill/>
          <a:ln w="9525">
            <a:noFill/>
            <a:round/>
            <a:headEnd/>
            <a:tailEnd/>
          </a:ln>
        </p:spPr>
        <p:txBody>
          <a:bodyPr/>
          <a:lstStyle/>
          <a:p>
            <a:endParaRPr lang="en-US" dirty="0">
              <a:solidFill>
                <a:prstClr val="black"/>
              </a:solidFill>
            </a:endParaRPr>
          </a:p>
        </p:txBody>
      </p:sp>
      <p:sp>
        <p:nvSpPr>
          <p:cNvPr id="237" name="Freeform 70">
            <a:extLst>
              <a:ext uri="{FF2B5EF4-FFF2-40B4-BE49-F238E27FC236}">
                <a16:creationId xmlns:a16="http://schemas.microsoft.com/office/drawing/2014/main" id="{815E4FC4-16B6-401D-A17A-0294D6DADB4F}"/>
              </a:ext>
            </a:extLst>
          </p:cNvPr>
          <p:cNvSpPr>
            <a:spLocks/>
          </p:cNvSpPr>
          <p:nvPr>
            <p:custDataLst>
              <p:tags r:id="rId61"/>
            </p:custDataLst>
          </p:nvPr>
        </p:nvSpPr>
        <p:spPr bwMode="auto">
          <a:xfrm>
            <a:off x="9009524" y="3357313"/>
            <a:ext cx="155632" cy="274535"/>
          </a:xfrm>
          <a:custGeom>
            <a:avLst/>
            <a:gdLst>
              <a:gd name="T0" fmla="*/ 2147483647 w 77"/>
              <a:gd name="T1" fmla="*/ 2147483647 h 127"/>
              <a:gd name="T2" fmla="*/ 2147483647 w 77"/>
              <a:gd name="T3" fmla="*/ 2147483647 h 127"/>
              <a:gd name="T4" fmla="*/ 2147483647 w 77"/>
              <a:gd name="T5" fmla="*/ 2147483647 h 127"/>
              <a:gd name="T6" fmla="*/ 2147483647 w 77"/>
              <a:gd name="T7" fmla="*/ 2147483647 h 127"/>
              <a:gd name="T8" fmla="*/ 2147483647 w 77"/>
              <a:gd name="T9" fmla="*/ 2147483647 h 127"/>
              <a:gd name="T10" fmla="*/ 2147483647 w 77"/>
              <a:gd name="T11" fmla="*/ 2147483647 h 127"/>
              <a:gd name="T12" fmla="*/ 2147483647 w 77"/>
              <a:gd name="T13" fmla="*/ 2147483647 h 127"/>
              <a:gd name="T14" fmla="*/ 0 w 77"/>
              <a:gd name="T15" fmla="*/ 2147483647 h 127"/>
              <a:gd name="T16" fmla="*/ 0 w 77"/>
              <a:gd name="T17" fmla="*/ 2147483647 h 127"/>
              <a:gd name="T18" fmla="*/ 2147483647 w 77"/>
              <a:gd name="T19" fmla="*/ 2147483647 h 127"/>
              <a:gd name="T20" fmla="*/ 2147483647 w 77"/>
              <a:gd name="T21" fmla="*/ 2147483647 h 127"/>
              <a:gd name="T22" fmla="*/ 2147483647 w 77"/>
              <a:gd name="T23" fmla="*/ 0 h 127"/>
              <a:gd name="T24" fmla="*/ 2147483647 w 77"/>
              <a:gd name="T25" fmla="*/ 0 h 127"/>
              <a:gd name="T26" fmla="*/ 2147483647 w 77"/>
              <a:gd name="T27" fmla="*/ 0 h 127"/>
              <a:gd name="T28" fmla="*/ 2147483647 w 77"/>
              <a:gd name="T29" fmla="*/ 2147483647 h 127"/>
              <a:gd name="T30" fmla="*/ 2147483647 w 77"/>
              <a:gd name="T31" fmla="*/ 2147483647 h 127"/>
              <a:gd name="T32" fmla="*/ 2147483647 w 77"/>
              <a:gd name="T33" fmla="*/ 2147483647 h 127"/>
              <a:gd name="T34" fmla="*/ 2147483647 w 77"/>
              <a:gd name="T35" fmla="*/ 2147483647 h 127"/>
              <a:gd name="T36" fmla="*/ 2147483647 w 77"/>
              <a:gd name="T37" fmla="*/ 2147483647 h 127"/>
              <a:gd name="T38" fmla="*/ 2147483647 w 77"/>
              <a:gd name="T39" fmla="*/ 2147483647 h 127"/>
              <a:gd name="T40" fmla="*/ 2147483647 w 77"/>
              <a:gd name="T41" fmla="*/ 2147483647 h 127"/>
              <a:gd name="T42" fmla="*/ 2147483647 w 77"/>
              <a:gd name="T43" fmla="*/ 2147483647 h 127"/>
              <a:gd name="T44" fmla="*/ 2147483647 w 77"/>
              <a:gd name="T45" fmla="*/ 2147483647 h 127"/>
              <a:gd name="T46" fmla="*/ 2147483647 w 77"/>
              <a:gd name="T47" fmla="*/ 2147483647 h 127"/>
              <a:gd name="T48" fmla="*/ 2147483647 w 77"/>
              <a:gd name="T49" fmla="*/ 2147483647 h 127"/>
              <a:gd name="T50" fmla="*/ 2147483647 w 77"/>
              <a:gd name="T51" fmla="*/ 2147483647 h 127"/>
              <a:gd name="T52" fmla="*/ 2147483647 w 77"/>
              <a:gd name="T53" fmla="*/ 2147483647 h 127"/>
              <a:gd name="T54" fmla="*/ 2147483647 w 77"/>
              <a:gd name="T55" fmla="*/ 2147483647 h 127"/>
              <a:gd name="T56" fmla="*/ 2147483647 w 77"/>
              <a:gd name="T57" fmla="*/ 2147483647 h 127"/>
              <a:gd name="T58" fmla="*/ 2147483647 w 77"/>
              <a:gd name="T59" fmla="*/ 2147483647 h 127"/>
              <a:gd name="T60" fmla="*/ 2147483647 w 77"/>
              <a:gd name="T61" fmla="*/ 2147483647 h 127"/>
              <a:gd name="T62" fmla="*/ 2147483647 w 77"/>
              <a:gd name="T63" fmla="*/ 2147483647 h 127"/>
              <a:gd name="T64" fmla="*/ 2147483647 w 77"/>
              <a:gd name="T65" fmla="*/ 2147483647 h 127"/>
              <a:gd name="T66" fmla="*/ 2147483647 w 77"/>
              <a:gd name="T67" fmla="*/ 2147483647 h 1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7"/>
              <a:gd name="T103" fmla="*/ 0 h 127"/>
              <a:gd name="T104" fmla="*/ 77 w 77"/>
              <a:gd name="T105" fmla="*/ 127 h 1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7" h="127">
                <a:moveTo>
                  <a:pt x="28" y="119"/>
                </a:moveTo>
                <a:lnTo>
                  <a:pt x="28" y="112"/>
                </a:lnTo>
                <a:lnTo>
                  <a:pt x="23" y="95"/>
                </a:lnTo>
                <a:lnTo>
                  <a:pt x="13" y="67"/>
                </a:lnTo>
                <a:lnTo>
                  <a:pt x="10" y="56"/>
                </a:lnTo>
                <a:lnTo>
                  <a:pt x="10" y="52"/>
                </a:lnTo>
                <a:lnTo>
                  <a:pt x="8" y="45"/>
                </a:lnTo>
                <a:lnTo>
                  <a:pt x="0" y="15"/>
                </a:lnTo>
                <a:lnTo>
                  <a:pt x="0" y="13"/>
                </a:lnTo>
                <a:lnTo>
                  <a:pt x="4" y="7"/>
                </a:lnTo>
                <a:lnTo>
                  <a:pt x="6" y="2"/>
                </a:lnTo>
                <a:lnTo>
                  <a:pt x="8" y="0"/>
                </a:lnTo>
                <a:lnTo>
                  <a:pt x="13" y="0"/>
                </a:lnTo>
                <a:lnTo>
                  <a:pt x="21" y="0"/>
                </a:lnTo>
                <a:lnTo>
                  <a:pt x="26" y="2"/>
                </a:lnTo>
                <a:lnTo>
                  <a:pt x="23" y="4"/>
                </a:lnTo>
                <a:lnTo>
                  <a:pt x="21" y="7"/>
                </a:lnTo>
                <a:lnTo>
                  <a:pt x="23" y="9"/>
                </a:lnTo>
                <a:lnTo>
                  <a:pt x="21" y="9"/>
                </a:lnTo>
                <a:lnTo>
                  <a:pt x="15" y="22"/>
                </a:lnTo>
                <a:lnTo>
                  <a:pt x="17" y="24"/>
                </a:lnTo>
                <a:lnTo>
                  <a:pt x="17" y="35"/>
                </a:lnTo>
                <a:lnTo>
                  <a:pt x="26" y="41"/>
                </a:lnTo>
                <a:lnTo>
                  <a:pt x="34" y="50"/>
                </a:lnTo>
                <a:lnTo>
                  <a:pt x="41" y="67"/>
                </a:lnTo>
                <a:lnTo>
                  <a:pt x="47" y="71"/>
                </a:lnTo>
                <a:lnTo>
                  <a:pt x="49" y="78"/>
                </a:lnTo>
                <a:lnTo>
                  <a:pt x="60" y="86"/>
                </a:lnTo>
                <a:lnTo>
                  <a:pt x="67" y="86"/>
                </a:lnTo>
                <a:lnTo>
                  <a:pt x="77" y="119"/>
                </a:lnTo>
                <a:lnTo>
                  <a:pt x="75" y="119"/>
                </a:lnTo>
                <a:lnTo>
                  <a:pt x="56" y="121"/>
                </a:lnTo>
                <a:lnTo>
                  <a:pt x="30" y="127"/>
                </a:lnTo>
                <a:lnTo>
                  <a:pt x="28" y="119"/>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38" name="Freeform 71">
            <a:extLst>
              <a:ext uri="{FF2B5EF4-FFF2-40B4-BE49-F238E27FC236}">
                <a16:creationId xmlns:a16="http://schemas.microsoft.com/office/drawing/2014/main" id="{A97B0028-FE6D-44F5-8BCC-11F61E425620}"/>
              </a:ext>
            </a:extLst>
          </p:cNvPr>
          <p:cNvSpPr>
            <a:spLocks/>
          </p:cNvSpPr>
          <p:nvPr>
            <p:custDataLst>
              <p:tags r:id="rId62"/>
            </p:custDataLst>
          </p:nvPr>
        </p:nvSpPr>
        <p:spPr bwMode="auto">
          <a:xfrm>
            <a:off x="8075756" y="3337857"/>
            <a:ext cx="670753" cy="719847"/>
          </a:xfrm>
          <a:custGeom>
            <a:avLst/>
            <a:gdLst>
              <a:gd name="T0" fmla="*/ 2147483647 w 332"/>
              <a:gd name="T1" fmla="*/ 2147483647 h 333"/>
              <a:gd name="T2" fmla="*/ 2147483647 w 332"/>
              <a:gd name="T3" fmla="*/ 2147483647 h 333"/>
              <a:gd name="T4" fmla="*/ 2147483647 w 332"/>
              <a:gd name="T5" fmla="*/ 2147483647 h 333"/>
              <a:gd name="T6" fmla="*/ 2147483647 w 332"/>
              <a:gd name="T7" fmla="*/ 2147483647 h 333"/>
              <a:gd name="T8" fmla="*/ 2147483647 w 332"/>
              <a:gd name="T9" fmla="*/ 2147483647 h 333"/>
              <a:gd name="T10" fmla="*/ 2147483647 w 332"/>
              <a:gd name="T11" fmla="*/ 2147483647 h 333"/>
              <a:gd name="T12" fmla="*/ 2147483647 w 332"/>
              <a:gd name="T13" fmla="*/ 2147483647 h 333"/>
              <a:gd name="T14" fmla="*/ 2147483647 w 332"/>
              <a:gd name="T15" fmla="*/ 2147483647 h 333"/>
              <a:gd name="T16" fmla="*/ 2147483647 w 332"/>
              <a:gd name="T17" fmla="*/ 2147483647 h 333"/>
              <a:gd name="T18" fmla="*/ 2147483647 w 332"/>
              <a:gd name="T19" fmla="*/ 2147483647 h 333"/>
              <a:gd name="T20" fmla="*/ 2147483647 w 332"/>
              <a:gd name="T21" fmla="*/ 2147483647 h 333"/>
              <a:gd name="T22" fmla="*/ 2147483647 w 332"/>
              <a:gd name="T23" fmla="*/ 2147483647 h 333"/>
              <a:gd name="T24" fmla="*/ 2147483647 w 332"/>
              <a:gd name="T25" fmla="*/ 2147483647 h 333"/>
              <a:gd name="T26" fmla="*/ 2147483647 w 332"/>
              <a:gd name="T27" fmla="*/ 2147483647 h 333"/>
              <a:gd name="T28" fmla="*/ 2147483647 w 332"/>
              <a:gd name="T29" fmla="*/ 2147483647 h 333"/>
              <a:gd name="T30" fmla="*/ 2147483647 w 332"/>
              <a:gd name="T31" fmla="*/ 2147483647 h 333"/>
              <a:gd name="T32" fmla="*/ 2147483647 w 332"/>
              <a:gd name="T33" fmla="*/ 2147483647 h 333"/>
              <a:gd name="T34" fmla="*/ 2147483647 w 332"/>
              <a:gd name="T35" fmla="*/ 2147483647 h 333"/>
              <a:gd name="T36" fmla="*/ 2147483647 w 332"/>
              <a:gd name="T37" fmla="*/ 2147483647 h 333"/>
              <a:gd name="T38" fmla="*/ 0 w 332"/>
              <a:gd name="T39" fmla="*/ 2147483647 h 333"/>
              <a:gd name="T40" fmla="*/ 2147483647 w 332"/>
              <a:gd name="T41" fmla="*/ 2147483647 h 333"/>
              <a:gd name="T42" fmla="*/ 2147483647 w 332"/>
              <a:gd name="T43" fmla="*/ 2147483647 h 333"/>
              <a:gd name="T44" fmla="*/ 2147483647 w 332"/>
              <a:gd name="T45" fmla="*/ 2147483647 h 333"/>
              <a:gd name="T46" fmla="*/ 2147483647 w 332"/>
              <a:gd name="T47" fmla="*/ 2147483647 h 333"/>
              <a:gd name="T48" fmla="*/ 2147483647 w 332"/>
              <a:gd name="T49" fmla="*/ 2147483647 h 333"/>
              <a:gd name="T50" fmla="*/ 2147483647 w 332"/>
              <a:gd name="T51" fmla="*/ 2147483647 h 333"/>
              <a:gd name="T52" fmla="*/ 2147483647 w 332"/>
              <a:gd name="T53" fmla="*/ 2147483647 h 333"/>
              <a:gd name="T54" fmla="*/ 2147483647 w 332"/>
              <a:gd name="T55" fmla="*/ 2147483647 h 333"/>
              <a:gd name="T56" fmla="*/ 2147483647 w 332"/>
              <a:gd name="T57" fmla="*/ 2147483647 h 333"/>
              <a:gd name="T58" fmla="*/ 2147483647 w 332"/>
              <a:gd name="T59" fmla="*/ 2147483647 h 333"/>
              <a:gd name="T60" fmla="*/ 2147483647 w 332"/>
              <a:gd name="T61" fmla="*/ 2147483647 h 333"/>
              <a:gd name="T62" fmla="*/ 2147483647 w 332"/>
              <a:gd name="T63" fmla="*/ 2147483647 h 333"/>
              <a:gd name="T64" fmla="*/ 2147483647 w 332"/>
              <a:gd name="T65" fmla="*/ 2147483647 h 333"/>
              <a:gd name="T66" fmla="*/ 2147483647 w 332"/>
              <a:gd name="T67" fmla="*/ 2147483647 h 333"/>
              <a:gd name="T68" fmla="*/ 2147483647 w 332"/>
              <a:gd name="T69" fmla="*/ 2147483647 h 333"/>
              <a:gd name="T70" fmla="*/ 2147483647 w 332"/>
              <a:gd name="T71" fmla="*/ 2147483647 h 333"/>
              <a:gd name="T72" fmla="*/ 2147483647 w 332"/>
              <a:gd name="T73" fmla="*/ 2147483647 h 333"/>
              <a:gd name="T74" fmla="*/ 2147483647 w 332"/>
              <a:gd name="T75" fmla="*/ 2147483647 h 333"/>
              <a:gd name="T76" fmla="*/ 2147483647 w 332"/>
              <a:gd name="T77" fmla="*/ 2147483647 h 333"/>
              <a:gd name="T78" fmla="*/ 2147483647 w 332"/>
              <a:gd name="T79" fmla="*/ 2147483647 h 333"/>
              <a:gd name="T80" fmla="*/ 2147483647 w 332"/>
              <a:gd name="T81" fmla="*/ 2147483647 h 333"/>
              <a:gd name="T82" fmla="*/ 2147483647 w 332"/>
              <a:gd name="T83" fmla="*/ 2147483647 h 333"/>
              <a:gd name="T84" fmla="*/ 2147483647 w 332"/>
              <a:gd name="T85" fmla="*/ 2147483647 h 333"/>
              <a:gd name="T86" fmla="*/ 2147483647 w 332"/>
              <a:gd name="T87" fmla="*/ 2147483647 h 333"/>
              <a:gd name="T88" fmla="*/ 2147483647 w 332"/>
              <a:gd name="T89" fmla="*/ 2147483647 h 333"/>
              <a:gd name="T90" fmla="*/ 2147483647 w 332"/>
              <a:gd name="T91" fmla="*/ 2147483647 h 333"/>
              <a:gd name="T92" fmla="*/ 2147483647 w 332"/>
              <a:gd name="T93" fmla="*/ 2147483647 h 333"/>
              <a:gd name="T94" fmla="*/ 2147483647 w 332"/>
              <a:gd name="T95" fmla="*/ 2147483647 h 333"/>
              <a:gd name="T96" fmla="*/ 2147483647 w 332"/>
              <a:gd name="T97" fmla="*/ 2147483647 h 333"/>
              <a:gd name="T98" fmla="*/ 2147483647 w 332"/>
              <a:gd name="T99" fmla="*/ 2147483647 h 333"/>
              <a:gd name="T100" fmla="*/ 2147483647 w 332"/>
              <a:gd name="T101" fmla="*/ 2147483647 h 333"/>
              <a:gd name="T102" fmla="*/ 2147483647 w 332"/>
              <a:gd name="T103" fmla="*/ 2147483647 h 333"/>
              <a:gd name="T104" fmla="*/ 2147483647 w 332"/>
              <a:gd name="T105" fmla="*/ 2147483647 h 333"/>
              <a:gd name="T106" fmla="*/ 2147483647 w 332"/>
              <a:gd name="T107" fmla="*/ 2147483647 h 333"/>
              <a:gd name="T108" fmla="*/ 2147483647 w 332"/>
              <a:gd name="T109" fmla="*/ 2147483647 h 333"/>
              <a:gd name="T110" fmla="*/ 2147483647 w 332"/>
              <a:gd name="T111" fmla="*/ 2147483647 h 3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32"/>
              <a:gd name="T169" fmla="*/ 0 h 333"/>
              <a:gd name="T170" fmla="*/ 332 w 332"/>
              <a:gd name="T171" fmla="*/ 333 h 3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32" h="333">
                <a:moveTo>
                  <a:pt x="241" y="186"/>
                </a:moveTo>
                <a:lnTo>
                  <a:pt x="239" y="190"/>
                </a:lnTo>
                <a:lnTo>
                  <a:pt x="237" y="193"/>
                </a:lnTo>
                <a:lnTo>
                  <a:pt x="224" y="190"/>
                </a:lnTo>
                <a:lnTo>
                  <a:pt x="218" y="184"/>
                </a:lnTo>
                <a:lnTo>
                  <a:pt x="209" y="180"/>
                </a:lnTo>
                <a:lnTo>
                  <a:pt x="209" y="186"/>
                </a:lnTo>
                <a:lnTo>
                  <a:pt x="209" y="188"/>
                </a:lnTo>
                <a:lnTo>
                  <a:pt x="207" y="188"/>
                </a:lnTo>
                <a:lnTo>
                  <a:pt x="209" y="195"/>
                </a:lnTo>
                <a:lnTo>
                  <a:pt x="207" y="201"/>
                </a:lnTo>
                <a:lnTo>
                  <a:pt x="207" y="203"/>
                </a:lnTo>
                <a:lnTo>
                  <a:pt x="205" y="203"/>
                </a:lnTo>
                <a:lnTo>
                  <a:pt x="205" y="208"/>
                </a:lnTo>
                <a:lnTo>
                  <a:pt x="205" y="210"/>
                </a:lnTo>
                <a:lnTo>
                  <a:pt x="205" y="212"/>
                </a:lnTo>
                <a:lnTo>
                  <a:pt x="200" y="212"/>
                </a:lnTo>
                <a:lnTo>
                  <a:pt x="196" y="221"/>
                </a:lnTo>
                <a:lnTo>
                  <a:pt x="196" y="223"/>
                </a:lnTo>
                <a:lnTo>
                  <a:pt x="196" y="227"/>
                </a:lnTo>
                <a:lnTo>
                  <a:pt x="196" y="234"/>
                </a:lnTo>
                <a:lnTo>
                  <a:pt x="196" y="236"/>
                </a:lnTo>
                <a:lnTo>
                  <a:pt x="194" y="240"/>
                </a:lnTo>
                <a:lnTo>
                  <a:pt x="190" y="242"/>
                </a:lnTo>
                <a:lnTo>
                  <a:pt x="185" y="247"/>
                </a:lnTo>
                <a:lnTo>
                  <a:pt x="185" y="251"/>
                </a:lnTo>
                <a:lnTo>
                  <a:pt x="183" y="253"/>
                </a:lnTo>
                <a:lnTo>
                  <a:pt x="183" y="255"/>
                </a:lnTo>
                <a:lnTo>
                  <a:pt x="181" y="259"/>
                </a:lnTo>
                <a:lnTo>
                  <a:pt x="181" y="262"/>
                </a:lnTo>
                <a:lnTo>
                  <a:pt x="179" y="266"/>
                </a:lnTo>
                <a:lnTo>
                  <a:pt x="179" y="268"/>
                </a:lnTo>
                <a:lnTo>
                  <a:pt x="177" y="272"/>
                </a:lnTo>
                <a:lnTo>
                  <a:pt x="177" y="275"/>
                </a:lnTo>
                <a:lnTo>
                  <a:pt x="181" y="275"/>
                </a:lnTo>
                <a:lnTo>
                  <a:pt x="183" y="277"/>
                </a:lnTo>
                <a:lnTo>
                  <a:pt x="181" y="279"/>
                </a:lnTo>
                <a:lnTo>
                  <a:pt x="177" y="283"/>
                </a:lnTo>
                <a:lnTo>
                  <a:pt x="177" y="285"/>
                </a:lnTo>
                <a:lnTo>
                  <a:pt x="179" y="288"/>
                </a:lnTo>
                <a:lnTo>
                  <a:pt x="181" y="285"/>
                </a:lnTo>
                <a:lnTo>
                  <a:pt x="179" y="288"/>
                </a:lnTo>
                <a:lnTo>
                  <a:pt x="177" y="290"/>
                </a:lnTo>
                <a:lnTo>
                  <a:pt x="177" y="292"/>
                </a:lnTo>
                <a:lnTo>
                  <a:pt x="174" y="292"/>
                </a:lnTo>
                <a:lnTo>
                  <a:pt x="172" y="298"/>
                </a:lnTo>
                <a:lnTo>
                  <a:pt x="168" y="298"/>
                </a:lnTo>
                <a:lnTo>
                  <a:pt x="166" y="298"/>
                </a:lnTo>
                <a:lnTo>
                  <a:pt x="166" y="294"/>
                </a:lnTo>
                <a:lnTo>
                  <a:pt x="164" y="292"/>
                </a:lnTo>
                <a:lnTo>
                  <a:pt x="161" y="294"/>
                </a:lnTo>
                <a:lnTo>
                  <a:pt x="159" y="298"/>
                </a:lnTo>
                <a:lnTo>
                  <a:pt x="151" y="305"/>
                </a:lnTo>
                <a:lnTo>
                  <a:pt x="149" y="305"/>
                </a:lnTo>
                <a:lnTo>
                  <a:pt x="146" y="307"/>
                </a:lnTo>
                <a:lnTo>
                  <a:pt x="146" y="305"/>
                </a:lnTo>
                <a:lnTo>
                  <a:pt x="144" y="305"/>
                </a:lnTo>
                <a:lnTo>
                  <a:pt x="144" y="303"/>
                </a:lnTo>
                <a:lnTo>
                  <a:pt x="142" y="303"/>
                </a:lnTo>
                <a:lnTo>
                  <a:pt x="140" y="305"/>
                </a:lnTo>
                <a:lnTo>
                  <a:pt x="142" y="309"/>
                </a:lnTo>
                <a:lnTo>
                  <a:pt x="136" y="316"/>
                </a:lnTo>
                <a:lnTo>
                  <a:pt x="133" y="316"/>
                </a:lnTo>
                <a:lnTo>
                  <a:pt x="131" y="316"/>
                </a:lnTo>
                <a:lnTo>
                  <a:pt x="129" y="318"/>
                </a:lnTo>
                <a:lnTo>
                  <a:pt x="123" y="320"/>
                </a:lnTo>
                <a:lnTo>
                  <a:pt x="116" y="324"/>
                </a:lnTo>
                <a:lnTo>
                  <a:pt x="110" y="320"/>
                </a:lnTo>
                <a:lnTo>
                  <a:pt x="103" y="318"/>
                </a:lnTo>
                <a:lnTo>
                  <a:pt x="101" y="320"/>
                </a:lnTo>
                <a:lnTo>
                  <a:pt x="101" y="322"/>
                </a:lnTo>
                <a:lnTo>
                  <a:pt x="97" y="324"/>
                </a:lnTo>
                <a:lnTo>
                  <a:pt x="95" y="326"/>
                </a:lnTo>
                <a:lnTo>
                  <a:pt x="92" y="329"/>
                </a:lnTo>
                <a:lnTo>
                  <a:pt x="84" y="333"/>
                </a:lnTo>
                <a:lnTo>
                  <a:pt x="82" y="329"/>
                </a:lnTo>
                <a:lnTo>
                  <a:pt x="77" y="329"/>
                </a:lnTo>
                <a:lnTo>
                  <a:pt x="77" y="326"/>
                </a:lnTo>
                <a:lnTo>
                  <a:pt x="75" y="324"/>
                </a:lnTo>
                <a:lnTo>
                  <a:pt x="71" y="326"/>
                </a:lnTo>
                <a:lnTo>
                  <a:pt x="69" y="326"/>
                </a:lnTo>
                <a:lnTo>
                  <a:pt x="69" y="324"/>
                </a:lnTo>
                <a:lnTo>
                  <a:pt x="66" y="322"/>
                </a:lnTo>
                <a:lnTo>
                  <a:pt x="64" y="322"/>
                </a:lnTo>
                <a:lnTo>
                  <a:pt x="62" y="320"/>
                </a:lnTo>
                <a:lnTo>
                  <a:pt x="62" y="316"/>
                </a:lnTo>
                <a:lnTo>
                  <a:pt x="58" y="311"/>
                </a:lnTo>
                <a:lnTo>
                  <a:pt x="58" y="309"/>
                </a:lnTo>
                <a:lnTo>
                  <a:pt x="60" y="307"/>
                </a:lnTo>
                <a:lnTo>
                  <a:pt x="58" y="305"/>
                </a:lnTo>
                <a:lnTo>
                  <a:pt x="51" y="305"/>
                </a:lnTo>
                <a:lnTo>
                  <a:pt x="51" y="307"/>
                </a:lnTo>
                <a:lnTo>
                  <a:pt x="49" y="305"/>
                </a:lnTo>
                <a:lnTo>
                  <a:pt x="45" y="305"/>
                </a:lnTo>
                <a:lnTo>
                  <a:pt x="45" y="303"/>
                </a:lnTo>
                <a:lnTo>
                  <a:pt x="43" y="303"/>
                </a:lnTo>
                <a:lnTo>
                  <a:pt x="41" y="298"/>
                </a:lnTo>
                <a:lnTo>
                  <a:pt x="41" y="300"/>
                </a:lnTo>
                <a:lnTo>
                  <a:pt x="36" y="298"/>
                </a:lnTo>
                <a:lnTo>
                  <a:pt x="32" y="294"/>
                </a:lnTo>
                <a:lnTo>
                  <a:pt x="28" y="290"/>
                </a:lnTo>
                <a:lnTo>
                  <a:pt x="30" y="288"/>
                </a:lnTo>
                <a:lnTo>
                  <a:pt x="28" y="285"/>
                </a:lnTo>
                <a:lnTo>
                  <a:pt x="21" y="285"/>
                </a:lnTo>
                <a:lnTo>
                  <a:pt x="19" y="277"/>
                </a:lnTo>
                <a:lnTo>
                  <a:pt x="17" y="277"/>
                </a:lnTo>
                <a:lnTo>
                  <a:pt x="13" y="275"/>
                </a:lnTo>
                <a:lnTo>
                  <a:pt x="15" y="272"/>
                </a:lnTo>
                <a:lnTo>
                  <a:pt x="15" y="270"/>
                </a:lnTo>
                <a:lnTo>
                  <a:pt x="10" y="268"/>
                </a:lnTo>
                <a:lnTo>
                  <a:pt x="4" y="257"/>
                </a:lnTo>
                <a:lnTo>
                  <a:pt x="0" y="255"/>
                </a:lnTo>
                <a:lnTo>
                  <a:pt x="0" y="253"/>
                </a:lnTo>
                <a:lnTo>
                  <a:pt x="2" y="253"/>
                </a:lnTo>
                <a:lnTo>
                  <a:pt x="2" y="251"/>
                </a:lnTo>
                <a:lnTo>
                  <a:pt x="0" y="247"/>
                </a:lnTo>
                <a:lnTo>
                  <a:pt x="2" y="244"/>
                </a:lnTo>
                <a:lnTo>
                  <a:pt x="4" y="244"/>
                </a:lnTo>
                <a:lnTo>
                  <a:pt x="2" y="240"/>
                </a:lnTo>
                <a:lnTo>
                  <a:pt x="0" y="236"/>
                </a:lnTo>
                <a:lnTo>
                  <a:pt x="0" y="229"/>
                </a:lnTo>
                <a:lnTo>
                  <a:pt x="2" y="229"/>
                </a:lnTo>
                <a:lnTo>
                  <a:pt x="4" y="229"/>
                </a:lnTo>
                <a:lnTo>
                  <a:pt x="8" y="229"/>
                </a:lnTo>
                <a:lnTo>
                  <a:pt x="13" y="227"/>
                </a:lnTo>
                <a:lnTo>
                  <a:pt x="15" y="227"/>
                </a:lnTo>
                <a:lnTo>
                  <a:pt x="19" y="225"/>
                </a:lnTo>
                <a:lnTo>
                  <a:pt x="19" y="223"/>
                </a:lnTo>
                <a:lnTo>
                  <a:pt x="19" y="212"/>
                </a:lnTo>
                <a:lnTo>
                  <a:pt x="21" y="210"/>
                </a:lnTo>
                <a:lnTo>
                  <a:pt x="25" y="210"/>
                </a:lnTo>
                <a:lnTo>
                  <a:pt x="28" y="210"/>
                </a:lnTo>
                <a:lnTo>
                  <a:pt x="28" y="206"/>
                </a:lnTo>
                <a:lnTo>
                  <a:pt x="25" y="201"/>
                </a:lnTo>
                <a:lnTo>
                  <a:pt x="25" y="197"/>
                </a:lnTo>
                <a:lnTo>
                  <a:pt x="21" y="193"/>
                </a:lnTo>
                <a:lnTo>
                  <a:pt x="21" y="190"/>
                </a:lnTo>
                <a:lnTo>
                  <a:pt x="28" y="186"/>
                </a:lnTo>
                <a:lnTo>
                  <a:pt x="28" y="180"/>
                </a:lnTo>
                <a:lnTo>
                  <a:pt x="28" y="175"/>
                </a:lnTo>
                <a:lnTo>
                  <a:pt x="30" y="173"/>
                </a:lnTo>
                <a:lnTo>
                  <a:pt x="30" y="171"/>
                </a:lnTo>
                <a:lnTo>
                  <a:pt x="32" y="169"/>
                </a:lnTo>
                <a:lnTo>
                  <a:pt x="34" y="169"/>
                </a:lnTo>
                <a:lnTo>
                  <a:pt x="36" y="171"/>
                </a:lnTo>
                <a:lnTo>
                  <a:pt x="41" y="171"/>
                </a:lnTo>
                <a:lnTo>
                  <a:pt x="43" y="175"/>
                </a:lnTo>
                <a:lnTo>
                  <a:pt x="43" y="177"/>
                </a:lnTo>
                <a:lnTo>
                  <a:pt x="43" y="180"/>
                </a:lnTo>
                <a:lnTo>
                  <a:pt x="45" y="180"/>
                </a:lnTo>
                <a:lnTo>
                  <a:pt x="47" y="177"/>
                </a:lnTo>
                <a:lnTo>
                  <a:pt x="47" y="173"/>
                </a:lnTo>
                <a:lnTo>
                  <a:pt x="51" y="175"/>
                </a:lnTo>
                <a:lnTo>
                  <a:pt x="51" y="173"/>
                </a:lnTo>
                <a:lnTo>
                  <a:pt x="51" y="171"/>
                </a:lnTo>
                <a:lnTo>
                  <a:pt x="49" y="164"/>
                </a:lnTo>
                <a:lnTo>
                  <a:pt x="47" y="162"/>
                </a:lnTo>
                <a:lnTo>
                  <a:pt x="47" y="160"/>
                </a:lnTo>
                <a:lnTo>
                  <a:pt x="49" y="160"/>
                </a:lnTo>
                <a:lnTo>
                  <a:pt x="51" y="158"/>
                </a:lnTo>
                <a:lnTo>
                  <a:pt x="51" y="156"/>
                </a:lnTo>
                <a:lnTo>
                  <a:pt x="49" y="152"/>
                </a:lnTo>
                <a:lnTo>
                  <a:pt x="51" y="147"/>
                </a:lnTo>
                <a:lnTo>
                  <a:pt x="54" y="145"/>
                </a:lnTo>
                <a:lnTo>
                  <a:pt x="54" y="143"/>
                </a:lnTo>
                <a:lnTo>
                  <a:pt x="54" y="141"/>
                </a:lnTo>
                <a:lnTo>
                  <a:pt x="62" y="141"/>
                </a:lnTo>
                <a:lnTo>
                  <a:pt x="62" y="132"/>
                </a:lnTo>
                <a:lnTo>
                  <a:pt x="66" y="126"/>
                </a:lnTo>
                <a:lnTo>
                  <a:pt x="69" y="126"/>
                </a:lnTo>
                <a:lnTo>
                  <a:pt x="75" y="130"/>
                </a:lnTo>
                <a:lnTo>
                  <a:pt x="77" y="130"/>
                </a:lnTo>
                <a:lnTo>
                  <a:pt x="79" y="126"/>
                </a:lnTo>
                <a:lnTo>
                  <a:pt x="84" y="126"/>
                </a:lnTo>
                <a:lnTo>
                  <a:pt x="84" y="123"/>
                </a:lnTo>
                <a:lnTo>
                  <a:pt x="86" y="123"/>
                </a:lnTo>
                <a:lnTo>
                  <a:pt x="86" y="121"/>
                </a:lnTo>
                <a:lnTo>
                  <a:pt x="92" y="115"/>
                </a:lnTo>
                <a:lnTo>
                  <a:pt x="92" y="113"/>
                </a:lnTo>
                <a:lnTo>
                  <a:pt x="97" y="111"/>
                </a:lnTo>
                <a:lnTo>
                  <a:pt x="97" y="108"/>
                </a:lnTo>
                <a:lnTo>
                  <a:pt x="99" y="106"/>
                </a:lnTo>
                <a:lnTo>
                  <a:pt x="101" y="102"/>
                </a:lnTo>
                <a:lnTo>
                  <a:pt x="103" y="102"/>
                </a:lnTo>
                <a:lnTo>
                  <a:pt x="103" y="95"/>
                </a:lnTo>
                <a:lnTo>
                  <a:pt x="108" y="93"/>
                </a:lnTo>
                <a:lnTo>
                  <a:pt x="108" y="91"/>
                </a:lnTo>
                <a:lnTo>
                  <a:pt x="103" y="89"/>
                </a:lnTo>
                <a:lnTo>
                  <a:pt x="103" y="87"/>
                </a:lnTo>
                <a:lnTo>
                  <a:pt x="108" y="80"/>
                </a:lnTo>
                <a:lnTo>
                  <a:pt x="108" y="78"/>
                </a:lnTo>
                <a:lnTo>
                  <a:pt x="110" y="76"/>
                </a:lnTo>
                <a:lnTo>
                  <a:pt x="108" y="74"/>
                </a:lnTo>
                <a:lnTo>
                  <a:pt x="108" y="72"/>
                </a:lnTo>
                <a:lnTo>
                  <a:pt x="110" y="72"/>
                </a:lnTo>
                <a:lnTo>
                  <a:pt x="110" y="70"/>
                </a:lnTo>
                <a:lnTo>
                  <a:pt x="110" y="65"/>
                </a:lnTo>
                <a:lnTo>
                  <a:pt x="110" y="61"/>
                </a:lnTo>
                <a:lnTo>
                  <a:pt x="110" y="48"/>
                </a:lnTo>
                <a:lnTo>
                  <a:pt x="110" y="46"/>
                </a:lnTo>
                <a:lnTo>
                  <a:pt x="112" y="44"/>
                </a:lnTo>
                <a:lnTo>
                  <a:pt x="112" y="39"/>
                </a:lnTo>
                <a:lnTo>
                  <a:pt x="114" y="37"/>
                </a:lnTo>
                <a:lnTo>
                  <a:pt x="114" y="33"/>
                </a:lnTo>
                <a:lnTo>
                  <a:pt x="114" y="26"/>
                </a:lnTo>
                <a:lnTo>
                  <a:pt x="112" y="26"/>
                </a:lnTo>
                <a:lnTo>
                  <a:pt x="112" y="16"/>
                </a:lnTo>
                <a:lnTo>
                  <a:pt x="110" y="16"/>
                </a:lnTo>
                <a:lnTo>
                  <a:pt x="110" y="11"/>
                </a:lnTo>
                <a:lnTo>
                  <a:pt x="108" y="9"/>
                </a:lnTo>
                <a:lnTo>
                  <a:pt x="108" y="7"/>
                </a:lnTo>
                <a:lnTo>
                  <a:pt x="110" y="5"/>
                </a:lnTo>
                <a:lnTo>
                  <a:pt x="112" y="5"/>
                </a:lnTo>
                <a:lnTo>
                  <a:pt x="114" y="0"/>
                </a:lnTo>
                <a:lnTo>
                  <a:pt x="116" y="16"/>
                </a:lnTo>
                <a:lnTo>
                  <a:pt x="118" y="24"/>
                </a:lnTo>
                <a:lnTo>
                  <a:pt x="123" y="46"/>
                </a:lnTo>
                <a:lnTo>
                  <a:pt x="125" y="59"/>
                </a:lnTo>
                <a:lnTo>
                  <a:pt x="127" y="63"/>
                </a:lnTo>
                <a:lnTo>
                  <a:pt x="129" y="87"/>
                </a:lnTo>
                <a:lnTo>
                  <a:pt x="136" y="87"/>
                </a:lnTo>
                <a:lnTo>
                  <a:pt x="172" y="78"/>
                </a:lnTo>
                <a:lnTo>
                  <a:pt x="183" y="78"/>
                </a:lnTo>
                <a:lnTo>
                  <a:pt x="205" y="74"/>
                </a:lnTo>
                <a:lnTo>
                  <a:pt x="211" y="123"/>
                </a:lnTo>
                <a:lnTo>
                  <a:pt x="211" y="121"/>
                </a:lnTo>
                <a:lnTo>
                  <a:pt x="213" y="121"/>
                </a:lnTo>
                <a:lnTo>
                  <a:pt x="215" y="113"/>
                </a:lnTo>
                <a:lnTo>
                  <a:pt x="218" y="111"/>
                </a:lnTo>
                <a:lnTo>
                  <a:pt x="224" y="111"/>
                </a:lnTo>
                <a:lnTo>
                  <a:pt x="224" y="108"/>
                </a:lnTo>
                <a:lnTo>
                  <a:pt x="224" y="106"/>
                </a:lnTo>
                <a:lnTo>
                  <a:pt x="231" y="102"/>
                </a:lnTo>
                <a:lnTo>
                  <a:pt x="231" y="98"/>
                </a:lnTo>
                <a:lnTo>
                  <a:pt x="233" y="98"/>
                </a:lnTo>
                <a:lnTo>
                  <a:pt x="233" y="93"/>
                </a:lnTo>
                <a:lnTo>
                  <a:pt x="237" y="91"/>
                </a:lnTo>
                <a:lnTo>
                  <a:pt x="244" y="93"/>
                </a:lnTo>
                <a:lnTo>
                  <a:pt x="244" y="91"/>
                </a:lnTo>
                <a:lnTo>
                  <a:pt x="248" y="82"/>
                </a:lnTo>
                <a:lnTo>
                  <a:pt x="250" y="80"/>
                </a:lnTo>
                <a:lnTo>
                  <a:pt x="254" y="78"/>
                </a:lnTo>
                <a:lnTo>
                  <a:pt x="250" y="78"/>
                </a:lnTo>
                <a:lnTo>
                  <a:pt x="254" y="76"/>
                </a:lnTo>
                <a:lnTo>
                  <a:pt x="254" y="74"/>
                </a:lnTo>
                <a:lnTo>
                  <a:pt x="254" y="72"/>
                </a:lnTo>
                <a:lnTo>
                  <a:pt x="254" y="74"/>
                </a:lnTo>
                <a:lnTo>
                  <a:pt x="256" y="74"/>
                </a:lnTo>
                <a:lnTo>
                  <a:pt x="259" y="74"/>
                </a:lnTo>
                <a:lnTo>
                  <a:pt x="256" y="76"/>
                </a:lnTo>
                <a:lnTo>
                  <a:pt x="254" y="76"/>
                </a:lnTo>
                <a:lnTo>
                  <a:pt x="256" y="78"/>
                </a:lnTo>
                <a:lnTo>
                  <a:pt x="259" y="78"/>
                </a:lnTo>
                <a:lnTo>
                  <a:pt x="263" y="80"/>
                </a:lnTo>
                <a:lnTo>
                  <a:pt x="265" y="80"/>
                </a:lnTo>
                <a:lnTo>
                  <a:pt x="267" y="80"/>
                </a:lnTo>
                <a:lnTo>
                  <a:pt x="272" y="80"/>
                </a:lnTo>
                <a:lnTo>
                  <a:pt x="274" y="78"/>
                </a:lnTo>
                <a:lnTo>
                  <a:pt x="276" y="78"/>
                </a:lnTo>
                <a:lnTo>
                  <a:pt x="278" y="78"/>
                </a:lnTo>
                <a:lnTo>
                  <a:pt x="278" y="76"/>
                </a:lnTo>
                <a:lnTo>
                  <a:pt x="280" y="76"/>
                </a:lnTo>
                <a:lnTo>
                  <a:pt x="276" y="74"/>
                </a:lnTo>
                <a:lnTo>
                  <a:pt x="278" y="74"/>
                </a:lnTo>
                <a:lnTo>
                  <a:pt x="280" y="74"/>
                </a:lnTo>
                <a:lnTo>
                  <a:pt x="278" y="70"/>
                </a:lnTo>
                <a:lnTo>
                  <a:pt x="280" y="70"/>
                </a:lnTo>
                <a:lnTo>
                  <a:pt x="282" y="70"/>
                </a:lnTo>
                <a:lnTo>
                  <a:pt x="282" y="65"/>
                </a:lnTo>
                <a:lnTo>
                  <a:pt x="291" y="70"/>
                </a:lnTo>
                <a:lnTo>
                  <a:pt x="291" y="65"/>
                </a:lnTo>
                <a:lnTo>
                  <a:pt x="291" y="63"/>
                </a:lnTo>
                <a:lnTo>
                  <a:pt x="291" y="61"/>
                </a:lnTo>
                <a:lnTo>
                  <a:pt x="293" y="61"/>
                </a:lnTo>
                <a:lnTo>
                  <a:pt x="295" y="59"/>
                </a:lnTo>
                <a:lnTo>
                  <a:pt x="300" y="61"/>
                </a:lnTo>
                <a:lnTo>
                  <a:pt x="306" y="63"/>
                </a:lnTo>
                <a:lnTo>
                  <a:pt x="310" y="65"/>
                </a:lnTo>
                <a:lnTo>
                  <a:pt x="310" y="63"/>
                </a:lnTo>
                <a:lnTo>
                  <a:pt x="313" y="65"/>
                </a:lnTo>
                <a:lnTo>
                  <a:pt x="313" y="63"/>
                </a:lnTo>
                <a:lnTo>
                  <a:pt x="315" y="65"/>
                </a:lnTo>
                <a:lnTo>
                  <a:pt x="315" y="63"/>
                </a:lnTo>
                <a:lnTo>
                  <a:pt x="319" y="63"/>
                </a:lnTo>
                <a:lnTo>
                  <a:pt x="321" y="63"/>
                </a:lnTo>
                <a:lnTo>
                  <a:pt x="321" y="65"/>
                </a:lnTo>
                <a:lnTo>
                  <a:pt x="319" y="70"/>
                </a:lnTo>
                <a:lnTo>
                  <a:pt x="321" y="72"/>
                </a:lnTo>
                <a:lnTo>
                  <a:pt x="323" y="72"/>
                </a:lnTo>
                <a:lnTo>
                  <a:pt x="321" y="74"/>
                </a:lnTo>
                <a:lnTo>
                  <a:pt x="323" y="74"/>
                </a:lnTo>
                <a:lnTo>
                  <a:pt x="328" y="72"/>
                </a:lnTo>
                <a:lnTo>
                  <a:pt x="326" y="74"/>
                </a:lnTo>
                <a:lnTo>
                  <a:pt x="326" y="76"/>
                </a:lnTo>
                <a:lnTo>
                  <a:pt x="326" y="78"/>
                </a:lnTo>
                <a:lnTo>
                  <a:pt x="330" y="78"/>
                </a:lnTo>
                <a:lnTo>
                  <a:pt x="330" y="80"/>
                </a:lnTo>
                <a:lnTo>
                  <a:pt x="330" y="82"/>
                </a:lnTo>
                <a:lnTo>
                  <a:pt x="330" y="87"/>
                </a:lnTo>
                <a:lnTo>
                  <a:pt x="330" y="89"/>
                </a:lnTo>
                <a:lnTo>
                  <a:pt x="332" y="89"/>
                </a:lnTo>
                <a:lnTo>
                  <a:pt x="330" y="91"/>
                </a:lnTo>
                <a:lnTo>
                  <a:pt x="330" y="95"/>
                </a:lnTo>
                <a:lnTo>
                  <a:pt x="330" y="102"/>
                </a:lnTo>
                <a:lnTo>
                  <a:pt x="330" y="106"/>
                </a:lnTo>
                <a:lnTo>
                  <a:pt x="313" y="95"/>
                </a:lnTo>
                <a:lnTo>
                  <a:pt x="295" y="89"/>
                </a:lnTo>
                <a:lnTo>
                  <a:pt x="293" y="87"/>
                </a:lnTo>
                <a:lnTo>
                  <a:pt x="289" y="82"/>
                </a:lnTo>
                <a:lnTo>
                  <a:pt x="289" y="91"/>
                </a:lnTo>
                <a:lnTo>
                  <a:pt x="289" y="93"/>
                </a:lnTo>
                <a:lnTo>
                  <a:pt x="291" y="93"/>
                </a:lnTo>
                <a:lnTo>
                  <a:pt x="287" y="104"/>
                </a:lnTo>
                <a:lnTo>
                  <a:pt x="289" y="104"/>
                </a:lnTo>
                <a:lnTo>
                  <a:pt x="287" y="108"/>
                </a:lnTo>
                <a:lnTo>
                  <a:pt x="289" y="111"/>
                </a:lnTo>
                <a:lnTo>
                  <a:pt x="287" y="113"/>
                </a:lnTo>
                <a:lnTo>
                  <a:pt x="287" y="115"/>
                </a:lnTo>
                <a:lnTo>
                  <a:pt x="282" y="119"/>
                </a:lnTo>
                <a:lnTo>
                  <a:pt x="280" y="123"/>
                </a:lnTo>
                <a:lnTo>
                  <a:pt x="278" y="126"/>
                </a:lnTo>
                <a:lnTo>
                  <a:pt x="280" y="126"/>
                </a:lnTo>
                <a:lnTo>
                  <a:pt x="280" y="128"/>
                </a:lnTo>
                <a:lnTo>
                  <a:pt x="278" y="132"/>
                </a:lnTo>
                <a:lnTo>
                  <a:pt x="276" y="130"/>
                </a:lnTo>
                <a:lnTo>
                  <a:pt x="276" y="132"/>
                </a:lnTo>
                <a:lnTo>
                  <a:pt x="274" y="139"/>
                </a:lnTo>
                <a:lnTo>
                  <a:pt x="272" y="139"/>
                </a:lnTo>
                <a:lnTo>
                  <a:pt x="267" y="139"/>
                </a:lnTo>
                <a:lnTo>
                  <a:pt x="265" y="143"/>
                </a:lnTo>
                <a:lnTo>
                  <a:pt x="263" y="147"/>
                </a:lnTo>
                <a:lnTo>
                  <a:pt x="263" y="154"/>
                </a:lnTo>
                <a:lnTo>
                  <a:pt x="250" y="147"/>
                </a:lnTo>
                <a:lnTo>
                  <a:pt x="248" y="154"/>
                </a:lnTo>
                <a:lnTo>
                  <a:pt x="248" y="158"/>
                </a:lnTo>
                <a:lnTo>
                  <a:pt x="248" y="162"/>
                </a:lnTo>
                <a:lnTo>
                  <a:pt x="248" y="164"/>
                </a:lnTo>
                <a:lnTo>
                  <a:pt x="246" y="164"/>
                </a:lnTo>
                <a:lnTo>
                  <a:pt x="246" y="169"/>
                </a:lnTo>
                <a:lnTo>
                  <a:pt x="241" y="186"/>
                </a:lnTo>
                <a:close/>
              </a:path>
            </a:pathLst>
          </a:custGeom>
          <a:noFill/>
          <a:ln w="9525">
            <a:noFill/>
            <a:round/>
            <a:headEnd/>
            <a:tailEnd/>
          </a:ln>
        </p:spPr>
        <p:txBody>
          <a:bodyPr/>
          <a:lstStyle/>
          <a:p>
            <a:endParaRPr lang="en-US" dirty="0">
              <a:solidFill>
                <a:prstClr val="black"/>
              </a:solidFill>
            </a:endParaRPr>
          </a:p>
        </p:txBody>
      </p:sp>
      <p:sp>
        <p:nvSpPr>
          <p:cNvPr id="239" name="Freeform 72">
            <a:extLst>
              <a:ext uri="{FF2B5EF4-FFF2-40B4-BE49-F238E27FC236}">
                <a16:creationId xmlns:a16="http://schemas.microsoft.com/office/drawing/2014/main" id="{66BC815A-90C5-41C0-8306-66DE36DC0573}"/>
              </a:ext>
            </a:extLst>
          </p:cNvPr>
          <p:cNvSpPr>
            <a:spLocks/>
          </p:cNvSpPr>
          <p:nvPr>
            <p:custDataLst>
              <p:tags r:id="rId63"/>
            </p:custDataLst>
          </p:nvPr>
        </p:nvSpPr>
        <p:spPr bwMode="auto">
          <a:xfrm>
            <a:off x="8075756" y="3337857"/>
            <a:ext cx="670753" cy="719847"/>
          </a:xfrm>
          <a:custGeom>
            <a:avLst/>
            <a:gdLst>
              <a:gd name="T0" fmla="*/ 2147483647 w 332"/>
              <a:gd name="T1" fmla="*/ 2147483647 h 333"/>
              <a:gd name="T2" fmla="*/ 2147483647 w 332"/>
              <a:gd name="T3" fmla="*/ 2147483647 h 333"/>
              <a:gd name="T4" fmla="*/ 2147483647 w 332"/>
              <a:gd name="T5" fmla="*/ 2147483647 h 333"/>
              <a:gd name="T6" fmla="*/ 2147483647 w 332"/>
              <a:gd name="T7" fmla="*/ 2147483647 h 333"/>
              <a:gd name="T8" fmla="*/ 2147483647 w 332"/>
              <a:gd name="T9" fmla="*/ 2147483647 h 333"/>
              <a:gd name="T10" fmla="*/ 2147483647 w 332"/>
              <a:gd name="T11" fmla="*/ 2147483647 h 333"/>
              <a:gd name="T12" fmla="*/ 2147483647 w 332"/>
              <a:gd name="T13" fmla="*/ 2147483647 h 333"/>
              <a:gd name="T14" fmla="*/ 2147483647 w 332"/>
              <a:gd name="T15" fmla="*/ 2147483647 h 333"/>
              <a:gd name="T16" fmla="*/ 2147483647 w 332"/>
              <a:gd name="T17" fmla="*/ 2147483647 h 333"/>
              <a:gd name="T18" fmla="*/ 2147483647 w 332"/>
              <a:gd name="T19" fmla="*/ 2147483647 h 333"/>
              <a:gd name="T20" fmla="*/ 2147483647 w 332"/>
              <a:gd name="T21" fmla="*/ 2147483647 h 333"/>
              <a:gd name="T22" fmla="*/ 2147483647 w 332"/>
              <a:gd name="T23" fmla="*/ 2147483647 h 333"/>
              <a:gd name="T24" fmla="*/ 2147483647 w 332"/>
              <a:gd name="T25" fmla="*/ 2147483647 h 333"/>
              <a:gd name="T26" fmla="*/ 2147483647 w 332"/>
              <a:gd name="T27" fmla="*/ 2147483647 h 333"/>
              <a:gd name="T28" fmla="*/ 2147483647 w 332"/>
              <a:gd name="T29" fmla="*/ 2147483647 h 333"/>
              <a:gd name="T30" fmla="*/ 2147483647 w 332"/>
              <a:gd name="T31" fmla="*/ 2147483647 h 333"/>
              <a:gd name="T32" fmla="*/ 2147483647 w 332"/>
              <a:gd name="T33" fmla="*/ 2147483647 h 333"/>
              <a:gd name="T34" fmla="*/ 2147483647 w 332"/>
              <a:gd name="T35" fmla="*/ 2147483647 h 333"/>
              <a:gd name="T36" fmla="*/ 2147483647 w 332"/>
              <a:gd name="T37" fmla="*/ 2147483647 h 333"/>
              <a:gd name="T38" fmla="*/ 0 w 332"/>
              <a:gd name="T39" fmla="*/ 2147483647 h 333"/>
              <a:gd name="T40" fmla="*/ 2147483647 w 332"/>
              <a:gd name="T41" fmla="*/ 2147483647 h 333"/>
              <a:gd name="T42" fmla="*/ 2147483647 w 332"/>
              <a:gd name="T43" fmla="*/ 2147483647 h 333"/>
              <a:gd name="T44" fmla="*/ 2147483647 w 332"/>
              <a:gd name="T45" fmla="*/ 2147483647 h 333"/>
              <a:gd name="T46" fmla="*/ 2147483647 w 332"/>
              <a:gd name="T47" fmla="*/ 2147483647 h 333"/>
              <a:gd name="T48" fmla="*/ 2147483647 w 332"/>
              <a:gd name="T49" fmla="*/ 2147483647 h 333"/>
              <a:gd name="T50" fmla="*/ 2147483647 w 332"/>
              <a:gd name="T51" fmla="*/ 2147483647 h 333"/>
              <a:gd name="T52" fmla="*/ 2147483647 w 332"/>
              <a:gd name="T53" fmla="*/ 2147483647 h 333"/>
              <a:gd name="T54" fmla="*/ 2147483647 w 332"/>
              <a:gd name="T55" fmla="*/ 2147483647 h 333"/>
              <a:gd name="T56" fmla="*/ 2147483647 w 332"/>
              <a:gd name="T57" fmla="*/ 2147483647 h 333"/>
              <a:gd name="T58" fmla="*/ 2147483647 w 332"/>
              <a:gd name="T59" fmla="*/ 2147483647 h 333"/>
              <a:gd name="T60" fmla="*/ 2147483647 w 332"/>
              <a:gd name="T61" fmla="*/ 2147483647 h 333"/>
              <a:gd name="T62" fmla="*/ 2147483647 w 332"/>
              <a:gd name="T63" fmla="*/ 2147483647 h 333"/>
              <a:gd name="T64" fmla="*/ 2147483647 w 332"/>
              <a:gd name="T65" fmla="*/ 2147483647 h 333"/>
              <a:gd name="T66" fmla="*/ 2147483647 w 332"/>
              <a:gd name="T67" fmla="*/ 2147483647 h 333"/>
              <a:gd name="T68" fmla="*/ 2147483647 w 332"/>
              <a:gd name="T69" fmla="*/ 2147483647 h 333"/>
              <a:gd name="T70" fmla="*/ 2147483647 w 332"/>
              <a:gd name="T71" fmla="*/ 2147483647 h 333"/>
              <a:gd name="T72" fmla="*/ 2147483647 w 332"/>
              <a:gd name="T73" fmla="*/ 2147483647 h 333"/>
              <a:gd name="T74" fmla="*/ 2147483647 w 332"/>
              <a:gd name="T75" fmla="*/ 2147483647 h 333"/>
              <a:gd name="T76" fmla="*/ 2147483647 w 332"/>
              <a:gd name="T77" fmla="*/ 2147483647 h 333"/>
              <a:gd name="T78" fmla="*/ 2147483647 w 332"/>
              <a:gd name="T79" fmla="*/ 2147483647 h 333"/>
              <a:gd name="T80" fmla="*/ 2147483647 w 332"/>
              <a:gd name="T81" fmla="*/ 2147483647 h 333"/>
              <a:gd name="T82" fmla="*/ 2147483647 w 332"/>
              <a:gd name="T83" fmla="*/ 2147483647 h 333"/>
              <a:gd name="T84" fmla="*/ 2147483647 w 332"/>
              <a:gd name="T85" fmla="*/ 2147483647 h 333"/>
              <a:gd name="T86" fmla="*/ 2147483647 w 332"/>
              <a:gd name="T87" fmla="*/ 2147483647 h 333"/>
              <a:gd name="T88" fmla="*/ 2147483647 w 332"/>
              <a:gd name="T89" fmla="*/ 2147483647 h 333"/>
              <a:gd name="T90" fmla="*/ 2147483647 w 332"/>
              <a:gd name="T91" fmla="*/ 2147483647 h 333"/>
              <a:gd name="T92" fmla="*/ 2147483647 w 332"/>
              <a:gd name="T93" fmla="*/ 2147483647 h 333"/>
              <a:gd name="T94" fmla="*/ 2147483647 w 332"/>
              <a:gd name="T95" fmla="*/ 2147483647 h 333"/>
              <a:gd name="T96" fmla="*/ 2147483647 w 332"/>
              <a:gd name="T97" fmla="*/ 2147483647 h 333"/>
              <a:gd name="T98" fmla="*/ 2147483647 w 332"/>
              <a:gd name="T99" fmla="*/ 2147483647 h 333"/>
              <a:gd name="T100" fmla="*/ 2147483647 w 332"/>
              <a:gd name="T101" fmla="*/ 2147483647 h 333"/>
              <a:gd name="T102" fmla="*/ 2147483647 w 332"/>
              <a:gd name="T103" fmla="*/ 2147483647 h 333"/>
              <a:gd name="T104" fmla="*/ 2147483647 w 332"/>
              <a:gd name="T105" fmla="*/ 2147483647 h 333"/>
              <a:gd name="T106" fmla="*/ 2147483647 w 332"/>
              <a:gd name="T107" fmla="*/ 2147483647 h 333"/>
              <a:gd name="T108" fmla="*/ 2147483647 w 332"/>
              <a:gd name="T109" fmla="*/ 2147483647 h 333"/>
              <a:gd name="T110" fmla="*/ 2147483647 w 332"/>
              <a:gd name="T111" fmla="*/ 2147483647 h 3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32"/>
              <a:gd name="T169" fmla="*/ 0 h 333"/>
              <a:gd name="T170" fmla="*/ 332 w 332"/>
              <a:gd name="T171" fmla="*/ 333 h 3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32" h="333">
                <a:moveTo>
                  <a:pt x="241" y="186"/>
                </a:moveTo>
                <a:lnTo>
                  <a:pt x="239" y="190"/>
                </a:lnTo>
                <a:lnTo>
                  <a:pt x="237" y="193"/>
                </a:lnTo>
                <a:lnTo>
                  <a:pt x="224" y="190"/>
                </a:lnTo>
                <a:lnTo>
                  <a:pt x="218" y="184"/>
                </a:lnTo>
                <a:lnTo>
                  <a:pt x="209" y="180"/>
                </a:lnTo>
                <a:lnTo>
                  <a:pt x="209" y="186"/>
                </a:lnTo>
                <a:lnTo>
                  <a:pt x="209" y="188"/>
                </a:lnTo>
                <a:lnTo>
                  <a:pt x="207" y="188"/>
                </a:lnTo>
                <a:lnTo>
                  <a:pt x="209" y="195"/>
                </a:lnTo>
                <a:lnTo>
                  <a:pt x="207" y="201"/>
                </a:lnTo>
                <a:lnTo>
                  <a:pt x="207" y="203"/>
                </a:lnTo>
                <a:lnTo>
                  <a:pt x="205" y="203"/>
                </a:lnTo>
                <a:lnTo>
                  <a:pt x="205" y="208"/>
                </a:lnTo>
                <a:lnTo>
                  <a:pt x="205" y="210"/>
                </a:lnTo>
                <a:lnTo>
                  <a:pt x="205" y="212"/>
                </a:lnTo>
                <a:lnTo>
                  <a:pt x="200" y="212"/>
                </a:lnTo>
                <a:lnTo>
                  <a:pt x="196" y="221"/>
                </a:lnTo>
                <a:lnTo>
                  <a:pt x="196" y="223"/>
                </a:lnTo>
                <a:lnTo>
                  <a:pt x="196" y="227"/>
                </a:lnTo>
                <a:lnTo>
                  <a:pt x="196" y="234"/>
                </a:lnTo>
                <a:lnTo>
                  <a:pt x="196" y="236"/>
                </a:lnTo>
                <a:lnTo>
                  <a:pt x="194" y="240"/>
                </a:lnTo>
                <a:lnTo>
                  <a:pt x="190" y="242"/>
                </a:lnTo>
                <a:lnTo>
                  <a:pt x="185" y="247"/>
                </a:lnTo>
                <a:lnTo>
                  <a:pt x="185" y="251"/>
                </a:lnTo>
                <a:lnTo>
                  <a:pt x="183" y="253"/>
                </a:lnTo>
                <a:lnTo>
                  <a:pt x="183" y="255"/>
                </a:lnTo>
                <a:lnTo>
                  <a:pt x="181" y="259"/>
                </a:lnTo>
                <a:lnTo>
                  <a:pt x="181" y="262"/>
                </a:lnTo>
                <a:lnTo>
                  <a:pt x="179" y="266"/>
                </a:lnTo>
                <a:lnTo>
                  <a:pt x="179" y="268"/>
                </a:lnTo>
                <a:lnTo>
                  <a:pt x="177" y="272"/>
                </a:lnTo>
                <a:lnTo>
                  <a:pt x="177" y="275"/>
                </a:lnTo>
                <a:lnTo>
                  <a:pt x="181" y="275"/>
                </a:lnTo>
                <a:lnTo>
                  <a:pt x="183" y="277"/>
                </a:lnTo>
                <a:lnTo>
                  <a:pt x="181" y="279"/>
                </a:lnTo>
                <a:lnTo>
                  <a:pt x="177" y="283"/>
                </a:lnTo>
                <a:lnTo>
                  <a:pt x="177" y="285"/>
                </a:lnTo>
                <a:lnTo>
                  <a:pt x="179" y="288"/>
                </a:lnTo>
                <a:lnTo>
                  <a:pt x="181" y="285"/>
                </a:lnTo>
                <a:lnTo>
                  <a:pt x="179" y="288"/>
                </a:lnTo>
                <a:lnTo>
                  <a:pt x="177" y="290"/>
                </a:lnTo>
                <a:lnTo>
                  <a:pt x="177" y="292"/>
                </a:lnTo>
                <a:lnTo>
                  <a:pt x="174" y="292"/>
                </a:lnTo>
                <a:lnTo>
                  <a:pt x="172" y="298"/>
                </a:lnTo>
                <a:lnTo>
                  <a:pt x="168" y="298"/>
                </a:lnTo>
                <a:lnTo>
                  <a:pt x="166" y="298"/>
                </a:lnTo>
                <a:lnTo>
                  <a:pt x="166" y="294"/>
                </a:lnTo>
                <a:lnTo>
                  <a:pt x="164" y="292"/>
                </a:lnTo>
                <a:lnTo>
                  <a:pt x="161" y="294"/>
                </a:lnTo>
                <a:lnTo>
                  <a:pt x="159" y="298"/>
                </a:lnTo>
                <a:lnTo>
                  <a:pt x="151" y="305"/>
                </a:lnTo>
                <a:lnTo>
                  <a:pt x="149" y="305"/>
                </a:lnTo>
                <a:lnTo>
                  <a:pt x="146" y="307"/>
                </a:lnTo>
                <a:lnTo>
                  <a:pt x="146" y="305"/>
                </a:lnTo>
                <a:lnTo>
                  <a:pt x="144" y="305"/>
                </a:lnTo>
                <a:lnTo>
                  <a:pt x="144" y="303"/>
                </a:lnTo>
                <a:lnTo>
                  <a:pt x="142" y="303"/>
                </a:lnTo>
                <a:lnTo>
                  <a:pt x="140" y="305"/>
                </a:lnTo>
                <a:lnTo>
                  <a:pt x="142" y="309"/>
                </a:lnTo>
                <a:lnTo>
                  <a:pt x="136" y="316"/>
                </a:lnTo>
                <a:lnTo>
                  <a:pt x="133" y="316"/>
                </a:lnTo>
                <a:lnTo>
                  <a:pt x="131" y="316"/>
                </a:lnTo>
                <a:lnTo>
                  <a:pt x="129" y="318"/>
                </a:lnTo>
                <a:lnTo>
                  <a:pt x="123" y="320"/>
                </a:lnTo>
                <a:lnTo>
                  <a:pt x="116" y="324"/>
                </a:lnTo>
                <a:lnTo>
                  <a:pt x="110" y="320"/>
                </a:lnTo>
                <a:lnTo>
                  <a:pt x="103" y="318"/>
                </a:lnTo>
                <a:lnTo>
                  <a:pt x="101" y="320"/>
                </a:lnTo>
                <a:lnTo>
                  <a:pt x="101" y="322"/>
                </a:lnTo>
                <a:lnTo>
                  <a:pt x="97" y="324"/>
                </a:lnTo>
                <a:lnTo>
                  <a:pt x="95" y="326"/>
                </a:lnTo>
                <a:lnTo>
                  <a:pt x="92" y="329"/>
                </a:lnTo>
                <a:lnTo>
                  <a:pt x="84" y="333"/>
                </a:lnTo>
                <a:lnTo>
                  <a:pt x="82" y="329"/>
                </a:lnTo>
                <a:lnTo>
                  <a:pt x="77" y="329"/>
                </a:lnTo>
                <a:lnTo>
                  <a:pt x="77" y="326"/>
                </a:lnTo>
                <a:lnTo>
                  <a:pt x="75" y="324"/>
                </a:lnTo>
                <a:lnTo>
                  <a:pt x="71" y="326"/>
                </a:lnTo>
                <a:lnTo>
                  <a:pt x="69" y="326"/>
                </a:lnTo>
                <a:lnTo>
                  <a:pt x="69" y="324"/>
                </a:lnTo>
                <a:lnTo>
                  <a:pt x="66" y="322"/>
                </a:lnTo>
                <a:lnTo>
                  <a:pt x="64" y="322"/>
                </a:lnTo>
                <a:lnTo>
                  <a:pt x="62" y="320"/>
                </a:lnTo>
                <a:lnTo>
                  <a:pt x="62" y="316"/>
                </a:lnTo>
                <a:lnTo>
                  <a:pt x="58" y="311"/>
                </a:lnTo>
                <a:lnTo>
                  <a:pt x="58" y="309"/>
                </a:lnTo>
                <a:lnTo>
                  <a:pt x="60" y="307"/>
                </a:lnTo>
                <a:lnTo>
                  <a:pt x="58" y="305"/>
                </a:lnTo>
                <a:lnTo>
                  <a:pt x="51" y="305"/>
                </a:lnTo>
                <a:lnTo>
                  <a:pt x="51" y="307"/>
                </a:lnTo>
                <a:lnTo>
                  <a:pt x="49" y="305"/>
                </a:lnTo>
                <a:lnTo>
                  <a:pt x="45" y="305"/>
                </a:lnTo>
                <a:lnTo>
                  <a:pt x="45" y="303"/>
                </a:lnTo>
                <a:lnTo>
                  <a:pt x="43" y="303"/>
                </a:lnTo>
                <a:lnTo>
                  <a:pt x="41" y="298"/>
                </a:lnTo>
                <a:lnTo>
                  <a:pt x="41" y="300"/>
                </a:lnTo>
                <a:lnTo>
                  <a:pt x="36" y="298"/>
                </a:lnTo>
                <a:lnTo>
                  <a:pt x="32" y="294"/>
                </a:lnTo>
                <a:lnTo>
                  <a:pt x="28" y="290"/>
                </a:lnTo>
                <a:lnTo>
                  <a:pt x="30" y="288"/>
                </a:lnTo>
                <a:lnTo>
                  <a:pt x="28" y="285"/>
                </a:lnTo>
                <a:lnTo>
                  <a:pt x="21" y="285"/>
                </a:lnTo>
                <a:lnTo>
                  <a:pt x="19" y="277"/>
                </a:lnTo>
                <a:lnTo>
                  <a:pt x="17" y="277"/>
                </a:lnTo>
                <a:lnTo>
                  <a:pt x="13" y="275"/>
                </a:lnTo>
                <a:lnTo>
                  <a:pt x="15" y="272"/>
                </a:lnTo>
                <a:lnTo>
                  <a:pt x="15" y="270"/>
                </a:lnTo>
                <a:lnTo>
                  <a:pt x="10" y="268"/>
                </a:lnTo>
                <a:lnTo>
                  <a:pt x="4" y="257"/>
                </a:lnTo>
                <a:lnTo>
                  <a:pt x="0" y="255"/>
                </a:lnTo>
                <a:lnTo>
                  <a:pt x="0" y="253"/>
                </a:lnTo>
                <a:lnTo>
                  <a:pt x="2" y="253"/>
                </a:lnTo>
                <a:lnTo>
                  <a:pt x="2" y="251"/>
                </a:lnTo>
                <a:lnTo>
                  <a:pt x="0" y="247"/>
                </a:lnTo>
                <a:lnTo>
                  <a:pt x="2" y="244"/>
                </a:lnTo>
                <a:lnTo>
                  <a:pt x="4" y="244"/>
                </a:lnTo>
                <a:lnTo>
                  <a:pt x="2" y="240"/>
                </a:lnTo>
                <a:lnTo>
                  <a:pt x="0" y="236"/>
                </a:lnTo>
                <a:lnTo>
                  <a:pt x="0" y="229"/>
                </a:lnTo>
                <a:lnTo>
                  <a:pt x="2" y="229"/>
                </a:lnTo>
                <a:lnTo>
                  <a:pt x="4" y="229"/>
                </a:lnTo>
                <a:lnTo>
                  <a:pt x="8" y="229"/>
                </a:lnTo>
                <a:lnTo>
                  <a:pt x="13" y="227"/>
                </a:lnTo>
                <a:lnTo>
                  <a:pt x="15" y="227"/>
                </a:lnTo>
                <a:lnTo>
                  <a:pt x="19" y="225"/>
                </a:lnTo>
                <a:lnTo>
                  <a:pt x="19" y="223"/>
                </a:lnTo>
                <a:lnTo>
                  <a:pt x="19" y="212"/>
                </a:lnTo>
                <a:lnTo>
                  <a:pt x="21" y="210"/>
                </a:lnTo>
                <a:lnTo>
                  <a:pt x="25" y="210"/>
                </a:lnTo>
                <a:lnTo>
                  <a:pt x="28" y="210"/>
                </a:lnTo>
                <a:lnTo>
                  <a:pt x="28" y="206"/>
                </a:lnTo>
                <a:lnTo>
                  <a:pt x="25" y="201"/>
                </a:lnTo>
                <a:lnTo>
                  <a:pt x="25" y="197"/>
                </a:lnTo>
                <a:lnTo>
                  <a:pt x="21" y="193"/>
                </a:lnTo>
                <a:lnTo>
                  <a:pt x="21" y="190"/>
                </a:lnTo>
                <a:lnTo>
                  <a:pt x="28" y="186"/>
                </a:lnTo>
                <a:lnTo>
                  <a:pt x="28" y="180"/>
                </a:lnTo>
                <a:lnTo>
                  <a:pt x="28" y="175"/>
                </a:lnTo>
                <a:lnTo>
                  <a:pt x="30" y="173"/>
                </a:lnTo>
                <a:lnTo>
                  <a:pt x="30" y="171"/>
                </a:lnTo>
                <a:lnTo>
                  <a:pt x="32" y="169"/>
                </a:lnTo>
                <a:lnTo>
                  <a:pt x="34" y="169"/>
                </a:lnTo>
                <a:lnTo>
                  <a:pt x="36" y="171"/>
                </a:lnTo>
                <a:lnTo>
                  <a:pt x="41" y="171"/>
                </a:lnTo>
                <a:lnTo>
                  <a:pt x="43" y="175"/>
                </a:lnTo>
                <a:lnTo>
                  <a:pt x="43" y="177"/>
                </a:lnTo>
                <a:lnTo>
                  <a:pt x="43" y="180"/>
                </a:lnTo>
                <a:lnTo>
                  <a:pt x="45" y="180"/>
                </a:lnTo>
                <a:lnTo>
                  <a:pt x="47" y="177"/>
                </a:lnTo>
                <a:lnTo>
                  <a:pt x="47" y="173"/>
                </a:lnTo>
                <a:lnTo>
                  <a:pt x="51" y="175"/>
                </a:lnTo>
                <a:lnTo>
                  <a:pt x="51" y="173"/>
                </a:lnTo>
                <a:lnTo>
                  <a:pt x="51" y="171"/>
                </a:lnTo>
                <a:lnTo>
                  <a:pt x="49" y="164"/>
                </a:lnTo>
                <a:lnTo>
                  <a:pt x="47" y="162"/>
                </a:lnTo>
                <a:lnTo>
                  <a:pt x="47" y="160"/>
                </a:lnTo>
                <a:lnTo>
                  <a:pt x="49" y="160"/>
                </a:lnTo>
                <a:lnTo>
                  <a:pt x="51" y="158"/>
                </a:lnTo>
                <a:lnTo>
                  <a:pt x="51" y="156"/>
                </a:lnTo>
                <a:lnTo>
                  <a:pt x="49" y="152"/>
                </a:lnTo>
                <a:lnTo>
                  <a:pt x="51" y="147"/>
                </a:lnTo>
                <a:lnTo>
                  <a:pt x="54" y="145"/>
                </a:lnTo>
                <a:lnTo>
                  <a:pt x="54" y="143"/>
                </a:lnTo>
                <a:lnTo>
                  <a:pt x="54" y="141"/>
                </a:lnTo>
                <a:lnTo>
                  <a:pt x="62" y="141"/>
                </a:lnTo>
                <a:lnTo>
                  <a:pt x="62" y="132"/>
                </a:lnTo>
                <a:lnTo>
                  <a:pt x="66" y="126"/>
                </a:lnTo>
                <a:lnTo>
                  <a:pt x="69" y="126"/>
                </a:lnTo>
                <a:lnTo>
                  <a:pt x="75" y="130"/>
                </a:lnTo>
                <a:lnTo>
                  <a:pt x="77" y="130"/>
                </a:lnTo>
                <a:lnTo>
                  <a:pt x="79" y="126"/>
                </a:lnTo>
                <a:lnTo>
                  <a:pt x="84" y="126"/>
                </a:lnTo>
                <a:lnTo>
                  <a:pt x="84" y="123"/>
                </a:lnTo>
                <a:lnTo>
                  <a:pt x="86" y="123"/>
                </a:lnTo>
                <a:lnTo>
                  <a:pt x="86" y="121"/>
                </a:lnTo>
                <a:lnTo>
                  <a:pt x="92" y="115"/>
                </a:lnTo>
                <a:lnTo>
                  <a:pt x="92" y="113"/>
                </a:lnTo>
                <a:lnTo>
                  <a:pt x="97" y="111"/>
                </a:lnTo>
                <a:lnTo>
                  <a:pt x="97" y="108"/>
                </a:lnTo>
                <a:lnTo>
                  <a:pt x="99" y="106"/>
                </a:lnTo>
                <a:lnTo>
                  <a:pt x="101" y="102"/>
                </a:lnTo>
                <a:lnTo>
                  <a:pt x="103" y="102"/>
                </a:lnTo>
                <a:lnTo>
                  <a:pt x="103" y="95"/>
                </a:lnTo>
                <a:lnTo>
                  <a:pt x="108" y="93"/>
                </a:lnTo>
                <a:lnTo>
                  <a:pt x="108" y="91"/>
                </a:lnTo>
                <a:lnTo>
                  <a:pt x="103" y="89"/>
                </a:lnTo>
                <a:lnTo>
                  <a:pt x="103" y="87"/>
                </a:lnTo>
                <a:lnTo>
                  <a:pt x="108" y="80"/>
                </a:lnTo>
                <a:lnTo>
                  <a:pt x="108" y="78"/>
                </a:lnTo>
                <a:lnTo>
                  <a:pt x="110" y="76"/>
                </a:lnTo>
                <a:lnTo>
                  <a:pt x="108" y="74"/>
                </a:lnTo>
                <a:lnTo>
                  <a:pt x="108" y="72"/>
                </a:lnTo>
                <a:lnTo>
                  <a:pt x="110" y="72"/>
                </a:lnTo>
                <a:lnTo>
                  <a:pt x="110" y="70"/>
                </a:lnTo>
                <a:lnTo>
                  <a:pt x="110" y="65"/>
                </a:lnTo>
                <a:lnTo>
                  <a:pt x="110" y="61"/>
                </a:lnTo>
                <a:lnTo>
                  <a:pt x="110" y="48"/>
                </a:lnTo>
                <a:lnTo>
                  <a:pt x="110" y="46"/>
                </a:lnTo>
                <a:lnTo>
                  <a:pt x="112" y="44"/>
                </a:lnTo>
                <a:lnTo>
                  <a:pt x="112" y="39"/>
                </a:lnTo>
                <a:lnTo>
                  <a:pt x="114" y="37"/>
                </a:lnTo>
                <a:lnTo>
                  <a:pt x="114" y="33"/>
                </a:lnTo>
                <a:lnTo>
                  <a:pt x="114" y="26"/>
                </a:lnTo>
                <a:lnTo>
                  <a:pt x="112" y="26"/>
                </a:lnTo>
                <a:lnTo>
                  <a:pt x="112" y="16"/>
                </a:lnTo>
                <a:lnTo>
                  <a:pt x="110" y="16"/>
                </a:lnTo>
                <a:lnTo>
                  <a:pt x="110" y="11"/>
                </a:lnTo>
                <a:lnTo>
                  <a:pt x="108" y="9"/>
                </a:lnTo>
                <a:lnTo>
                  <a:pt x="108" y="7"/>
                </a:lnTo>
                <a:lnTo>
                  <a:pt x="110" y="5"/>
                </a:lnTo>
                <a:lnTo>
                  <a:pt x="112" y="5"/>
                </a:lnTo>
                <a:lnTo>
                  <a:pt x="114" y="0"/>
                </a:lnTo>
                <a:lnTo>
                  <a:pt x="116" y="16"/>
                </a:lnTo>
                <a:lnTo>
                  <a:pt x="118" y="24"/>
                </a:lnTo>
                <a:lnTo>
                  <a:pt x="123" y="46"/>
                </a:lnTo>
                <a:lnTo>
                  <a:pt x="125" y="59"/>
                </a:lnTo>
                <a:lnTo>
                  <a:pt x="127" y="63"/>
                </a:lnTo>
                <a:lnTo>
                  <a:pt x="129" y="87"/>
                </a:lnTo>
                <a:lnTo>
                  <a:pt x="136" y="87"/>
                </a:lnTo>
                <a:lnTo>
                  <a:pt x="172" y="78"/>
                </a:lnTo>
                <a:lnTo>
                  <a:pt x="183" y="78"/>
                </a:lnTo>
                <a:lnTo>
                  <a:pt x="205" y="74"/>
                </a:lnTo>
                <a:lnTo>
                  <a:pt x="211" y="123"/>
                </a:lnTo>
                <a:lnTo>
                  <a:pt x="211" y="121"/>
                </a:lnTo>
                <a:lnTo>
                  <a:pt x="213" y="121"/>
                </a:lnTo>
                <a:lnTo>
                  <a:pt x="215" y="113"/>
                </a:lnTo>
                <a:lnTo>
                  <a:pt x="218" y="111"/>
                </a:lnTo>
                <a:lnTo>
                  <a:pt x="224" y="111"/>
                </a:lnTo>
                <a:lnTo>
                  <a:pt x="224" y="108"/>
                </a:lnTo>
                <a:lnTo>
                  <a:pt x="224" y="106"/>
                </a:lnTo>
                <a:lnTo>
                  <a:pt x="231" y="102"/>
                </a:lnTo>
                <a:lnTo>
                  <a:pt x="231" y="98"/>
                </a:lnTo>
                <a:lnTo>
                  <a:pt x="233" y="98"/>
                </a:lnTo>
                <a:lnTo>
                  <a:pt x="233" y="93"/>
                </a:lnTo>
                <a:lnTo>
                  <a:pt x="237" y="91"/>
                </a:lnTo>
                <a:lnTo>
                  <a:pt x="244" y="93"/>
                </a:lnTo>
                <a:lnTo>
                  <a:pt x="244" y="91"/>
                </a:lnTo>
                <a:lnTo>
                  <a:pt x="248" y="82"/>
                </a:lnTo>
                <a:lnTo>
                  <a:pt x="250" y="80"/>
                </a:lnTo>
                <a:lnTo>
                  <a:pt x="254" y="78"/>
                </a:lnTo>
                <a:lnTo>
                  <a:pt x="250" y="78"/>
                </a:lnTo>
                <a:lnTo>
                  <a:pt x="254" y="76"/>
                </a:lnTo>
                <a:lnTo>
                  <a:pt x="254" y="74"/>
                </a:lnTo>
                <a:lnTo>
                  <a:pt x="254" y="72"/>
                </a:lnTo>
                <a:lnTo>
                  <a:pt x="254" y="74"/>
                </a:lnTo>
                <a:lnTo>
                  <a:pt x="256" y="74"/>
                </a:lnTo>
                <a:lnTo>
                  <a:pt x="259" y="74"/>
                </a:lnTo>
                <a:lnTo>
                  <a:pt x="256" y="76"/>
                </a:lnTo>
                <a:lnTo>
                  <a:pt x="254" y="76"/>
                </a:lnTo>
                <a:lnTo>
                  <a:pt x="256" y="78"/>
                </a:lnTo>
                <a:lnTo>
                  <a:pt x="259" y="78"/>
                </a:lnTo>
                <a:lnTo>
                  <a:pt x="263" y="80"/>
                </a:lnTo>
                <a:lnTo>
                  <a:pt x="265" y="80"/>
                </a:lnTo>
                <a:lnTo>
                  <a:pt x="267" y="80"/>
                </a:lnTo>
                <a:lnTo>
                  <a:pt x="272" y="80"/>
                </a:lnTo>
                <a:lnTo>
                  <a:pt x="274" y="78"/>
                </a:lnTo>
                <a:lnTo>
                  <a:pt x="276" y="78"/>
                </a:lnTo>
                <a:lnTo>
                  <a:pt x="278" y="78"/>
                </a:lnTo>
                <a:lnTo>
                  <a:pt x="278" y="76"/>
                </a:lnTo>
                <a:lnTo>
                  <a:pt x="280" y="76"/>
                </a:lnTo>
                <a:lnTo>
                  <a:pt x="276" y="74"/>
                </a:lnTo>
                <a:lnTo>
                  <a:pt x="278" y="74"/>
                </a:lnTo>
                <a:lnTo>
                  <a:pt x="280" y="74"/>
                </a:lnTo>
                <a:lnTo>
                  <a:pt x="278" y="70"/>
                </a:lnTo>
                <a:lnTo>
                  <a:pt x="280" y="70"/>
                </a:lnTo>
                <a:lnTo>
                  <a:pt x="282" y="70"/>
                </a:lnTo>
                <a:lnTo>
                  <a:pt x="282" y="65"/>
                </a:lnTo>
                <a:lnTo>
                  <a:pt x="291" y="70"/>
                </a:lnTo>
                <a:lnTo>
                  <a:pt x="291" y="65"/>
                </a:lnTo>
                <a:lnTo>
                  <a:pt x="291" y="63"/>
                </a:lnTo>
                <a:lnTo>
                  <a:pt x="291" y="61"/>
                </a:lnTo>
                <a:lnTo>
                  <a:pt x="293" y="61"/>
                </a:lnTo>
                <a:lnTo>
                  <a:pt x="295" y="59"/>
                </a:lnTo>
                <a:lnTo>
                  <a:pt x="300" y="61"/>
                </a:lnTo>
                <a:lnTo>
                  <a:pt x="306" y="63"/>
                </a:lnTo>
                <a:lnTo>
                  <a:pt x="310" y="65"/>
                </a:lnTo>
                <a:lnTo>
                  <a:pt x="310" y="63"/>
                </a:lnTo>
                <a:lnTo>
                  <a:pt x="313" y="65"/>
                </a:lnTo>
                <a:lnTo>
                  <a:pt x="313" y="63"/>
                </a:lnTo>
                <a:lnTo>
                  <a:pt x="315" y="65"/>
                </a:lnTo>
                <a:lnTo>
                  <a:pt x="315" y="63"/>
                </a:lnTo>
                <a:lnTo>
                  <a:pt x="319" y="63"/>
                </a:lnTo>
                <a:lnTo>
                  <a:pt x="321" y="63"/>
                </a:lnTo>
                <a:lnTo>
                  <a:pt x="321" y="65"/>
                </a:lnTo>
                <a:lnTo>
                  <a:pt x="319" y="70"/>
                </a:lnTo>
                <a:lnTo>
                  <a:pt x="321" y="72"/>
                </a:lnTo>
                <a:lnTo>
                  <a:pt x="323" y="72"/>
                </a:lnTo>
                <a:lnTo>
                  <a:pt x="321" y="74"/>
                </a:lnTo>
                <a:lnTo>
                  <a:pt x="323" y="74"/>
                </a:lnTo>
                <a:lnTo>
                  <a:pt x="328" y="72"/>
                </a:lnTo>
                <a:lnTo>
                  <a:pt x="326" y="74"/>
                </a:lnTo>
                <a:lnTo>
                  <a:pt x="326" y="76"/>
                </a:lnTo>
                <a:lnTo>
                  <a:pt x="326" y="78"/>
                </a:lnTo>
                <a:lnTo>
                  <a:pt x="330" y="78"/>
                </a:lnTo>
                <a:lnTo>
                  <a:pt x="330" y="80"/>
                </a:lnTo>
                <a:lnTo>
                  <a:pt x="330" y="82"/>
                </a:lnTo>
                <a:lnTo>
                  <a:pt x="330" y="87"/>
                </a:lnTo>
                <a:lnTo>
                  <a:pt x="330" y="89"/>
                </a:lnTo>
                <a:lnTo>
                  <a:pt x="332" y="89"/>
                </a:lnTo>
                <a:lnTo>
                  <a:pt x="330" y="91"/>
                </a:lnTo>
                <a:lnTo>
                  <a:pt x="330" y="95"/>
                </a:lnTo>
                <a:lnTo>
                  <a:pt x="330" y="102"/>
                </a:lnTo>
                <a:lnTo>
                  <a:pt x="330" y="106"/>
                </a:lnTo>
                <a:lnTo>
                  <a:pt x="313" y="95"/>
                </a:lnTo>
                <a:lnTo>
                  <a:pt x="295" y="89"/>
                </a:lnTo>
                <a:lnTo>
                  <a:pt x="293" y="87"/>
                </a:lnTo>
                <a:lnTo>
                  <a:pt x="289" y="82"/>
                </a:lnTo>
                <a:lnTo>
                  <a:pt x="289" y="91"/>
                </a:lnTo>
                <a:lnTo>
                  <a:pt x="289" y="93"/>
                </a:lnTo>
                <a:lnTo>
                  <a:pt x="291" y="93"/>
                </a:lnTo>
                <a:lnTo>
                  <a:pt x="287" y="104"/>
                </a:lnTo>
                <a:lnTo>
                  <a:pt x="289" y="104"/>
                </a:lnTo>
                <a:lnTo>
                  <a:pt x="287" y="108"/>
                </a:lnTo>
                <a:lnTo>
                  <a:pt x="289" y="111"/>
                </a:lnTo>
                <a:lnTo>
                  <a:pt x="287" y="113"/>
                </a:lnTo>
                <a:lnTo>
                  <a:pt x="287" y="115"/>
                </a:lnTo>
                <a:lnTo>
                  <a:pt x="282" y="119"/>
                </a:lnTo>
                <a:lnTo>
                  <a:pt x="280" y="123"/>
                </a:lnTo>
                <a:lnTo>
                  <a:pt x="278" y="126"/>
                </a:lnTo>
                <a:lnTo>
                  <a:pt x="280" y="126"/>
                </a:lnTo>
                <a:lnTo>
                  <a:pt x="280" y="128"/>
                </a:lnTo>
                <a:lnTo>
                  <a:pt x="278" y="132"/>
                </a:lnTo>
                <a:lnTo>
                  <a:pt x="276" y="130"/>
                </a:lnTo>
                <a:lnTo>
                  <a:pt x="276" y="132"/>
                </a:lnTo>
                <a:lnTo>
                  <a:pt x="274" y="139"/>
                </a:lnTo>
                <a:lnTo>
                  <a:pt x="272" y="139"/>
                </a:lnTo>
                <a:lnTo>
                  <a:pt x="267" y="139"/>
                </a:lnTo>
                <a:lnTo>
                  <a:pt x="265" y="143"/>
                </a:lnTo>
                <a:lnTo>
                  <a:pt x="263" y="147"/>
                </a:lnTo>
                <a:lnTo>
                  <a:pt x="263" y="154"/>
                </a:lnTo>
                <a:lnTo>
                  <a:pt x="250" y="147"/>
                </a:lnTo>
                <a:lnTo>
                  <a:pt x="248" y="154"/>
                </a:lnTo>
                <a:lnTo>
                  <a:pt x="248" y="158"/>
                </a:lnTo>
                <a:lnTo>
                  <a:pt x="248" y="162"/>
                </a:lnTo>
                <a:lnTo>
                  <a:pt x="248" y="164"/>
                </a:lnTo>
                <a:lnTo>
                  <a:pt x="246" y="164"/>
                </a:lnTo>
                <a:lnTo>
                  <a:pt x="246" y="169"/>
                </a:lnTo>
                <a:lnTo>
                  <a:pt x="241" y="186"/>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240" name="Freeform 73">
            <a:extLst>
              <a:ext uri="{FF2B5EF4-FFF2-40B4-BE49-F238E27FC236}">
                <a16:creationId xmlns:a16="http://schemas.microsoft.com/office/drawing/2014/main" id="{22FD7342-FAF6-4657-A1F7-D0AA6F259B02}"/>
              </a:ext>
            </a:extLst>
          </p:cNvPr>
          <p:cNvSpPr>
            <a:spLocks/>
          </p:cNvSpPr>
          <p:nvPr>
            <p:custDataLst>
              <p:tags r:id="rId64"/>
            </p:custDataLst>
          </p:nvPr>
        </p:nvSpPr>
        <p:spPr bwMode="auto">
          <a:xfrm>
            <a:off x="8490055" y="3389705"/>
            <a:ext cx="670753" cy="350196"/>
          </a:xfrm>
          <a:custGeom>
            <a:avLst/>
            <a:gdLst>
              <a:gd name="T0" fmla="*/ 2147483647 w 332"/>
              <a:gd name="T1" fmla="*/ 2147483647 h 162"/>
              <a:gd name="T2" fmla="*/ 2147483647 w 332"/>
              <a:gd name="T3" fmla="*/ 2147483647 h 162"/>
              <a:gd name="T4" fmla="*/ 2147483647 w 332"/>
              <a:gd name="T5" fmla="*/ 2147483647 h 162"/>
              <a:gd name="T6" fmla="*/ 2147483647 w 332"/>
              <a:gd name="T7" fmla="*/ 2147483647 h 162"/>
              <a:gd name="T8" fmla="*/ 2147483647 w 332"/>
              <a:gd name="T9" fmla="*/ 2147483647 h 162"/>
              <a:gd name="T10" fmla="*/ 2147483647 w 332"/>
              <a:gd name="T11" fmla="*/ 2147483647 h 162"/>
              <a:gd name="T12" fmla="*/ 2147483647 w 332"/>
              <a:gd name="T13" fmla="*/ 2147483647 h 162"/>
              <a:gd name="T14" fmla="*/ 2147483647 w 332"/>
              <a:gd name="T15" fmla="*/ 2147483647 h 162"/>
              <a:gd name="T16" fmla="*/ 2147483647 w 332"/>
              <a:gd name="T17" fmla="*/ 2147483647 h 162"/>
              <a:gd name="T18" fmla="*/ 2147483647 w 332"/>
              <a:gd name="T19" fmla="*/ 2147483647 h 162"/>
              <a:gd name="T20" fmla="*/ 2147483647 w 332"/>
              <a:gd name="T21" fmla="*/ 2147483647 h 162"/>
              <a:gd name="T22" fmla="*/ 2147483647 w 332"/>
              <a:gd name="T23" fmla="*/ 2147483647 h 162"/>
              <a:gd name="T24" fmla="*/ 2147483647 w 332"/>
              <a:gd name="T25" fmla="*/ 2147483647 h 162"/>
              <a:gd name="T26" fmla="*/ 2147483647 w 332"/>
              <a:gd name="T27" fmla="*/ 2147483647 h 162"/>
              <a:gd name="T28" fmla="*/ 2147483647 w 332"/>
              <a:gd name="T29" fmla="*/ 2147483647 h 162"/>
              <a:gd name="T30" fmla="*/ 2147483647 w 332"/>
              <a:gd name="T31" fmla="*/ 2147483647 h 162"/>
              <a:gd name="T32" fmla="*/ 2147483647 w 332"/>
              <a:gd name="T33" fmla="*/ 2147483647 h 162"/>
              <a:gd name="T34" fmla="*/ 2147483647 w 332"/>
              <a:gd name="T35" fmla="*/ 2147483647 h 162"/>
              <a:gd name="T36" fmla="*/ 2147483647 w 332"/>
              <a:gd name="T37" fmla="*/ 2147483647 h 162"/>
              <a:gd name="T38" fmla="*/ 2147483647 w 332"/>
              <a:gd name="T39" fmla="*/ 2147483647 h 162"/>
              <a:gd name="T40" fmla="*/ 2147483647 w 332"/>
              <a:gd name="T41" fmla="*/ 2147483647 h 162"/>
              <a:gd name="T42" fmla="*/ 2147483647 w 332"/>
              <a:gd name="T43" fmla="*/ 2147483647 h 162"/>
              <a:gd name="T44" fmla="*/ 2147483647 w 332"/>
              <a:gd name="T45" fmla="*/ 2147483647 h 162"/>
              <a:gd name="T46" fmla="*/ 2147483647 w 332"/>
              <a:gd name="T47" fmla="*/ 2147483647 h 162"/>
              <a:gd name="T48" fmla="*/ 2147483647 w 332"/>
              <a:gd name="T49" fmla="*/ 2147483647 h 162"/>
              <a:gd name="T50" fmla="*/ 2147483647 w 332"/>
              <a:gd name="T51" fmla="*/ 2147483647 h 162"/>
              <a:gd name="T52" fmla="*/ 2147483647 w 332"/>
              <a:gd name="T53" fmla="*/ 2147483647 h 162"/>
              <a:gd name="T54" fmla="*/ 2147483647 w 332"/>
              <a:gd name="T55" fmla="*/ 2147483647 h 162"/>
              <a:gd name="T56" fmla="*/ 2147483647 w 332"/>
              <a:gd name="T57" fmla="*/ 2147483647 h 162"/>
              <a:gd name="T58" fmla="*/ 2147483647 w 332"/>
              <a:gd name="T59" fmla="*/ 2147483647 h 162"/>
              <a:gd name="T60" fmla="*/ 2147483647 w 332"/>
              <a:gd name="T61" fmla="*/ 2147483647 h 162"/>
              <a:gd name="T62" fmla="*/ 2147483647 w 332"/>
              <a:gd name="T63" fmla="*/ 2147483647 h 162"/>
              <a:gd name="T64" fmla="*/ 2147483647 w 332"/>
              <a:gd name="T65" fmla="*/ 2147483647 h 162"/>
              <a:gd name="T66" fmla="*/ 2147483647 w 332"/>
              <a:gd name="T67" fmla="*/ 2147483647 h 162"/>
              <a:gd name="T68" fmla="*/ 2147483647 w 332"/>
              <a:gd name="T69" fmla="*/ 2147483647 h 162"/>
              <a:gd name="T70" fmla="*/ 2147483647 w 332"/>
              <a:gd name="T71" fmla="*/ 2147483647 h 162"/>
              <a:gd name="T72" fmla="*/ 2147483647 w 332"/>
              <a:gd name="T73" fmla="*/ 2147483647 h 162"/>
              <a:gd name="T74" fmla="*/ 2147483647 w 332"/>
              <a:gd name="T75" fmla="*/ 2147483647 h 162"/>
              <a:gd name="T76" fmla="*/ 2147483647 w 332"/>
              <a:gd name="T77" fmla="*/ 2147483647 h 162"/>
              <a:gd name="T78" fmla="*/ 2147483647 w 332"/>
              <a:gd name="T79" fmla="*/ 2147483647 h 162"/>
              <a:gd name="T80" fmla="*/ 2147483647 w 332"/>
              <a:gd name="T81" fmla="*/ 2147483647 h 162"/>
              <a:gd name="T82" fmla="*/ 2147483647 w 332"/>
              <a:gd name="T83" fmla="*/ 2147483647 h 162"/>
              <a:gd name="T84" fmla="*/ 2147483647 w 332"/>
              <a:gd name="T85" fmla="*/ 2147483647 h 162"/>
              <a:gd name="T86" fmla="*/ 2147483647 w 332"/>
              <a:gd name="T87" fmla="*/ 2147483647 h 162"/>
              <a:gd name="T88" fmla="*/ 2147483647 w 332"/>
              <a:gd name="T89" fmla="*/ 2147483647 h 162"/>
              <a:gd name="T90" fmla="*/ 2147483647 w 332"/>
              <a:gd name="T91" fmla="*/ 2147483647 h 162"/>
              <a:gd name="T92" fmla="*/ 2147483647 w 332"/>
              <a:gd name="T93" fmla="*/ 2147483647 h 162"/>
              <a:gd name="T94" fmla="*/ 2147483647 w 332"/>
              <a:gd name="T95" fmla="*/ 2147483647 h 162"/>
              <a:gd name="T96" fmla="*/ 2147483647 w 332"/>
              <a:gd name="T97" fmla="*/ 2147483647 h 162"/>
              <a:gd name="T98" fmla="*/ 2147483647 w 332"/>
              <a:gd name="T99" fmla="*/ 2147483647 h 162"/>
              <a:gd name="T100" fmla="*/ 2147483647 w 332"/>
              <a:gd name="T101" fmla="*/ 2147483647 h 162"/>
              <a:gd name="T102" fmla="*/ 2147483647 w 332"/>
              <a:gd name="T103" fmla="*/ 2147483647 h 162"/>
              <a:gd name="T104" fmla="*/ 2147483647 w 332"/>
              <a:gd name="T105" fmla="*/ 2147483647 h 1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32"/>
              <a:gd name="T160" fmla="*/ 0 h 162"/>
              <a:gd name="T161" fmla="*/ 332 w 332"/>
              <a:gd name="T162" fmla="*/ 162 h 1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32" h="162">
                <a:moveTo>
                  <a:pt x="285" y="97"/>
                </a:moveTo>
                <a:lnTo>
                  <a:pt x="285" y="104"/>
                </a:lnTo>
                <a:lnTo>
                  <a:pt x="287" y="112"/>
                </a:lnTo>
                <a:lnTo>
                  <a:pt x="313" y="106"/>
                </a:lnTo>
                <a:lnTo>
                  <a:pt x="332" y="104"/>
                </a:lnTo>
                <a:lnTo>
                  <a:pt x="330" y="112"/>
                </a:lnTo>
                <a:lnTo>
                  <a:pt x="332" y="121"/>
                </a:lnTo>
                <a:lnTo>
                  <a:pt x="324" y="130"/>
                </a:lnTo>
                <a:lnTo>
                  <a:pt x="319" y="145"/>
                </a:lnTo>
                <a:lnTo>
                  <a:pt x="319" y="149"/>
                </a:lnTo>
                <a:lnTo>
                  <a:pt x="302" y="153"/>
                </a:lnTo>
                <a:lnTo>
                  <a:pt x="302" y="156"/>
                </a:lnTo>
                <a:lnTo>
                  <a:pt x="287" y="160"/>
                </a:lnTo>
                <a:lnTo>
                  <a:pt x="289" y="147"/>
                </a:lnTo>
                <a:lnTo>
                  <a:pt x="280" y="140"/>
                </a:lnTo>
                <a:lnTo>
                  <a:pt x="283" y="136"/>
                </a:lnTo>
                <a:lnTo>
                  <a:pt x="285" y="132"/>
                </a:lnTo>
                <a:lnTo>
                  <a:pt x="278" y="134"/>
                </a:lnTo>
                <a:lnTo>
                  <a:pt x="278" y="123"/>
                </a:lnTo>
                <a:lnTo>
                  <a:pt x="274" y="134"/>
                </a:lnTo>
                <a:lnTo>
                  <a:pt x="270" y="134"/>
                </a:lnTo>
                <a:lnTo>
                  <a:pt x="267" y="132"/>
                </a:lnTo>
                <a:lnTo>
                  <a:pt x="267" y="136"/>
                </a:lnTo>
                <a:lnTo>
                  <a:pt x="248" y="123"/>
                </a:lnTo>
                <a:lnTo>
                  <a:pt x="246" y="119"/>
                </a:lnTo>
                <a:lnTo>
                  <a:pt x="252" y="112"/>
                </a:lnTo>
                <a:lnTo>
                  <a:pt x="248" y="108"/>
                </a:lnTo>
                <a:lnTo>
                  <a:pt x="263" y="106"/>
                </a:lnTo>
                <a:lnTo>
                  <a:pt x="263" y="104"/>
                </a:lnTo>
                <a:lnTo>
                  <a:pt x="261" y="106"/>
                </a:lnTo>
                <a:lnTo>
                  <a:pt x="261" y="104"/>
                </a:lnTo>
                <a:lnTo>
                  <a:pt x="252" y="97"/>
                </a:lnTo>
                <a:lnTo>
                  <a:pt x="250" y="97"/>
                </a:lnTo>
                <a:lnTo>
                  <a:pt x="246" y="95"/>
                </a:lnTo>
                <a:lnTo>
                  <a:pt x="241" y="95"/>
                </a:lnTo>
                <a:lnTo>
                  <a:pt x="237" y="102"/>
                </a:lnTo>
                <a:lnTo>
                  <a:pt x="239" y="87"/>
                </a:lnTo>
                <a:lnTo>
                  <a:pt x="248" y="91"/>
                </a:lnTo>
                <a:lnTo>
                  <a:pt x="250" y="89"/>
                </a:lnTo>
                <a:lnTo>
                  <a:pt x="250" y="80"/>
                </a:lnTo>
                <a:lnTo>
                  <a:pt x="252" y="80"/>
                </a:lnTo>
                <a:lnTo>
                  <a:pt x="250" y="80"/>
                </a:lnTo>
                <a:lnTo>
                  <a:pt x="250" y="74"/>
                </a:lnTo>
                <a:lnTo>
                  <a:pt x="250" y="78"/>
                </a:lnTo>
                <a:lnTo>
                  <a:pt x="241" y="74"/>
                </a:lnTo>
                <a:lnTo>
                  <a:pt x="248" y="58"/>
                </a:lnTo>
                <a:lnTo>
                  <a:pt x="239" y="63"/>
                </a:lnTo>
                <a:lnTo>
                  <a:pt x="237" y="58"/>
                </a:lnTo>
                <a:lnTo>
                  <a:pt x="237" y="52"/>
                </a:lnTo>
                <a:lnTo>
                  <a:pt x="241" y="39"/>
                </a:lnTo>
                <a:lnTo>
                  <a:pt x="248" y="37"/>
                </a:lnTo>
                <a:lnTo>
                  <a:pt x="261" y="33"/>
                </a:lnTo>
                <a:lnTo>
                  <a:pt x="250" y="33"/>
                </a:lnTo>
                <a:lnTo>
                  <a:pt x="250" y="24"/>
                </a:lnTo>
                <a:lnTo>
                  <a:pt x="248" y="20"/>
                </a:lnTo>
                <a:lnTo>
                  <a:pt x="241" y="17"/>
                </a:lnTo>
                <a:lnTo>
                  <a:pt x="239" y="20"/>
                </a:lnTo>
                <a:lnTo>
                  <a:pt x="237" y="35"/>
                </a:lnTo>
                <a:lnTo>
                  <a:pt x="233" y="37"/>
                </a:lnTo>
                <a:lnTo>
                  <a:pt x="222" y="37"/>
                </a:lnTo>
                <a:lnTo>
                  <a:pt x="222" y="52"/>
                </a:lnTo>
                <a:lnTo>
                  <a:pt x="216" y="54"/>
                </a:lnTo>
                <a:lnTo>
                  <a:pt x="207" y="54"/>
                </a:lnTo>
                <a:lnTo>
                  <a:pt x="213" y="54"/>
                </a:lnTo>
                <a:lnTo>
                  <a:pt x="213" y="58"/>
                </a:lnTo>
                <a:lnTo>
                  <a:pt x="209" y="58"/>
                </a:lnTo>
                <a:lnTo>
                  <a:pt x="209" y="63"/>
                </a:lnTo>
                <a:lnTo>
                  <a:pt x="213" y="58"/>
                </a:lnTo>
                <a:lnTo>
                  <a:pt x="224" y="65"/>
                </a:lnTo>
                <a:lnTo>
                  <a:pt x="224" y="84"/>
                </a:lnTo>
                <a:lnTo>
                  <a:pt x="222" y="99"/>
                </a:lnTo>
                <a:lnTo>
                  <a:pt x="224" y="102"/>
                </a:lnTo>
                <a:lnTo>
                  <a:pt x="231" y="119"/>
                </a:lnTo>
                <a:lnTo>
                  <a:pt x="239" y="130"/>
                </a:lnTo>
                <a:lnTo>
                  <a:pt x="239" y="134"/>
                </a:lnTo>
                <a:lnTo>
                  <a:pt x="239" y="136"/>
                </a:lnTo>
                <a:lnTo>
                  <a:pt x="235" y="136"/>
                </a:lnTo>
                <a:lnTo>
                  <a:pt x="231" y="130"/>
                </a:lnTo>
                <a:lnTo>
                  <a:pt x="220" y="130"/>
                </a:lnTo>
                <a:lnTo>
                  <a:pt x="248" y="145"/>
                </a:lnTo>
                <a:lnTo>
                  <a:pt x="252" y="162"/>
                </a:lnTo>
                <a:lnTo>
                  <a:pt x="231" y="149"/>
                </a:lnTo>
                <a:lnTo>
                  <a:pt x="218" y="149"/>
                </a:lnTo>
                <a:lnTo>
                  <a:pt x="207" y="136"/>
                </a:lnTo>
                <a:lnTo>
                  <a:pt x="205" y="147"/>
                </a:lnTo>
                <a:lnTo>
                  <a:pt x="200" y="145"/>
                </a:lnTo>
                <a:lnTo>
                  <a:pt x="196" y="136"/>
                </a:lnTo>
                <a:lnTo>
                  <a:pt x="181" y="140"/>
                </a:lnTo>
                <a:lnTo>
                  <a:pt x="177" y="138"/>
                </a:lnTo>
                <a:lnTo>
                  <a:pt x="175" y="134"/>
                </a:lnTo>
                <a:lnTo>
                  <a:pt x="183" y="117"/>
                </a:lnTo>
                <a:lnTo>
                  <a:pt x="183" y="115"/>
                </a:lnTo>
                <a:lnTo>
                  <a:pt x="185" y="112"/>
                </a:lnTo>
                <a:lnTo>
                  <a:pt x="185" y="108"/>
                </a:lnTo>
                <a:lnTo>
                  <a:pt x="188" y="108"/>
                </a:lnTo>
                <a:lnTo>
                  <a:pt x="185" y="102"/>
                </a:lnTo>
                <a:lnTo>
                  <a:pt x="196" y="91"/>
                </a:lnTo>
                <a:lnTo>
                  <a:pt x="185" y="87"/>
                </a:lnTo>
                <a:lnTo>
                  <a:pt x="183" y="84"/>
                </a:lnTo>
                <a:lnTo>
                  <a:pt x="177" y="91"/>
                </a:lnTo>
                <a:lnTo>
                  <a:pt x="175" y="89"/>
                </a:lnTo>
                <a:lnTo>
                  <a:pt x="168" y="89"/>
                </a:lnTo>
                <a:lnTo>
                  <a:pt x="168" y="84"/>
                </a:lnTo>
                <a:lnTo>
                  <a:pt x="159" y="82"/>
                </a:lnTo>
                <a:lnTo>
                  <a:pt x="153" y="82"/>
                </a:lnTo>
                <a:lnTo>
                  <a:pt x="151" y="82"/>
                </a:lnTo>
                <a:lnTo>
                  <a:pt x="151" y="80"/>
                </a:lnTo>
                <a:lnTo>
                  <a:pt x="149" y="80"/>
                </a:lnTo>
                <a:lnTo>
                  <a:pt x="146" y="78"/>
                </a:lnTo>
                <a:lnTo>
                  <a:pt x="149" y="74"/>
                </a:lnTo>
                <a:lnTo>
                  <a:pt x="149" y="69"/>
                </a:lnTo>
                <a:lnTo>
                  <a:pt x="146" y="67"/>
                </a:lnTo>
                <a:lnTo>
                  <a:pt x="142" y="67"/>
                </a:lnTo>
                <a:lnTo>
                  <a:pt x="140" y="65"/>
                </a:lnTo>
                <a:lnTo>
                  <a:pt x="136" y="65"/>
                </a:lnTo>
                <a:lnTo>
                  <a:pt x="131" y="65"/>
                </a:lnTo>
                <a:lnTo>
                  <a:pt x="127" y="65"/>
                </a:lnTo>
                <a:lnTo>
                  <a:pt x="125" y="65"/>
                </a:lnTo>
                <a:lnTo>
                  <a:pt x="125" y="63"/>
                </a:lnTo>
                <a:lnTo>
                  <a:pt x="125" y="58"/>
                </a:lnTo>
                <a:lnTo>
                  <a:pt x="125" y="56"/>
                </a:lnTo>
                <a:lnTo>
                  <a:pt x="125" y="54"/>
                </a:lnTo>
                <a:lnTo>
                  <a:pt x="121" y="54"/>
                </a:lnTo>
                <a:lnTo>
                  <a:pt x="121" y="52"/>
                </a:lnTo>
                <a:lnTo>
                  <a:pt x="121" y="50"/>
                </a:lnTo>
                <a:lnTo>
                  <a:pt x="123" y="48"/>
                </a:lnTo>
                <a:lnTo>
                  <a:pt x="118" y="50"/>
                </a:lnTo>
                <a:lnTo>
                  <a:pt x="116" y="50"/>
                </a:lnTo>
                <a:lnTo>
                  <a:pt x="118" y="48"/>
                </a:lnTo>
                <a:lnTo>
                  <a:pt x="116" y="48"/>
                </a:lnTo>
                <a:lnTo>
                  <a:pt x="114" y="46"/>
                </a:lnTo>
                <a:lnTo>
                  <a:pt x="116" y="41"/>
                </a:lnTo>
                <a:lnTo>
                  <a:pt x="116" y="39"/>
                </a:lnTo>
                <a:lnTo>
                  <a:pt x="114" y="39"/>
                </a:lnTo>
                <a:lnTo>
                  <a:pt x="110" y="39"/>
                </a:lnTo>
                <a:lnTo>
                  <a:pt x="110" y="41"/>
                </a:lnTo>
                <a:lnTo>
                  <a:pt x="108" y="39"/>
                </a:lnTo>
                <a:lnTo>
                  <a:pt x="108" y="41"/>
                </a:lnTo>
                <a:lnTo>
                  <a:pt x="105" y="39"/>
                </a:lnTo>
                <a:lnTo>
                  <a:pt x="105" y="41"/>
                </a:lnTo>
                <a:lnTo>
                  <a:pt x="101" y="39"/>
                </a:lnTo>
                <a:lnTo>
                  <a:pt x="95" y="37"/>
                </a:lnTo>
                <a:lnTo>
                  <a:pt x="90" y="35"/>
                </a:lnTo>
                <a:lnTo>
                  <a:pt x="88" y="37"/>
                </a:lnTo>
                <a:lnTo>
                  <a:pt x="86" y="37"/>
                </a:lnTo>
                <a:lnTo>
                  <a:pt x="86" y="39"/>
                </a:lnTo>
                <a:lnTo>
                  <a:pt x="86" y="41"/>
                </a:lnTo>
                <a:lnTo>
                  <a:pt x="86" y="46"/>
                </a:lnTo>
                <a:lnTo>
                  <a:pt x="77" y="41"/>
                </a:lnTo>
                <a:lnTo>
                  <a:pt x="77" y="46"/>
                </a:lnTo>
                <a:lnTo>
                  <a:pt x="75" y="46"/>
                </a:lnTo>
                <a:lnTo>
                  <a:pt x="73" y="46"/>
                </a:lnTo>
                <a:lnTo>
                  <a:pt x="75" y="50"/>
                </a:lnTo>
                <a:lnTo>
                  <a:pt x="73" y="50"/>
                </a:lnTo>
                <a:lnTo>
                  <a:pt x="71" y="50"/>
                </a:lnTo>
                <a:lnTo>
                  <a:pt x="75" y="52"/>
                </a:lnTo>
                <a:lnTo>
                  <a:pt x="73" y="52"/>
                </a:lnTo>
                <a:lnTo>
                  <a:pt x="73" y="54"/>
                </a:lnTo>
                <a:lnTo>
                  <a:pt x="71" y="54"/>
                </a:lnTo>
                <a:lnTo>
                  <a:pt x="69" y="54"/>
                </a:lnTo>
                <a:lnTo>
                  <a:pt x="67" y="56"/>
                </a:lnTo>
                <a:lnTo>
                  <a:pt x="62" y="56"/>
                </a:lnTo>
                <a:lnTo>
                  <a:pt x="60" y="56"/>
                </a:lnTo>
                <a:lnTo>
                  <a:pt x="58" y="56"/>
                </a:lnTo>
                <a:lnTo>
                  <a:pt x="54" y="54"/>
                </a:lnTo>
                <a:lnTo>
                  <a:pt x="51" y="54"/>
                </a:lnTo>
                <a:lnTo>
                  <a:pt x="49" y="52"/>
                </a:lnTo>
                <a:lnTo>
                  <a:pt x="51" y="52"/>
                </a:lnTo>
                <a:lnTo>
                  <a:pt x="54" y="50"/>
                </a:lnTo>
                <a:lnTo>
                  <a:pt x="51" y="50"/>
                </a:lnTo>
                <a:lnTo>
                  <a:pt x="49" y="50"/>
                </a:lnTo>
                <a:lnTo>
                  <a:pt x="49" y="48"/>
                </a:lnTo>
                <a:lnTo>
                  <a:pt x="49" y="50"/>
                </a:lnTo>
                <a:lnTo>
                  <a:pt x="49" y="52"/>
                </a:lnTo>
                <a:lnTo>
                  <a:pt x="45" y="54"/>
                </a:lnTo>
                <a:lnTo>
                  <a:pt x="49" y="54"/>
                </a:lnTo>
                <a:lnTo>
                  <a:pt x="45" y="56"/>
                </a:lnTo>
                <a:lnTo>
                  <a:pt x="43" y="58"/>
                </a:lnTo>
                <a:lnTo>
                  <a:pt x="39" y="67"/>
                </a:lnTo>
                <a:lnTo>
                  <a:pt x="39" y="69"/>
                </a:lnTo>
                <a:lnTo>
                  <a:pt x="32" y="67"/>
                </a:lnTo>
                <a:lnTo>
                  <a:pt x="28" y="69"/>
                </a:lnTo>
                <a:lnTo>
                  <a:pt x="28" y="74"/>
                </a:lnTo>
                <a:lnTo>
                  <a:pt x="26" y="74"/>
                </a:lnTo>
                <a:lnTo>
                  <a:pt x="26" y="78"/>
                </a:lnTo>
                <a:lnTo>
                  <a:pt x="19" y="82"/>
                </a:lnTo>
                <a:lnTo>
                  <a:pt x="19" y="84"/>
                </a:lnTo>
                <a:lnTo>
                  <a:pt x="19" y="87"/>
                </a:lnTo>
                <a:lnTo>
                  <a:pt x="13" y="87"/>
                </a:lnTo>
                <a:lnTo>
                  <a:pt x="10" y="89"/>
                </a:lnTo>
                <a:lnTo>
                  <a:pt x="8" y="97"/>
                </a:lnTo>
                <a:lnTo>
                  <a:pt x="6" y="97"/>
                </a:lnTo>
                <a:lnTo>
                  <a:pt x="6" y="99"/>
                </a:lnTo>
                <a:lnTo>
                  <a:pt x="0" y="50"/>
                </a:lnTo>
                <a:lnTo>
                  <a:pt x="4" y="50"/>
                </a:lnTo>
                <a:lnTo>
                  <a:pt x="36" y="41"/>
                </a:lnTo>
                <a:lnTo>
                  <a:pt x="43" y="41"/>
                </a:lnTo>
                <a:lnTo>
                  <a:pt x="75" y="35"/>
                </a:lnTo>
                <a:lnTo>
                  <a:pt x="77" y="35"/>
                </a:lnTo>
                <a:lnTo>
                  <a:pt x="95" y="33"/>
                </a:lnTo>
                <a:lnTo>
                  <a:pt x="138" y="24"/>
                </a:lnTo>
                <a:lnTo>
                  <a:pt x="140" y="24"/>
                </a:lnTo>
                <a:lnTo>
                  <a:pt x="155" y="20"/>
                </a:lnTo>
                <a:lnTo>
                  <a:pt x="172" y="17"/>
                </a:lnTo>
                <a:lnTo>
                  <a:pt x="188" y="15"/>
                </a:lnTo>
                <a:lnTo>
                  <a:pt x="203" y="9"/>
                </a:lnTo>
                <a:lnTo>
                  <a:pt x="224" y="4"/>
                </a:lnTo>
                <a:lnTo>
                  <a:pt x="233" y="4"/>
                </a:lnTo>
                <a:lnTo>
                  <a:pt x="257" y="0"/>
                </a:lnTo>
                <a:lnTo>
                  <a:pt x="265" y="30"/>
                </a:lnTo>
                <a:lnTo>
                  <a:pt x="267" y="37"/>
                </a:lnTo>
                <a:lnTo>
                  <a:pt x="267" y="41"/>
                </a:lnTo>
                <a:lnTo>
                  <a:pt x="270" y="52"/>
                </a:lnTo>
                <a:lnTo>
                  <a:pt x="280" y="80"/>
                </a:lnTo>
                <a:lnTo>
                  <a:pt x="285" y="97"/>
                </a:lnTo>
                <a:close/>
              </a:path>
            </a:pathLst>
          </a:custGeom>
          <a:noFill/>
          <a:ln w="9525">
            <a:noFill/>
            <a:round/>
            <a:headEnd/>
            <a:tailEnd/>
          </a:ln>
        </p:spPr>
        <p:txBody>
          <a:bodyPr/>
          <a:lstStyle/>
          <a:p>
            <a:endParaRPr lang="en-US" dirty="0">
              <a:solidFill>
                <a:prstClr val="black"/>
              </a:solidFill>
            </a:endParaRPr>
          </a:p>
        </p:txBody>
      </p:sp>
      <p:sp>
        <p:nvSpPr>
          <p:cNvPr id="241" name="Freeform 74">
            <a:extLst>
              <a:ext uri="{FF2B5EF4-FFF2-40B4-BE49-F238E27FC236}">
                <a16:creationId xmlns:a16="http://schemas.microsoft.com/office/drawing/2014/main" id="{C9501802-A5A5-479C-8280-159077A2633B}"/>
              </a:ext>
            </a:extLst>
          </p:cNvPr>
          <p:cNvSpPr>
            <a:spLocks/>
          </p:cNvSpPr>
          <p:nvPr>
            <p:custDataLst>
              <p:tags r:id="rId65"/>
            </p:custDataLst>
          </p:nvPr>
        </p:nvSpPr>
        <p:spPr bwMode="auto">
          <a:xfrm>
            <a:off x="8490055" y="3389705"/>
            <a:ext cx="670753" cy="350196"/>
          </a:xfrm>
          <a:custGeom>
            <a:avLst/>
            <a:gdLst>
              <a:gd name="T0" fmla="*/ 2147483647 w 332"/>
              <a:gd name="T1" fmla="*/ 2147483647 h 162"/>
              <a:gd name="T2" fmla="*/ 2147483647 w 332"/>
              <a:gd name="T3" fmla="*/ 2147483647 h 162"/>
              <a:gd name="T4" fmla="*/ 2147483647 w 332"/>
              <a:gd name="T5" fmla="*/ 2147483647 h 162"/>
              <a:gd name="T6" fmla="*/ 2147483647 w 332"/>
              <a:gd name="T7" fmla="*/ 2147483647 h 162"/>
              <a:gd name="T8" fmla="*/ 2147483647 w 332"/>
              <a:gd name="T9" fmla="*/ 2147483647 h 162"/>
              <a:gd name="T10" fmla="*/ 2147483647 w 332"/>
              <a:gd name="T11" fmla="*/ 2147483647 h 162"/>
              <a:gd name="T12" fmla="*/ 2147483647 w 332"/>
              <a:gd name="T13" fmla="*/ 2147483647 h 162"/>
              <a:gd name="T14" fmla="*/ 2147483647 w 332"/>
              <a:gd name="T15" fmla="*/ 2147483647 h 162"/>
              <a:gd name="T16" fmla="*/ 2147483647 w 332"/>
              <a:gd name="T17" fmla="*/ 2147483647 h 162"/>
              <a:gd name="T18" fmla="*/ 2147483647 w 332"/>
              <a:gd name="T19" fmla="*/ 2147483647 h 162"/>
              <a:gd name="T20" fmla="*/ 2147483647 w 332"/>
              <a:gd name="T21" fmla="*/ 2147483647 h 162"/>
              <a:gd name="T22" fmla="*/ 2147483647 w 332"/>
              <a:gd name="T23" fmla="*/ 2147483647 h 162"/>
              <a:gd name="T24" fmla="*/ 2147483647 w 332"/>
              <a:gd name="T25" fmla="*/ 2147483647 h 162"/>
              <a:gd name="T26" fmla="*/ 2147483647 w 332"/>
              <a:gd name="T27" fmla="*/ 2147483647 h 162"/>
              <a:gd name="T28" fmla="*/ 2147483647 w 332"/>
              <a:gd name="T29" fmla="*/ 2147483647 h 162"/>
              <a:gd name="T30" fmla="*/ 2147483647 w 332"/>
              <a:gd name="T31" fmla="*/ 2147483647 h 162"/>
              <a:gd name="T32" fmla="*/ 2147483647 w 332"/>
              <a:gd name="T33" fmla="*/ 2147483647 h 162"/>
              <a:gd name="T34" fmla="*/ 2147483647 w 332"/>
              <a:gd name="T35" fmla="*/ 2147483647 h 162"/>
              <a:gd name="T36" fmla="*/ 2147483647 w 332"/>
              <a:gd name="T37" fmla="*/ 2147483647 h 162"/>
              <a:gd name="T38" fmla="*/ 2147483647 w 332"/>
              <a:gd name="T39" fmla="*/ 2147483647 h 162"/>
              <a:gd name="T40" fmla="*/ 2147483647 w 332"/>
              <a:gd name="T41" fmla="*/ 2147483647 h 162"/>
              <a:gd name="T42" fmla="*/ 2147483647 w 332"/>
              <a:gd name="T43" fmla="*/ 2147483647 h 162"/>
              <a:gd name="T44" fmla="*/ 2147483647 w 332"/>
              <a:gd name="T45" fmla="*/ 2147483647 h 162"/>
              <a:gd name="T46" fmla="*/ 2147483647 w 332"/>
              <a:gd name="T47" fmla="*/ 2147483647 h 162"/>
              <a:gd name="T48" fmla="*/ 2147483647 w 332"/>
              <a:gd name="T49" fmla="*/ 2147483647 h 162"/>
              <a:gd name="T50" fmla="*/ 2147483647 w 332"/>
              <a:gd name="T51" fmla="*/ 2147483647 h 162"/>
              <a:gd name="T52" fmla="*/ 2147483647 w 332"/>
              <a:gd name="T53" fmla="*/ 2147483647 h 162"/>
              <a:gd name="T54" fmla="*/ 2147483647 w 332"/>
              <a:gd name="T55" fmla="*/ 2147483647 h 162"/>
              <a:gd name="T56" fmla="*/ 2147483647 w 332"/>
              <a:gd name="T57" fmla="*/ 2147483647 h 162"/>
              <a:gd name="T58" fmla="*/ 2147483647 w 332"/>
              <a:gd name="T59" fmla="*/ 2147483647 h 162"/>
              <a:gd name="T60" fmla="*/ 2147483647 w 332"/>
              <a:gd name="T61" fmla="*/ 2147483647 h 162"/>
              <a:gd name="T62" fmla="*/ 2147483647 w 332"/>
              <a:gd name="T63" fmla="*/ 2147483647 h 162"/>
              <a:gd name="T64" fmla="*/ 2147483647 w 332"/>
              <a:gd name="T65" fmla="*/ 2147483647 h 162"/>
              <a:gd name="T66" fmla="*/ 2147483647 w 332"/>
              <a:gd name="T67" fmla="*/ 2147483647 h 162"/>
              <a:gd name="T68" fmla="*/ 2147483647 w 332"/>
              <a:gd name="T69" fmla="*/ 2147483647 h 162"/>
              <a:gd name="T70" fmla="*/ 2147483647 w 332"/>
              <a:gd name="T71" fmla="*/ 2147483647 h 162"/>
              <a:gd name="T72" fmla="*/ 2147483647 w 332"/>
              <a:gd name="T73" fmla="*/ 2147483647 h 162"/>
              <a:gd name="T74" fmla="*/ 2147483647 w 332"/>
              <a:gd name="T75" fmla="*/ 2147483647 h 162"/>
              <a:gd name="T76" fmla="*/ 2147483647 w 332"/>
              <a:gd name="T77" fmla="*/ 2147483647 h 162"/>
              <a:gd name="T78" fmla="*/ 2147483647 w 332"/>
              <a:gd name="T79" fmla="*/ 2147483647 h 162"/>
              <a:gd name="T80" fmla="*/ 2147483647 w 332"/>
              <a:gd name="T81" fmla="*/ 2147483647 h 162"/>
              <a:gd name="T82" fmla="*/ 2147483647 w 332"/>
              <a:gd name="T83" fmla="*/ 2147483647 h 162"/>
              <a:gd name="T84" fmla="*/ 2147483647 w 332"/>
              <a:gd name="T85" fmla="*/ 2147483647 h 162"/>
              <a:gd name="T86" fmla="*/ 2147483647 w 332"/>
              <a:gd name="T87" fmla="*/ 2147483647 h 162"/>
              <a:gd name="T88" fmla="*/ 2147483647 w 332"/>
              <a:gd name="T89" fmla="*/ 2147483647 h 162"/>
              <a:gd name="T90" fmla="*/ 2147483647 w 332"/>
              <a:gd name="T91" fmla="*/ 2147483647 h 162"/>
              <a:gd name="T92" fmla="*/ 2147483647 w 332"/>
              <a:gd name="T93" fmla="*/ 2147483647 h 162"/>
              <a:gd name="T94" fmla="*/ 2147483647 w 332"/>
              <a:gd name="T95" fmla="*/ 2147483647 h 162"/>
              <a:gd name="T96" fmla="*/ 2147483647 w 332"/>
              <a:gd name="T97" fmla="*/ 2147483647 h 162"/>
              <a:gd name="T98" fmla="*/ 2147483647 w 332"/>
              <a:gd name="T99" fmla="*/ 2147483647 h 162"/>
              <a:gd name="T100" fmla="*/ 2147483647 w 332"/>
              <a:gd name="T101" fmla="*/ 2147483647 h 162"/>
              <a:gd name="T102" fmla="*/ 2147483647 w 332"/>
              <a:gd name="T103" fmla="*/ 2147483647 h 162"/>
              <a:gd name="T104" fmla="*/ 2147483647 w 332"/>
              <a:gd name="T105" fmla="*/ 2147483647 h 1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32"/>
              <a:gd name="T160" fmla="*/ 0 h 162"/>
              <a:gd name="T161" fmla="*/ 332 w 332"/>
              <a:gd name="T162" fmla="*/ 162 h 1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32" h="162">
                <a:moveTo>
                  <a:pt x="285" y="97"/>
                </a:moveTo>
                <a:lnTo>
                  <a:pt x="285" y="104"/>
                </a:lnTo>
                <a:lnTo>
                  <a:pt x="287" y="112"/>
                </a:lnTo>
                <a:lnTo>
                  <a:pt x="313" y="106"/>
                </a:lnTo>
                <a:lnTo>
                  <a:pt x="332" y="104"/>
                </a:lnTo>
                <a:lnTo>
                  <a:pt x="330" y="112"/>
                </a:lnTo>
                <a:lnTo>
                  <a:pt x="332" y="121"/>
                </a:lnTo>
                <a:lnTo>
                  <a:pt x="324" y="130"/>
                </a:lnTo>
                <a:lnTo>
                  <a:pt x="319" y="145"/>
                </a:lnTo>
                <a:lnTo>
                  <a:pt x="319" y="149"/>
                </a:lnTo>
                <a:lnTo>
                  <a:pt x="302" y="153"/>
                </a:lnTo>
                <a:lnTo>
                  <a:pt x="302" y="156"/>
                </a:lnTo>
                <a:lnTo>
                  <a:pt x="287" y="160"/>
                </a:lnTo>
                <a:lnTo>
                  <a:pt x="289" y="147"/>
                </a:lnTo>
                <a:lnTo>
                  <a:pt x="280" y="140"/>
                </a:lnTo>
                <a:lnTo>
                  <a:pt x="283" y="136"/>
                </a:lnTo>
                <a:lnTo>
                  <a:pt x="285" y="132"/>
                </a:lnTo>
                <a:lnTo>
                  <a:pt x="278" y="134"/>
                </a:lnTo>
                <a:lnTo>
                  <a:pt x="278" y="123"/>
                </a:lnTo>
                <a:lnTo>
                  <a:pt x="274" y="134"/>
                </a:lnTo>
                <a:lnTo>
                  <a:pt x="270" y="134"/>
                </a:lnTo>
                <a:lnTo>
                  <a:pt x="267" y="132"/>
                </a:lnTo>
                <a:lnTo>
                  <a:pt x="267" y="136"/>
                </a:lnTo>
                <a:lnTo>
                  <a:pt x="248" y="123"/>
                </a:lnTo>
                <a:lnTo>
                  <a:pt x="246" y="119"/>
                </a:lnTo>
                <a:lnTo>
                  <a:pt x="252" y="112"/>
                </a:lnTo>
                <a:lnTo>
                  <a:pt x="248" y="108"/>
                </a:lnTo>
                <a:lnTo>
                  <a:pt x="263" y="106"/>
                </a:lnTo>
                <a:lnTo>
                  <a:pt x="263" y="104"/>
                </a:lnTo>
                <a:lnTo>
                  <a:pt x="261" y="106"/>
                </a:lnTo>
                <a:lnTo>
                  <a:pt x="261" y="104"/>
                </a:lnTo>
                <a:lnTo>
                  <a:pt x="252" y="97"/>
                </a:lnTo>
                <a:lnTo>
                  <a:pt x="250" y="97"/>
                </a:lnTo>
                <a:lnTo>
                  <a:pt x="246" y="95"/>
                </a:lnTo>
                <a:lnTo>
                  <a:pt x="241" y="95"/>
                </a:lnTo>
                <a:lnTo>
                  <a:pt x="237" y="102"/>
                </a:lnTo>
                <a:lnTo>
                  <a:pt x="239" y="87"/>
                </a:lnTo>
                <a:lnTo>
                  <a:pt x="248" y="91"/>
                </a:lnTo>
                <a:lnTo>
                  <a:pt x="250" y="89"/>
                </a:lnTo>
                <a:lnTo>
                  <a:pt x="250" y="80"/>
                </a:lnTo>
                <a:lnTo>
                  <a:pt x="252" y="80"/>
                </a:lnTo>
                <a:lnTo>
                  <a:pt x="250" y="80"/>
                </a:lnTo>
                <a:lnTo>
                  <a:pt x="250" y="74"/>
                </a:lnTo>
                <a:lnTo>
                  <a:pt x="250" y="78"/>
                </a:lnTo>
                <a:lnTo>
                  <a:pt x="241" y="74"/>
                </a:lnTo>
                <a:lnTo>
                  <a:pt x="248" y="58"/>
                </a:lnTo>
                <a:lnTo>
                  <a:pt x="239" y="63"/>
                </a:lnTo>
                <a:lnTo>
                  <a:pt x="237" y="58"/>
                </a:lnTo>
                <a:lnTo>
                  <a:pt x="237" y="52"/>
                </a:lnTo>
                <a:lnTo>
                  <a:pt x="241" y="39"/>
                </a:lnTo>
                <a:lnTo>
                  <a:pt x="248" y="37"/>
                </a:lnTo>
                <a:lnTo>
                  <a:pt x="261" y="33"/>
                </a:lnTo>
                <a:lnTo>
                  <a:pt x="250" y="33"/>
                </a:lnTo>
                <a:lnTo>
                  <a:pt x="250" y="24"/>
                </a:lnTo>
                <a:lnTo>
                  <a:pt x="248" y="20"/>
                </a:lnTo>
                <a:lnTo>
                  <a:pt x="241" y="17"/>
                </a:lnTo>
                <a:lnTo>
                  <a:pt x="239" y="20"/>
                </a:lnTo>
                <a:lnTo>
                  <a:pt x="237" y="35"/>
                </a:lnTo>
                <a:lnTo>
                  <a:pt x="233" y="37"/>
                </a:lnTo>
                <a:lnTo>
                  <a:pt x="222" y="37"/>
                </a:lnTo>
                <a:lnTo>
                  <a:pt x="222" y="52"/>
                </a:lnTo>
                <a:lnTo>
                  <a:pt x="216" y="54"/>
                </a:lnTo>
                <a:lnTo>
                  <a:pt x="207" y="54"/>
                </a:lnTo>
                <a:lnTo>
                  <a:pt x="213" y="54"/>
                </a:lnTo>
                <a:lnTo>
                  <a:pt x="213" y="58"/>
                </a:lnTo>
                <a:lnTo>
                  <a:pt x="209" y="58"/>
                </a:lnTo>
                <a:lnTo>
                  <a:pt x="209" y="63"/>
                </a:lnTo>
                <a:lnTo>
                  <a:pt x="213" y="58"/>
                </a:lnTo>
                <a:lnTo>
                  <a:pt x="224" y="65"/>
                </a:lnTo>
                <a:lnTo>
                  <a:pt x="224" y="84"/>
                </a:lnTo>
                <a:lnTo>
                  <a:pt x="222" y="99"/>
                </a:lnTo>
                <a:lnTo>
                  <a:pt x="224" y="102"/>
                </a:lnTo>
                <a:lnTo>
                  <a:pt x="231" y="119"/>
                </a:lnTo>
                <a:lnTo>
                  <a:pt x="239" y="130"/>
                </a:lnTo>
                <a:lnTo>
                  <a:pt x="239" y="134"/>
                </a:lnTo>
                <a:lnTo>
                  <a:pt x="239" y="136"/>
                </a:lnTo>
                <a:lnTo>
                  <a:pt x="235" y="136"/>
                </a:lnTo>
                <a:lnTo>
                  <a:pt x="231" y="130"/>
                </a:lnTo>
                <a:lnTo>
                  <a:pt x="220" y="130"/>
                </a:lnTo>
                <a:lnTo>
                  <a:pt x="248" y="145"/>
                </a:lnTo>
                <a:lnTo>
                  <a:pt x="252" y="162"/>
                </a:lnTo>
                <a:lnTo>
                  <a:pt x="231" y="149"/>
                </a:lnTo>
                <a:lnTo>
                  <a:pt x="218" y="149"/>
                </a:lnTo>
                <a:lnTo>
                  <a:pt x="207" y="136"/>
                </a:lnTo>
                <a:lnTo>
                  <a:pt x="205" y="147"/>
                </a:lnTo>
                <a:lnTo>
                  <a:pt x="200" y="145"/>
                </a:lnTo>
                <a:lnTo>
                  <a:pt x="196" y="136"/>
                </a:lnTo>
                <a:lnTo>
                  <a:pt x="181" y="140"/>
                </a:lnTo>
                <a:lnTo>
                  <a:pt x="177" y="138"/>
                </a:lnTo>
                <a:lnTo>
                  <a:pt x="175" y="134"/>
                </a:lnTo>
                <a:lnTo>
                  <a:pt x="183" y="117"/>
                </a:lnTo>
                <a:lnTo>
                  <a:pt x="183" y="115"/>
                </a:lnTo>
                <a:lnTo>
                  <a:pt x="185" y="112"/>
                </a:lnTo>
                <a:lnTo>
                  <a:pt x="185" y="108"/>
                </a:lnTo>
                <a:lnTo>
                  <a:pt x="188" y="108"/>
                </a:lnTo>
                <a:lnTo>
                  <a:pt x="185" y="102"/>
                </a:lnTo>
                <a:lnTo>
                  <a:pt x="196" y="91"/>
                </a:lnTo>
                <a:lnTo>
                  <a:pt x="185" y="87"/>
                </a:lnTo>
                <a:lnTo>
                  <a:pt x="183" y="84"/>
                </a:lnTo>
                <a:lnTo>
                  <a:pt x="177" y="91"/>
                </a:lnTo>
                <a:lnTo>
                  <a:pt x="175" y="89"/>
                </a:lnTo>
                <a:lnTo>
                  <a:pt x="168" y="89"/>
                </a:lnTo>
                <a:lnTo>
                  <a:pt x="168" y="84"/>
                </a:lnTo>
                <a:lnTo>
                  <a:pt x="159" y="82"/>
                </a:lnTo>
                <a:lnTo>
                  <a:pt x="153" y="82"/>
                </a:lnTo>
                <a:lnTo>
                  <a:pt x="151" y="82"/>
                </a:lnTo>
                <a:lnTo>
                  <a:pt x="151" y="80"/>
                </a:lnTo>
                <a:lnTo>
                  <a:pt x="149" y="80"/>
                </a:lnTo>
                <a:lnTo>
                  <a:pt x="146" y="78"/>
                </a:lnTo>
                <a:lnTo>
                  <a:pt x="149" y="74"/>
                </a:lnTo>
                <a:lnTo>
                  <a:pt x="149" y="69"/>
                </a:lnTo>
                <a:lnTo>
                  <a:pt x="146" y="67"/>
                </a:lnTo>
                <a:lnTo>
                  <a:pt x="142" y="67"/>
                </a:lnTo>
                <a:lnTo>
                  <a:pt x="140" y="65"/>
                </a:lnTo>
                <a:lnTo>
                  <a:pt x="136" y="65"/>
                </a:lnTo>
                <a:lnTo>
                  <a:pt x="131" y="65"/>
                </a:lnTo>
                <a:lnTo>
                  <a:pt x="127" y="65"/>
                </a:lnTo>
                <a:lnTo>
                  <a:pt x="125" y="65"/>
                </a:lnTo>
                <a:lnTo>
                  <a:pt x="125" y="63"/>
                </a:lnTo>
                <a:lnTo>
                  <a:pt x="125" y="58"/>
                </a:lnTo>
                <a:lnTo>
                  <a:pt x="125" y="56"/>
                </a:lnTo>
                <a:lnTo>
                  <a:pt x="125" y="54"/>
                </a:lnTo>
                <a:lnTo>
                  <a:pt x="121" y="54"/>
                </a:lnTo>
                <a:lnTo>
                  <a:pt x="121" y="52"/>
                </a:lnTo>
                <a:lnTo>
                  <a:pt x="121" y="50"/>
                </a:lnTo>
                <a:lnTo>
                  <a:pt x="123" y="48"/>
                </a:lnTo>
                <a:lnTo>
                  <a:pt x="118" y="50"/>
                </a:lnTo>
                <a:lnTo>
                  <a:pt x="116" y="50"/>
                </a:lnTo>
                <a:lnTo>
                  <a:pt x="118" y="48"/>
                </a:lnTo>
                <a:lnTo>
                  <a:pt x="116" y="48"/>
                </a:lnTo>
                <a:lnTo>
                  <a:pt x="114" y="46"/>
                </a:lnTo>
                <a:lnTo>
                  <a:pt x="116" y="41"/>
                </a:lnTo>
                <a:lnTo>
                  <a:pt x="116" y="39"/>
                </a:lnTo>
                <a:lnTo>
                  <a:pt x="114" y="39"/>
                </a:lnTo>
                <a:lnTo>
                  <a:pt x="110" y="39"/>
                </a:lnTo>
                <a:lnTo>
                  <a:pt x="110" y="41"/>
                </a:lnTo>
                <a:lnTo>
                  <a:pt x="108" y="39"/>
                </a:lnTo>
                <a:lnTo>
                  <a:pt x="108" y="41"/>
                </a:lnTo>
                <a:lnTo>
                  <a:pt x="105" y="39"/>
                </a:lnTo>
                <a:lnTo>
                  <a:pt x="105" y="41"/>
                </a:lnTo>
                <a:lnTo>
                  <a:pt x="101" y="39"/>
                </a:lnTo>
                <a:lnTo>
                  <a:pt x="95" y="37"/>
                </a:lnTo>
                <a:lnTo>
                  <a:pt x="90" y="35"/>
                </a:lnTo>
                <a:lnTo>
                  <a:pt x="88" y="37"/>
                </a:lnTo>
                <a:lnTo>
                  <a:pt x="86" y="37"/>
                </a:lnTo>
                <a:lnTo>
                  <a:pt x="86" y="39"/>
                </a:lnTo>
                <a:lnTo>
                  <a:pt x="86" y="41"/>
                </a:lnTo>
                <a:lnTo>
                  <a:pt x="86" y="46"/>
                </a:lnTo>
                <a:lnTo>
                  <a:pt x="77" y="41"/>
                </a:lnTo>
                <a:lnTo>
                  <a:pt x="77" y="46"/>
                </a:lnTo>
                <a:lnTo>
                  <a:pt x="75" y="46"/>
                </a:lnTo>
                <a:lnTo>
                  <a:pt x="73" y="46"/>
                </a:lnTo>
                <a:lnTo>
                  <a:pt x="75" y="50"/>
                </a:lnTo>
                <a:lnTo>
                  <a:pt x="73" y="50"/>
                </a:lnTo>
                <a:lnTo>
                  <a:pt x="71" y="50"/>
                </a:lnTo>
                <a:lnTo>
                  <a:pt x="75" y="52"/>
                </a:lnTo>
                <a:lnTo>
                  <a:pt x="73" y="52"/>
                </a:lnTo>
                <a:lnTo>
                  <a:pt x="73" y="54"/>
                </a:lnTo>
                <a:lnTo>
                  <a:pt x="71" y="54"/>
                </a:lnTo>
                <a:lnTo>
                  <a:pt x="69" y="54"/>
                </a:lnTo>
                <a:lnTo>
                  <a:pt x="67" y="56"/>
                </a:lnTo>
                <a:lnTo>
                  <a:pt x="62" y="56"/>
                </a:lnTo>
                <a:lnTo>
                  <a:pt x="60" y="56"/>
                </a:lnTo>
                <a:lnTo>
                  <a:pt x="58" y="56"/>
                </a:lnTo>
                <a:lnTo>
                  <a:pt x="54" y="54"/>
                </a:lnTo>
                <a:lnTo>
                  <a:pt x="51" y="54"/>
                </a:lnTo>
                <a:lnTo>
                  <a:pt x="49" y="52"/>
                </a:lnTo>
                <a:lnTo>
                  <a:pt x="51" y="52"/>
                </a:lnTo>
                <a:lnTo>
                  <a:pt x="54" y="50"/>
                </a:lnTo>
                <a:lnTo>
                  <a:pt x="51" y="50"/>
                </a:lnTo>
                <a:lnTo>
                  <a:pt x="49" y="50"/>
                </a:lnTo>
                <a:lnTo>
                  <a:pt x="49" y="48"/>
                </a:lnTo>
                <a:lnTo>
                  <a:pt x="49" y="50"/>
                </a:lnTo>
                <a:lnTo>
                  <a:pt x="49" y="52"/>
                </a:lnTo>
                <a:lnTo>
                  <a:pt x="45" y="54"/>
                </a:lnTo>
                <a:lnTo>
                  <a:pt x="49" y="54"/>
                </a:lnTo>
                <a:lnTo>
                  <a:pt x="45" y="56"/>
                </a:lnTo>
                <a:lnTo>
                  <a:pt x="43" y="58"/>
                </a:lnTo>
                <a:lnTo>
                  <a:pt x="39" y="67"/>
                </a:lnTo>
                <a:lnTo>
                  <a:pt x="39" y="69"/>
                </a:lnTo>
                <a:lnTo>
                  <a:pt x="32" y="67"/>
                </a:lnTo>
                <a:lnTo>
                  <a:pt x="28" y="69"/>
                </a:lnTo>
                <a:lnTo>
                  <a:pt x="28" y="74"/>
                </a:lnTo>
                <a:lnTo>
                  <a:pt x="26" y="74"/>
                </a:lnTo>
                <a:lnTo>
                  <a:pt x="26" y="78"/>
                </a:lnTo>
                <a:lnTo>
                  <a:pt x="19" y="82"/>
                </a:lnTo>
                <a:lnTo>
                  <a:pt x="19" y="84"/>
                </a:lnTo>
                <a:lnTo>
                  <a:pt x="19" y="87"/>
                </a:lnTo>
                <a:lnTo>
                  <a:pt x="13" y="87"/>
                </a:lnTo>
                <a:lnTo>
                  <a:pt x="10" y="89"/>
                </a:lnTo>
                <a:lnTo>
                  <a:pt x="8" y="97"/>
                </a:lnTo>
                <a:lnTo>
                  <a:pt x="6" y="97"/>
                </a:lnTo>
                <a:lnTo>
                  <a:pt x="6" y="99"/>
                </a:lnTo>
                <a:lnTo>
                  <a:pt x="0" y="50"/>
                </a:lnTo>
                <a:lnTo>
                  <a:pt x="4" y="50"/>
                </a:lnTo>
                <a:lnTo>
                  <a:pt x="36" y="41"/>
                </a:lnTo>
                <a:lnTo>
                  <a:pt x="43" y="41"/>
                </a:lnTo>
                <a:lnTo>
                  <a:pt x="75" y="35"/>
                </a:lnTo>
                <a:lnTo>
                  <a:pt x="77" y="35"/>
                </a:lnTo>
                <a:lnTo>
                  <a:pt x="95" y="33"/>
                </a:lnTo>
                <a:lnTo>
                  <a:pt x="138" y="24"/>
                </a:lnTo>
                <a:lnTo>
                  <a:pt x="140" y="24"/>
                </a:lnTo>
                <a:lnTo>
                  <a:pt x="155" y="20"/>
                </a:lnTo>
                <a:lnTo>
                  <a:pt x="172" y="17"/>
                </a:lnTo>
                <a:lnTo>
                  <a:pt x="188" y="15"/>
                </a:lnTo>
                <a:lnTo>
                  <a:pt x="203" y="9"/>
                </a:lnTo>
                <a:lnTo>
                  <a:pt x="224" y="4"/>
                </a:lnTo>
                <a:lnTo>
                  <a:pt x="233" y="4"/>
                </a:lnTo>
                <a:lnTo>
                  <a:pt x="257" y="0"/>
                </a:lnTo>
                <a:lnTo>
                  <a:pt x="265" y="30"/>
                </a:lnTo>
                <a:lnTo>
                  <a:pt x="267" y="37"/>
                </a:lnTo>
                <a:lnTo>
                  <a:pt x="267" y="41"/>
                </a:lnTo>
                <a:lnTo>
                  <a:pt x="270" y="52"/>
                </a:lnTo>
                <a:lnTo>
                  <a:pt x="280" y="80"/>
                </a:lnTo>
                <a:lnTo>
                  <a:pt x="285" y="97"/>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42" name="Freeform 75">
            <a:extLst>
              <a:ext uri="{FF2B5EF4-FFF2-40B4-BE49-F238E27FC236}">
                <a16:creationId xmlns:a16="http://schemas.microsoft.com/office/drawing/2014/main" id="{D54C7EFA-0C7C-4EFC-9D05-33EF68B76E45}"/>
              </a:ext>
            </a:extLst>
          </p:cNvPr>
          <p:cNvSpPr>
            <a:spLocks/>
          </p:cNvSpPr>
          <p:nvPr>
            <p:custDataLst>
              <p:tags r:id="rId66"/>
            </p:custDataLst>
          </p:nvPr>
        </p:nvSpPr>
        <p:spPr bwMode="auto">
          <a:xfrm>
            <a:off x="4152059" y="3324853"/>
            <a:ext cx="1096001" cy="918724"/>
          </a:xfrm>
          <a:custGeom>
            <a:avLst/>
            <a:gdLst>
              <a:gd name="T0" fmla="*/ 2147483647 w 542"/>
              <a:gd name="T1" fmla="*/ 2147483647 h 425"/>
              <a:gd name="T2" fmla="*/ 2147483647 w 542"/>
              <a:gd name="T3" fmla="*/ 2147483647 h 425"/>
              <a:gd name="T4" fmla="*/ 2147483647 w 542"/>
              <a:gd name="T5" fmla="*/ 2147483647 h 425"/>
              <a:gd name="T6" fmla="*/ 2147483647 w 542"/>
              <a:gd name="T7" fmla="*/ 2147483647 h 425"/>
              <a:gd name="T8" fmla="*/ 2147483647 w 542"/>
              <a:gd name="T9" fmla="*/ 2147483647 h 425"/>
              <a:gd name="T10" fmla="*/ 2147483647 w 542"/>
              <a:gd name="T11" fmla="*/ 2147483647 h 425"/>
              <a:gd name="T12" fmla="*/ 2147483647 w 542"/>
              <a:gd name="T13" fmla="*/ 2147483647 h 425"/>
              <a:gd name="T14" fmla="*/ 2147483647 w 542"/>
              <a:gd name="T15" fmla="*/ 2147483647 h 425"/>
              <a:gd name="T16" fmla="*/ 2147483647 w 542"/>
              <a:gd name="T17" fmla="*/ 2147483647 h 425"/>
              <a:gd name="T18" fmla="*/ 2147483647 w 542"/>
              <a:gd name="T19" fmla="*/ 2147483647 h 425"/>
              <a:gd name="T20" fmla="*/ 2147483647 w 542"/>
              <a:gd name="T21" fmla="*/ 2147483647 h 425"/>
              <a:gd name="T22" fmla="*/ 2147483647 w 542"/>
              <a:gd name="T23" fmla="*/ 2147483647 h 425"/>
              <a:gd name="T24" fmla="*/ 2147483647 w 542"/>
              <a:gd name="T25" fmla="*/ 2147483647 h 425"/>
              <a:gd name="T26" fmla="*/ 2147483647 w 542"/>
              <a:gd name="T27" fmla="*/ 2147483647 h 425"/>
              <a:gd name="T28" fmla="*/ 2147483647 w 542"/>
              <a:gd name="T29" fmla="*/ 2147483647 h 425"/>
              <a:gd name="T30" fmla="*/ 2147483647 w 542"/>
              <a:gd name="T31" fmla="*/ 2147483647 h 425"/>
              <a:gd name="T32" fmla="*/ 0 w 542"/>
              <a:gd name="T33" fmla="*/ 2147483647 h 425"/>
              <a:gd name="T34" fmla="*/ 2147483647 w 542"/>
              <a:gd name="T35" fmla="*/ 2147483647 h 425"/>
              <a:gd name="T36" fmla="*/ 2147483647 w 542"/>
              <a:gd name="T37" fmla="*/ 2147483647 h 425"/>
              <a:gd name="T38" fmla="*/ 2147483647 w 542"/>
              <a:gd name="T39" fmla="*/ 2147483647 h 425"/>
              <a:gd name="T40" fmla="*/ 2147483647 w 542"/>
              <a:gd name="T41" fmla="*/ 2147483647 h 425"/>
              <a:gd name="T42" fmla="*/ 2147483647 w 542"/>
              <a:gd name="T43" fmla="*/ 2147483647 h 425"/>
              <a:gd name="T44" fmla="*/ 2147483647 w 542"/>
              <a:gd name="T45" fmla="*/ 2147483647 h 425"/>
              <a:gd name="T46" fmla="*/ 2147483647 w 542"/>
              <a:gd name="T47" fmla="*/ 2147483647 h 425"/>
              <a:gd name="T48" fmla="*/ 2147483647 w 542"/>
              <a:gd name="T49" fmla="*/ 2147483647 h 425"/>
              <a:gd name="T50" fmla="*/ 2147483647 w 542"/>
              <a:gd name="T51" fmla="*/ 2147483647 h 425"/>
              <a:gd name="T52" fmla="*/ 2147483647 w 542"/>
              <a:gd name="T53" fmla="*/ 2147483647 h 425"/>
              <a:gd name="T54" fmla="*/ 2147483647 w 542"/>
              <a:gd name="T55" fmla="*/ 0 h 425"/>
              <a:gd name="T56" fmla="*/ 2147483647 w 542"/>
              <a:gd name="T57" fmla="*/ 2147483647 h 425"/>
              <a:gd name="T58" fmla="*/ 2147483647 w 542"/>
              <a:gd name="T59" fmla="*/ 2147483647 h 425"/>
              <a:gd name="T60" fmla="*/ 2147483647 w 542"/>
              <a:gd name="T61" fmla="*/ 2147483647 h 425"/>
              <a:gd name="T62" fmla="*/ 2147483647 w 542"/>
              <a:gd name="T63" fmla="*/ 2147483647 h 425"/>
              <a:gd name="T64" fmla="*/ 2147483647 w 542"/>
              <a:gd name="T65" fmla="*/ 2147483647 h 425"/>
              <a:gd name="T66" fmla="*/ 2147483647 w 542"/>
              <a:gd name="T67" fmla="*/ 2147483647 h 425"/>
              <a:gd name="T68" fmla="*/ 2147483647 w 542"/>
              <a:gd name="T69" fmla="*/ 2147483647 h 425"/>
              <a:gd name="T70" fmla="*/ 2147483647 w 542"/>
              <a:gd name="T71" fmla="*/ 2147483647 h 425"/>
              <a:gd name="T72" fmla="*/ 2147483647 w 542"/>
              <a:gd name="T73" fmla="*/ 2147483647 h 425"/>
              <a:gd name="T74" fmla="*/ 2147483647 w 542"/>
              <a:gd name="T75" fmla="*/ 2147483647 h 425"/>
              <a:gd name="T76" fmla="*/ 2147483647 w 542"/>
              <a:gd name="T77" fmla="*/ 2147483647 h 425"/>
              <a:gd name="T78" fmla="*/ 2147483647 w 542"/>
              <a:gd name="T79" fmla="*/ 2147483647 h 425"/>
              <a:gd name="T80" fmla="*/ 2147483647 w 542"/>
              <a:gd name="T81" fmla="*/ 2147483647 h 425"/>
              <a:gd name="T82" fmla="*/ 2147483647 w 542"/>
              <a:gd name="T83" fmla="*/ 2147483647 h 425"/>
              <a:gd name="T84" fmla="*/ 2147483647 w 542"/>
              <a:gd name="T85" fmla="*/ 2147483647 h 425"/>
              <a:gd name="T86" fmla="*/ 2147483647 w 542"/>
              <a:gd name="T87" fmla="*/ 2147483647 h 425"/>
              <a:gd name="T88" fmla="*/ 2147483647 w 542"/>
              <a:gd name="T89" fmla="*/ 2147483647 h 425"/>
              <a:gd name="T90" fmla="*/ 2147483647 w 542"/>
              <a:gd name="T91" fmla="*/ 2147483647 h 425"/>
              <a:gd name="T92" fmla="*/ 2147483647 w 542"/>
              <a:gd name="T93" fmla="*/ 2147483647 h 425"/>
              <a:gd name="T94" fmla="*/ 2147483647 w 542"/>
              <a:gd name="T95" fmla="*/ 2147483647 h 425"/>
              <a:gd name="T96" fmla="*/ 2147483647 w 542"/>
              <a:gd name="T97" fmla="*/ 2147483647 h 425"/>
              <a:gd name="T98" fmla="*/ 2147483647 w 542"/>
              <a:gd name="T99" fmla="*/ 2147483647 h 425"/>
              <a:gd name="T100" fmla="*/ 2147483647 w 542"/>
              <a:gd name="T101" fmla="*/ 2147483647 h 425"/>
              <a:gd name="T102" fmla="*/ 2147483647 w 542"/>
              <a:gd name="T103" fmla="*/ 2147483647 h 425"/>
              <a:gd name="T104" fmla="*/ 2147483647 w 542"/>
              <a:gd name="T105" fmla="*/ 2147483647 h 425"/>
              <a:gd name="T106" fmla="*/ 2147483647 w 542"/>
              <a:gd name="T107" fmla="*/ 2147483647 h 42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42"/>
              <a:gd name="T163" fmla="*/ 0 h 425"/>
              <a:gd name="T164" fmla="*/ 542 w 542"/>
              <a:gd name="T165" fmla="*/ 425 h 42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42" h="425">
                <a:moveTo>
                  <a:pt x="520" y="363"/>
                </a:moveTo>
                <a:lnTo>
                  <a:pt x="518" y="389"/>
                </a:lnTo>
                <a:lnTo>
                  <a:pt x="518" y="425"/>
                </a:lnTo>
                <a:lnTo>
                  <a:pt x="447" y="419"/>
                </a:lnTo>
                <a:lnTo>
                  <a:pt x="442" y="419"/>
                </a:lnTo>
                <a:lnTo>
                  <a:pt x="371" y="412"/>
                </a:lnTo>
                <a:lnTo>
                  <a:pt x="287" y="406"/>
                </a:lnTo>
                <a:lnTo>
                  <a:pt x="282" y="406"/>
                </a:lnTo>
                <a:lnTo>
                  <a:pt x="246" y="399"/>
                </a:lnTo>
                <a:lnTo>
                  <a:pt x="224" y="397"/>
                </a:lnTo>
                <a:lnTo>
                  <a:pt x="190" y="395"/>
                </a:lnTo>
                <a:lnTo>
                  <a:pt x="159" y="393"/>
                </a:lnTo>
                <a:lnTo>
                  <a:pt x="157" y="391"/>
                </a:lnTo>
                <a:lnTo>
                  <a:pt x="121" y="386"/>
                </a:lnTo>
                <a:lnTo>
                  <a:pt x="116" y="386"/>
                </a:lnTo>
                <a:lnTo>
                  <a:pt x="49" y="378"/>
                </a:lnTo>
                <a:lnTo>
                  <a:pt x="0" y="371"/>
                </a:lnTo>
                <a:lnTo>
                  <a:pt x="8" y="313"/>
                </a:lnTo>
                <a:lnTo>
                  <a:pt x="10" y="289"/>
                </a:lnTo>
                <a:lnTo>
                  <a:pt x="17" y="263"/>
                </a:lnTo>
                <a:lnTo>
                  <a:pt x="17" y="257"/>
                </a:lnTo>
                <a:lnTo>
                  <a:pt x="19" y="231"/>
                </a:lnTo>
                <a:lnTo>
                  <a:pt x="30" y="151"/>
                </a:lnTo>
                <a:lnTo>
                  <a:pt x="30" y="136"/>
                </a:lnTo>
                <a:lnTo>
                  <a:pt x="34" y="125"/>
                </a:lnTo>
                <a:lnTo>
                  <a:pt x="41" y="76"/>
                </a:lnTo>
                <a:lnTo>
                  <a:pt x="45" y="32"/>
                </a:lnTo>
                <a:lnTo>
                  <a:pt x="51" y="0"/>
                </a:lnTo>
                <a:lnTo>
                  <a:pt x="131" y="11"/>
                </a:lnTo>
                <a:lnTo>
                  <a:pt x="172" y="15"/>
                </a:lnTo>
                <a:lnTo>
                  <a:pt x="203" y="19"/>
                </a:lnTo>
                <a:lnTo>
                  <a:pt x="239" y="24"/>
                </a:lnTo>
                <a:lnTo>
                  <a:pt x="250" y="24"/>
                </a:lnTo>
                <a:lnTo>
                  <a:pt x="315" y="32"/>
                </a:lnTo>
                <a:lnTo>
                  <a:pt x="339" y="34"/>
                </a:lnTo>
                <a:lnTo>
                  <a:pt x="399" y="39"/>
                </a:lnTo>
                <a:lnTo>
                  <a:pt x="434" y="43"/>
                </a:lnTo>
                <a:lnTo>
                  <a:pt x="447" y="43"/>
                </a:lnTo>
                <a:lnTo>
                  <a:pt x="498" y="47"/>
                </a:lnTo>
                <a:lnTo>
                  <a:pt x="501" y="47"/>
                </a:lnTo>
                <a:lnTo>
                  <a:pt x="542" y="50"/>
                </a:lnTo>
                <a:lnTo>
                  <a:pt x="539" y="76"/>
                </a:lnTo>
                <a:lnTo>
                  <a:pt x="539" y="78"/>
                </a:lnTo>
                <a:lnTo>
                  <a:pt x="539" y="101"/>
                </a:lnTo>
                <a:lnTo>
                  <a:pt x="535" y="112"/>
                </a:lnTo>
                <a:lnTo>
                  <a:pt x="533" y="145"/>
                </a:lnTo>
                <a:lnTo>
                  <a:pt x="531" y="183"/>
                </a:lnTo>
                <a:lnTo>
                  <a:pt x="529" y="224"/>
                </a:lnTo>
                <a:lnTo>
                  <a:pt x="529" y="233"/>
                </a:lnTo>
                <a:lnTo>
                  <a:pt x="526" y="265"/>
                </a:lnTo>
                <a:lnTo>
                  <a:pt x="526" y="274"/>
                </a:lnTo>
                <a:lnTo>
                  <a:pt x="524" y="306"/>
                </a:lnTo>
                <a:lnTo>
                  <a:pt x="520" y="356"/>
                </a:lnTo>
                <a:lnTo>
                  <a:pt x="520" y="363"/>
                </a:lnTo>
                <a:close/>
              </a:path>
            </a:pathLst>
          </a:custGeom>
          <a:noFill/>
          <a:ln w="9525">
            <a:noFill/>
            <a:round/>
            <a:headEnd/>
            <a:tailEnd/>
          </a:ln>
        </p:spPr>
        <p:txBody>
          <a:bodyPr/>
          <a:lstStyle/>
          <a:p>
            <a:endParaRPr lang="en-US" dirty="0">
              <a:solidFill>
                <a:prstClr val="black"/>
              </a:solidFill>
            </a:endParaRPr>
          </a:p>
        </p:txBody>
      </p:sp>
      <p:sp>
        <p:nvSpPr>
          <p:cNvPr id="243" name="Freeform 76">
            <a:extLst>
              <a:ext uri="{FF2B5EF4-FFF2-40B4-BE49-F238E27FC236}">
                <a16:creationId xmlns:a16="http://schemas.microsoft.com/office/drawing/2014/main" id="{A8E6C4F9-A8EC-4C1B-A360-D774A9B52AE9}"/>
              </a:ext>
            </a:extLst>
          </p:cNvPr>
          <p:cNvSpPr>
            <a:spLocks/>
          </p:cNvSpPr>
          <p:nvPr>
            <p:custDataLst>
              <p:tags r:id="rId67"/>
            </p:custDataLst>
          </p:nvPr>
        </p:nvSpPr>
        <p:spPr bwMode="auto">
          <a:xfrm>
            <a:off x="4152059" y="3324853"/>
            <a:ext cx="1096001" cy="918724"/>
          </a:xfrm>
          <a:custGeom>
            <a:avLst/>
            <a:gdLst>
              <a:gd name="T0" fmla="*/ 2147483647 w 542"/>
              <a:gd name="T1" fmla="*/ 2147483647 h 425"/>
              <a:gd name="T2" fmla="*/ 2147483647 w 542"/>
              <a:gd name="T3" fmla="*/ 2147483647 h 425"/>
              <a:gd name="T4" fmla="*/ 2147483647 w 542"/>
              <a:gd name="T5" fmla="*/ 2147483647 h 425"/>
              <a:gd name="T6" fmla="*/ 2147483647 w 542"/>
              <a:gd name="T7" fmla="*/ 2147483647 h 425"/>
              <a:gd name="T8" fmla="*/ 2147483647 w 542"/>
              <a:gd name="T9" fmla="*/ 2147483647 h 425"/>
              <a:gd name="T10" fmla="*/ 2147483647 w 542"/>
              <a:gd name="T11" fmla="*/ 2147483647 h 425"/>
              <a:gd name="T12" fmla="*/ 2147483647 w 542"/>
              <a:gd name="T13" fmla="*/ 2147483647 h 425"/>
              <a:gd name="T14" fmla="*/ 2147483647 w 542"/>
              <a:gd name="T15" fmla="*/ 2147483647 h 425"/>
              <a:gd name="T16" fmla="*/ 2147483647 w 542"/>
              <a:gd name="T17" fmla="*/ 2147483647 h 425"/>
              <a:gd name="T18" fmla="*/ 2147483647 w 542"/>
              <a:gd name="T19" fmla="*/ 2147483647 h 425"/>
              <a:gd name="T20" fmla="*/ 2147483647 w 542"/>
              <a:gd name="T21" fmla="*/ 2147483647 h 425"/>
              <a:gd name="T22" fmla="*/ 2147483647 w 542"/>
              <a:gd name="T23" fmla="*/ 2147483647 h 425"/>
              <a:gd name="T24" fmla="*/ 2147483647 w 542"/>
              <a:gd name="T25" fmla="*/ 2147483647 h 425"/>
              <a:gd name="T26" fmla="*/ 2147483647 w 542"/>
              <a:gd name="T27" fmla="*/ 2147483647 h 425"/>
              <a:gd name="T28" fmla="*/ 2147483647 w 542"/>
              <a:gd name="T29" fmla="*/ 2147483647 h 425"/>
              <a:gd name="T30" fmla="*/ 2147483647 w 542"/>
              <a:gd name="T31" fmla="*/ 2147483647 h 425"/>
              <a:gd name="T32" fmla="*/ 0 w 542"/>
              <a:gd name="T33" fmla="*/ 2147483647 h 425"/>
              <a:gd name="T34" fmla="*/ 2147483647 w 542"/>
              <a:gd name="T35" fmla="*/ 2147483647 h 425"/>
              <a:gd name="T36" fmla="*/ 2147483647 w 542"/>
              <a:gd name="T37" fmla="*/ 2147483647 h 425"/>
              <a:gd name="T38" fmla="*/ 2147483647 w 542"/>
              <a:gd name="T39" fmla="*/ 2147483647 h 425"/>
              <a:gd name="T40" fmla="*/ 2147483647 w 542"/>
              <a:gd name="T41" fmla="*/ 2147483647 h 425"/>
              <a:gd name="T42" fmla="*/ 2147483647 w 542"/>
              <a:gd name="T43" fmla="*/ 2147483647 h 425"/>
              <a:gd name="T44" fmla="*/ 2147483647 w 542"/>
              <a:gd name="T45" fmla="*/ 2147483647 h 425"/>
              <a:gd name="T46" fmla="*/ 2147483647 w 542"/>
              <a:gd name="T47" fmla="*/ 2147483647 h 425"/>
              <a:gd name="T48" fmla="*/ 2147483647 w 542"/>
              <a:gd name="T49" fmla="*/ 2147483647 h 425"/>
              <a:gd name="T50" fmla="*/ 2147483647 w 542"/>
              <a:gd name="T51" fmla="*/ 2147483647 h 425"/>
              <a:gd name="T52" fmla="*/ 2147483647 w 542"/>
              <a:gd name="T53" fmla="*/ 2147483647 h 425"/>
              <a:gd name="T54" fmla="*/ 2147483647 w 542"/>
              <a:gd name="T55" fmla="*/ 0 h 425"/>
              <a:gd name="T56" fmla="*/ 2147483647 w 542"/>
              <a:gd name="T57" fmla="*/ 2147483647 h 425"/>
              <a:gd name="T58" fmla="*/ 2147483647 w 542"/>
              <a:gd name="T59" fmla="*/ 2147483647 h 425"/>
              <a:gd name="T60" fmla="*/ 2147483647 w 542"/>
              <a:gd name="T61" fmla="*/ 2147483647 h 425"/>
              <a:gd name="T62" fmla="*/ 2147483647 w 542"/>
              <a:gd name="T63" fmla="*/ 2147483647 h 425"/>
              <a:gd name="T64" fmla="*/ 2147483647 w 542"/>
              <a:gd name="T65" fmla="*/ 2147483647 h 425"/>
              <a:gd name="T66" fmla="*/ 2147483647 w 542"/>
              <a:gd name="T67" fmla="*/ 2147483647 h 425"/>
              <a:gd name="T68" fmla="*/ 2147483647 w 542"/>
              <a:gd name="T69" fmla="*/ 2147483647 h 425"/>
              <a:gd name="T70" fmla="*/ 2147483647 w 542"/>
              <a:gd name="T71" fmla="*/ 2147483647 h 425"/>
              <a:gd name="T72" fmla="*/ 2147483647 w 542"/>
              <a:gd name="T73" fmla="*/ 2147483647 h 425"/>
              <a:gd name="T74" fmla="*/ 2147483647 w 542"/>
              <a:gd name="T75" fmla="*/ 2147483647 h 425"/>
              <a:gd name="T76" fmla="*/ 2147483647 w 542"/>
              <a:gd name="T77" fmla="*/ 2147483647 h 425"/>
              <a:gd name="T78" fmla="*/ 2147483647 w 542"/>
              <a:gd name="T79" fmla="*/ 2147483647 h 425"/>
              <a:gd name="T80" fmla="*/ 2147483647 w 542"/>
              <a:gd name="T81" fmla="*/ 2147483647 h 425"/>
              <a:gd name="T82" fmla="*/ 2147483647 w 542"/>
              <a:gd name="T83" fmla="*/ 2147483647 h 425"/>
              <a:gd name="T84" fmla="*/ 2147483647 w 542"/>
              <a:gd name="T85" fmla="*/ 2147483647 h 425"/>
              <a:gd name="T86" fmla="*/ 2147483647 w 542"/>
              <a:gd name="T87" fmla="*/ 2147483647 h 425"/>
              <a:gd name="T88" fmla="*/ 2147483647 w 542"/>
              <a:gd name="T89" fmla="*/ 2147483647 h 425"/>
              <a:gd name="T90" fmla="*/ 2147483647 w 542"/>
              <a:gd name="T91" fmla="*/ 2147483647 h 425"/>
              <a:gd name="T92" fmla="*/ 2147483647 w 542"/>
              <a:gd name="T93" fmla="*/ 2147483647 h 425"/>
              <a:gd name="T94" fmla="*/ 2147483647 w 542"/>
              <a:gd name="T95" fmla="*/ 2147483647 h 425"/>
              <a:gd name="T96" fmla="*/ 2147483647 w 542"/>
              <a:gd name="T97" fmla="*/ 2147483647 h 425"/>
              <a:gd name="T98" fmla="*/ 2147483647 w 542"/>
              <a:gd name="T99" fmla="*/ 2147483647 h 425"/>
              <a:gd name="T100" fmla="*/ 2147483647 w 542"/>
              <a:gd name="T101" fmla="*/ 2147483647 h 425"/>
              <a:gd name="T102" fmla="*/ 2147483647 w 542"/>
              <a:gd name="T103" fmla="*/ 2147483647 h 425"/>
              <a:gd name="T104" fmla="*/ 2147483647 w 542"/>
              <a:gd name="T105" fmla="*/ 2147483647 h 425"/>
              <a:gd name="T106" fmla="*/ 2147483647 w 542"/>
              <a:gd name="T107" fmla="*/ 2147483647 h 42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42"/>
              <a:gd name="T163" fmla="*/ 0 h 425"/>
              <a:gd name="T164" fmla="*/ 542 w 542"/>
              <a:gd name="T165" fmla="*/ 425 h 42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42" h="425">
                <a:moveTo>
                  <a:pt x="520" y="363"/>
                </a:moveTo>
                <a:lnTo>
                  <a:pt x="518" y="389"/>
                </a:lnTo>
                <a:lnTo>
                  <a:pt x="518" y="425"/>
                </a:lnTo>
                <a:lnTo>
                  <a:pt x="447" y="419"/>
                </a:lnTo>
                <a:lnTo>
                  <a:pt x="442" y="419"/>
                </a:lnTo>
                <a:lnTo>
                  <a:pt x="371" y="412"/>
                </a:lnTo>
                <a:lnTo>
                  <a:pt x="287" y="406"/>
                </a:lnTo>
                <a:lnTo>
                  <a:pt x="282" y="406"/>
                </a:lnTo>
                <a:lnTo>
                  <a:pt x="246" y="399"/>
                </a:lnTo>
                <a:lnTo>
                  <a:pt x="224" y="397"/>
                </a:lnTo>
                <a:lnTo>
                  <a:pt x="190" y="395"/>
                </a:lnTo>
                <a:lnTo>
                  <a:pt x="159" y="393"/>
                </a:lnTo>
                <a:lnTo>
                  <a:pt x="157" y="391"/>
                </a:lnTo>
                <a:lnTo>
                  <a:pt x="121" y="386"/>
                </a:lnTo>
                <a:lnTo>
                  <a:pt x="116" y="386"/>
                </a:lnTo>
                <a:lnTo>
                  <a:pt x="49" y="378"/>
                </a:lnTo>
                <a:lnTo>
                  <a:pt x="0" y="371"/>
                </a:lnTo>
                <a:lnTo>
                  <a:pt x="8" y="313"/>
                </a:lnTo>
                <a:lnTo>
                  <a:pt x="10" y="289"/>
                </a:lnTo>
                <a:lnTo>
                  <a:pt x="17" y="263"/>
                </a:lnTo>
                <a:lnTo>
                  <a:pt x="17" y="257"/>
                </a:lnTo>
                <a:lnTo>
                  <a:pt x="19" y="231"/>
                </a:lnTo>
                <a:lnTo>
                  <a:pt x="30" y="151"/>
                </a:lnTo>
                <a:lnTo>
                  <a:pt x="30" y="136"/>
                </a:lnTo>
                <a:lnTo>
                  <a:pt x="34" y="125"/>
                </a:lnTo>
                <a:lnTo>
                  <a:pt x="41" y="76"/>
                </a:lnTo>
                <a:lnTo>
                  <a:pt x="45" y="32"/>
                </a:lnTo>
                <a:lnTo>
                  <a:pt x="51" y="0"/>
                </a:lnTo>
                <a:lnTo>
                  <a:pt x="131" y="11"/>
                </a:lnTo>
                <a:lnTo>
                  <a:pt x="172" y="15"/>
                </a:lnTo>
                <a:lnTo>
                  <a:pt x="203" y="19"/>
                </a:lnTo>
                <a:lnTo>
                  <a:pt x="239" y="24"/>
                </a:lnTo>
                <a:lnTo>
                  <a:pt x="250" y="24"/>
                </a:lnTo>
                <a:lnTo>
                  <a:pt x="315" y="32"/>
                </a:lnTo>
                <a:lnTo>
                  <a:pt x="339" y="34"/>
                </a:lnTo>
                <a:lnTo>
                  <a:pt x="399" y="39"/>
                </a:lnTo>
                <a:lnTo>
                  <a:pt x="434" y="43"/>
                </a:lnTo>
                <a:lnTo>
                  <a:pt x="447" y="43"/>
                </a:lnTo>
                <a:lnTo>
                  <a:pt x="498" y="47"/>
                </a:lnTo>
                <a:lnTo>
                  <a:pt x="501" y="47"/>
                </a:lnTo>
                <a:lnTo>
                  <a:pt x="542" y="50"/>
                </a:lnTo>
                <a:lnTo>
                  <a:pt x="539" y="76"/>
                </a:lnTo>
                <a:lnTo>
                  <a:pt x="539" y="78"/>
                </a:lnTo>
                <a:lnTo>
                  <a:pt x="539" y="101"/>
                </a:lnTo>
                <a:lnTo>
                  <a:pt x="535" y="112"/>
                </a:lnTo>
                <a:lnTo>
                  <a:pt x="533" y="145"/>
                </a:lnTo>
                <a:lnTo>
                  <a:pt x="531" y="183"/>
                </a:lnTo>
                <a:lnTo>
                  <a:pt x="529" y="224"/>
                </a:lnTo>
                <a:lnTo>
                  <a:pt x="529" y="233"/>
                </a:lnTo>
                <a:lnTo>
                  <a:pt x="526" y="265"/>
                </a:lnTo>
                <a:lnTo>
                  <a:pt x="526" y="274"/>
                </a:lnTo>
                <a:lnTo>
                  <a:pt x="524" y="306"/>
                </a:lnTo>
                <a:lnTo>
                  <a:pt x="520" y="356"/>
                </a:lnTo>
                <a:lnTo>
                  <a:pt x="520" y="363"/>
                </a:lnTo>
              </a:path>
            </a:pathLst>
          </a:custGeom>
          <a:solidFill>
            <a:srgbClr val="FFC000"/>
          </a:solidFill>
          <a:ln w="9525">
            <a:solidFill>
              <a:schemeClr val="tx1"/>
            </a:solidFill>
            <a:headEnd/>
            <a:tailEnd/>
          </a:ln>
        </p:spPr>
        <p:style>
          <a:lnRef idx="2">
            <a:schemeClr val="accent2"/>
          </a:lnRef>
          <a:fillRef idx="0">
            <a:schemeClr val="accent2"/>
          </a:fillRef>
          <a:effectRef idx="1">
            <a:schemeClr val="accent2"/>
          </a:effectRef>
          <a:fontRef idx="minor">
            <a:schemeClr val="tx1"/>
          </a:fontRef>
        </p:style>
        <p:txBody>
          <a:bodyPr/>
          <a:lstStyle/>
          <a:p>
            <a:endParaRPr lang="en-US" dirty="0">
              <a:solidFill>
                <a:prstClr val="black"/>
              </a:solidFill>
            </a:endParaRPr>
          </a:p>
        </p:txBody>
      </p:sp>
      <p:sp>
        <p:nvSpPr>
          <p:cNvPr id="244" name="Freeform 77">
            <a:extLst>
              <a:ext uri="{FF2B5EF4-FFF2-40B4-BE49-F238E27FC236}">
                <a16:creationId xmlns:a16="http://schemas.microsoft.com/office/drawing/2014/main" id="{99ACD891-1F69-447E-A8F4-121DB4B0DE5A}"/>
              </a:ext>
            </a:extLst>
          </p:cNvPr>
          <p:cNvSpPr>
            <a:spLocks noEditPoints="1"/>
          </p:cNvSpPr>
          <p:nvPr>
            <p:custDataLst>
              <p:tags r:id="rId68"/>
            </p:custDataLst>
          </p:nvPr>
        </p:nvSpPr>
        <p:spPr bwMode="auto">
          <a:xfrm>
            <a:off x="7078374" y="3735599"/>
            <a:ext cx="1113536" cy="600953"/>
          </a:xfrm>
          <a:custGeom>
            <a:avLst/>
            <a:gdLst>
              <a:gd name="T0" fmla="*/ 2147483647 w 551"/>
              <a:gd name="T1" fmla="*/ 2147483647 h 278"/>
              <a:gd name="T2" fmla="*/ 2147483647 w 551"/>
              <a:gd name="T3" fmla="*/ 2147483647 h 278"/>
              <a:gd name="T4" fmla="*/ 2147483647 w 551"/>
              <a:gd name="T5" fmla="*/ 2147483647 h 278"/>
              <a:gd name="T6" fmla="*/ 2147483647 w 551"/>
              <a:gd name="T7" fmla="*/ 2147483647 h 278"/>
              <a:gd name="T8" fmla="*/ 2147483647 w 551"/>
              <a:gd name="T9" fmla="*/ 2147483647 h 278"/>
              <a:gd name="T10" fmla="*/ 2147483647 w 551"/>
              <a:gd name="T11" fmla="*/ 2147483647 h 278"/>
              <a:gd name="T12" fmla="*/ 2147483647 w 551"/>
              <a:gd name="T13" fmla="*/ 2147483647 h 278"/>
              <a:gd name="T14" fmla="*/ 2147483647 w 551"/>
              <a:gd name="T15" fmla="*/ 2147483647 h 278"/>
              <a:gd name="T16" fmla="*/ 2147483647 w 551"/>
              <a:gd name="T17" fmla="*/ 2147483647 h 278"/>
              <a:gd name="T18" fmla="*/ 2147483647 w 551"/>
              <a:gd name="T19" fmla="*/ 2147483647 h 278"/>
              <a:gd name="T20" fmla="*/ 2147483647 w 551"/>
              <a:gd name="T21" fmla="*/ 2147483647 h 278"/>
              <a:gd name="T22" fmla="*/ 2147483647 w 551"/>
              <a:gd name="T23" fmla="*/ 2147483647 h 278"/>
              <a:gd name="T24" fmla="*/ 2147483647 w 551"/>
              <a:gd name="T25" fmla="*/ 2147483647 h 278"/>
              <a:gd name="T26" fmla="*/ 2147483647 w 551"/>
              <a:gd name="T27" fmla="*/ 2147483647 h 278"/>
              <a:gd name="T28" fmla="*/ 2147483647 w 551"/>
              <a:gd name="T29" fmla="*/ 2147483647 h 278"/>
              <a:gd name="T30" fmla="*/ 2147483647 w 551"/>
              <a:gd name="T31" fmla="*/ 2147483647 h 278"/>
              <a:gd name="T32" fmla="*/ 2147483647 w 551"/>
              <a:gd name="T33" fmla="*/ 2147483647 h 278"/>
              <a:gd name="T34" fmla="*/ 2147483647 w 551"/>
              <a:gd name="T35" fmla="*/ 2147483647 h 278"/>
              <a:gd name="T36" fmla="*/ 2147483647 w 551"/>
              <a:gd name="T37" fmla="*/ 2147483647 h 278"/>
              <a:gd name="T38" fmla="*/ 2147483647 w 551"/>
              <a:gd name="T39" fmla="*/ 2147483647 h 278"/>
              <a:gd name="T40" fmla="*/ 2147483647 w 551"/>
              <a:gd name="T41" fmla="*/ 2147483647 h 278"/>
              <a:gd name="T42" fmla="*/ 2147483647 w 551"/>
              <a:gd name="T43" fmla="*/ 2147483647 h 278"/>
              <a:gd name="T44" fmla="*/ 2147483647 w 551"/>
              <a:gd name="T45" fmla="*/ 2147483647 h 278"/>
              <a:gd name="T46" fmla="*/ 2147483647 w 551"/>
              <a:gd name="T47" fmla="*/ 2147483647 h 278"/>
              <a:gd name="T48" fmla="*/ 2147483647 w 551"/>
              <a:gd name="T49" fmla="*/ 2147483647 h 278"/>
              <a:gd name="T50" fmla="*/ 2147483647 w 551"/>
              <a:gd name="T51" fmla="*/ 2147483647 h 278"/>
              <a:gd name="T52" fmla="*/ 2147483647 w 551"/>
              <a:gd name="T53" fmla="*/ 2147483647 h 278"/>
              <a:gd name="T54" fmla="*/ 2147483647 w 551"/>
              <a:gd name="T55" fmla="*/ 2147483647 h 278"/>
              <a:gd name="T56" fmla="*/ 2147483647 w 551"/>
              <a:gd name="T57" fmla="*/ 2147483647 h 278"/>
              <a:gd name="T58" fmla="*/ 2147483647 w 551"/>
              <a:gd name="T59" fmla="*/ 2147483647 h 278"/>
              <a:gd name="T60" fmla="*/ 2147483647 w 551"/>
              <a:gd name="T61" fmla="*/ 2147483647 h 278"/>
              <a:gd name="T62" fmla="*/ 2147483647 w 551"/>
              <a:gd name="T63" fmla="*/ 2147483647 h 278"/>
              <a:gd name="T64" fmla="*/ 2147483647 w 551"/>
              <a:gd name="T65" fmla="*/ 2147483647 h 278"/>
              <a:gd name="T66" fmla="*/ 2147483647 w 551"/>
              <a:gd name="T67" fmla="*/ 2147483647 h 278"/>
              <a:gd name="T68" fmla="*/ 2147483647 w 551"/>
              <a:gd name="T69" fmla="*/ 2147483647 h 278"/>
              <a:gd name="T70" fmla="*/ 2147483647 w 551"/>
              <a:gd name="T71" fmla="*/ 2147483647 h 278"/>
              <a:gd name="T72" fmla="*/ 2147483647 w 551"/>
              <a:gd name="T73" fmla="*/ 2147483647 h 278"/>
              <a:gd name="T74" fmla="*/ 2147483647 w 551"/>
              <a:gd name="T75" fmla="*/ 2147483647 h 278"/>
              <a:gd name="T76" fmla="*/ 2147483647 w 551"/>
              <a:gd name="T77" fmla="*/ 2147483647 h 278"/>
              <a:gd name="T78" fmla="*/ 2147483647 w 551"/>
              <a:gd name="T79" fmla="*/ 2147483647 h 278"/>
              <a:gd name="T80" fmla="*/ 2147483647 w 551"/>
              <a:gd name="T81" fmla="*/ 2147483647 h 278"/>
              <a:gd name="T82" fmla="*/ 2147483647 w 551"/>
              <a:gd name="T83" fmla="*/ 2147483647 h 278"/>
              <a:gd name="T84" fmla="*/ 2147483647 w 551"/>
              <a:gd name="T85" fmla="*/ 2147483647 h 278"/>
              <a:gd name="T86" fmla="*/ 2147483647 w 551"/>
              <a:gd name="T87" fmla="*/ 2147483647 h 278"/>
              <a:gd name="T88" fmla="*/ 2147483647 w 551"/>
              <a:gd name="T89" fmla="*/ 2147483647 h 278"/>
              <a:gd name="T90" fmla="*/ 2147483647 w 551"/>
              <a:gd name="T91" fmla="*/ 2147483647 h 278"/>
              <a:gd name="T92" fmla="*/ 2147483647 w 551"/>
              <a:gd name="T93" fmla="*/ 2147483647 h 278"/>
              <a:gd name="T94" fmla="*/ 2147483647 w 551"/>
              <a:gd name="T95" fmla="*/ 2147483647 h 278"/>
              <a:gd name="T96" fmla="*/ 2147483647 w 551"/>
              <a:gd name="T97" fmla="*/ 2147483647 h 278"/>
              <a:gd name="T98" fmla="*/ 2147483647 w 551"/>
              <a:gd name="T99" fmla="*/ 2147483647 h 278"/>
              <a:gd name="T100" fmla="*/ 2147483647 w 551"/>
              <a:gd name="T101" fmla="*/ 2147483647 h 278"/>
              <a:gd name="T102" fmla="*/ 2147483647 w 551"/>
              <a:gd name="T103" fmla="*/ 2147483647 h 278"/>
              <a:gd name="T104" fmla="*/ 2147483647 w 551"/>
              <a:gd name="T105" fmla="*/ 2147483647 h 278"/>
              <a:gd name="T106" fmla="*/ 2147483647 w 551"/>
              <a:gd name="T107" fmla="*/ 2147483647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51"/>
              <a:gd name="T163" fmla="*/ 0 h 278"/>
              <a:gd name="T164" fmla="*/ 551 w 551"/>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51" h="278">
                <a:moveTo>
                  <a:pt x="227" y="246"/>
                </a:moveTo>
                <a:lnTo>
                  <a:pt x="208" y="248"/>
                </a:lnTo>
                <a:lnTo>
                  <a:pt x="184" y="248"/>
                </a:lnTo>
                <a:lnTo>
                  <a:pt x="182" y="250"/>
                </a:lnTo>
                <a:lnTo>
                  <a:pt x="164" y="250"/>
                </a:lnTo>
                <a:lnTo>
                  <a:pt x="143" y="252"/>
                </a:lnTo>
                <a:lnTo>
                  <a:pt x="138" y="252"/>
                </a:lnTo>
                <a:lnTo>
                  <a:pt x="128" y="255"/>
                </a:lnTo>
                <a:lnTo>
                  <a:pt x="125" y="252"/>
                </a:lnTo>
                <a:lnTo>
                  <a:pt x="110" y="252"/>
                </a:lnTo>
                <a:lnTo>
                  <a:pt x="113" y="263"/>
                </a:lnTo>
                <a:lnTo>
                  <a:pt x="115" y="265"/>
                </a:lnTo>
                <a:lnTo>
                  <a:pt x="115" y="270"/>
                </a:lnTo>
                <a:lnTo>
                  <a:pt x="80" y="272"/>
                </a:lnTo>
                <a:lnTo>
                  <a:pt x="56" y="274"/>
                </a:lnTo>
                <a:lnTo>
                  <a:pt x="54" y="274"/>
                </a:lnTo>
                <a:lnTo>
                  <a:pt x="18" y="278"/>
                </a:lnTo>
                <a:lnTo>
                  <a:pt x="11" y="278"/>
                </a:lnTo>
                <a:lnTo>
                  <a:pt x="11" y="274"/>
                </a:lnTo>
                <a:lnTo>
                  <a:pt x="13" y="265"/>
                </a:lnTo>
                <a:lnTo>
                  <a:pt x="15" y="265"/>
                </a:lnTo>
                <a:lnTo>
                  <a:pt x="18" y="265"/>
                </a:lnTo>
                <a:lnTo>
                  <a:pt x="20" y="270"/>
                </a:lnTo>
                <a:lnTo>
                  <a:pt x="26" y="270"/>
                </a:lnTo>
                <a:lnTo>
                  <a:pt x="26" y="268"/>
                </a:lnTo>
                <a:lnTo>
                  <a:pt x="28" y="263"/>
                </a:lnTo>
                <a:lnTo>
                  <a:pt x="28" y="259"/>
                </a:lnTo>
                <a:lnTo>
                  <a:pt x="26" y="255"/>
                </a:lnTo>
                <a:lnTo>
                  <a:pt x="28" y="252"/>
                </a:lnTo>
                <a:lnTo>
                  <a:pt x="30" y="252"/>
                </a:lnTo>
                <a:lnTo>
                  <a:pt x="30" y="250"/>
                </a:lnTo>
                <a:lnTo>
                  <a:pt x="30" y="248"/>
                </a:lnTo>
                <a:lnTo>
                  <a:pt x="28" y="248"/>
                </a:lnTo>
                <a:lnTo>
                  <a:pt x="28" y="246"/>
                </a:lnTo>
                <a:lnTo>
                  <a:pt x="28" y="242"/>
                </a:lnTo>
                <a:lnTo>
                  <a:pt x="30" y="242"/>
                </a:lnTo>
                <a:lnTo>
                  <a:pt x="33" y="233"/>
                </a:lnTo>
                <a:lnTo>
                  <a:pt x="30" y="231"/>
                </a:lnTo>
                <a:lnTo>
                  <a:pt x="28" y="231"/>
                </a:lnTo>
                <a:lnTo>
                  <a:pt x="26" y="229"/>
                </a:lnTo>
                <a:lnTo>
                  <a:pt x="26" y="222"/>
                </a:lnTo>
                <a:lnTo>
                  <a:pt x="28" y="220"/>
                </a:lnTo>
                <a:lnTo>
                  <a:pt x="30" y="218"/>
                </a:lnTo>
                <a:lnTo>
                  <a:pt x="33" y="209"/>
                </a:lnTo>
                <a:lnTo>
                  <a:pt x="37" y="207"/>
                </a:lnTo>
                <a:lnTo>
                  <a:pt x="43" y="207"/>
                </a:lnTo>
                <a:lnTo>
                  <a:pt x="48" y="207"/>
                </a:lnTo>
                <a:lnTo>
                  <a:pt x="56" y="214"/>
                </a:lnTo>
                <a:lnTo>
                  <a:pt x="61" y="214"/>
                </a:lnTo>
                <a:lnTo>
                  <a:pt x="67" y="216"/>
                </a:lnTo>
                <a:lnTo>
                  <a:pt x="69" y="218"/>
                </a:lnTo>
                <a:lnTo>
                  <a:pt x="76" y="220"/>
                </a:lnTo>
                <a:lnTo>
                  <a:pt x="76" y="218"/>
                </a:lnTo>
                <a:lnTo>
                  <a:pt x="78" y="218"/>
                </a:lnTo>
                <a:lnTo>
                  <a:pt x="80" y="216"/>
                </a:lnTo>
                <a:lnTo>
                  <a:pt x="80" y="209"/>
                </a:lnTo>
                <a:lnTo>
                  <a:pt x="78" y="205"/>
                </a:lnTo>
                <a:lnTo>
                  <a:pt x="76" y="201"/>
                </a:lnTo>
                <a:lnTo>
                  <a:pt x="72" y="199"/>
                </a:lnTo>
                <a:lnTo>
                  <a:pt x="76" y="188"/>
                </a:lnTo>
                <a:lnTo>
                  <a:pt x="80" y="186"/>
                </a:lnTo>
                <a:lnTo>
                  <a:pt x="82" y="186"/>
                </a:lnTo>
                <a:lnTo>
                  <a:pt x="87" y="183"/>
                </a:lnTo>
                <a:lnTo>
                  <a:pt x="102" y="177"/>
                </a:lnTo>
                <a:lnTo>
                  <a:pt x="104" y="175"/>
                </a:lnTo>
                <a:lnTo>
                  <a:pt x="97" y="168"/>
                </a:lnTo>
                <a:lnTo>
                  <a:pt x="97" y="166"/>
                </a:lnTo>
                <a:lnTo>
                  <a:pt x="95" y="160"/>
                </a:lnTo>
                <a:lnTo>
                  <a:pt x="97" y="158"/>
                </a:lnTo>
                <a:lnTo>
                  <a:pt x="102" y="153"/>
                </a:lnTo>
                <a:lnTo>
                  <a:pt x="104" y="149"/>
                </a:lnTo>
                <a:lnTo>
                  <a:pt x="110" y="151"/>
                </a:lnTo>
                <a:lnTo>
                  <a:pt x="113" y="149"/>
                </a:lnTo>
                <a:lnTo>
                  <a:pt x="113" y="145"/>
                </a:lnTo>
                <a:lnTo>
                  <a:pt x="113" y="142"/>
                </a:lnTo>
                <a:lnTo>
                  <a:pt x="110" y="140"/>
                </a:lnTo>
                <a:lnTo>
                  <a:pt x="110" y="138"/>
                </a:lnTo>
                <a:lnTo>
                  <a:pt x="113" y="136"/>
                </a:lnTo>
                <a:lnTo>
                  <a:pt x="117" y="138"/>
                </a:lnTo>
                <a:lnTo>
                  <a:pt x="119" y="140"/>
                </a:lnTo>
                <a:lnTo>
                  <a:pt x="125" y="138"/>
                </a:lnTo>
                <a:lnTo>
                  <a:pt x="128" y="136"/>
                </a:lnTo>
                <a:lnTo>
                  <a:pt x="130" y="136"/>
                </a:lnTo>
                <a:lnTo>
                  <a:pt x="130" y="142"/>
                </a:lnTo>
                <a:lnTo>
                  <a:pt x="132" y="142"/>
                </a:lnTo>
                <a:lnTo>
                  <a:pt x="134" y="140"/>
                </a:lnTo>
                <a:lnTo>
                  <a:pt x="134" y="138"/>
                </a:lnTo>
                <a:lnTo>
                  <a:pt x="134" y="136"/>
                </a:lnTo>
                <a:lnTo>
                  <a:pt x="132" y="134"/>
                </a:lnTo>
                <a:lnTo>
                  <a:pt x="134" y="127"/>
                </a:lnTo>
                <a:lnTo>
                  <a:pt x="143" y="134"/>
                </a:lnTo>
                <a:lnTo>
                  <a:pt x="145" y="132"/>
                </a:lnTo>
                <a:lnTo>
                  <a:pt x="149" y="132"/>
                </a:lnTo>
                <a:lnTo>
                  <a:pt x="158" y="136"/>
                </a:lnTo>
                <a:lnTo>
                  <a:pt x="160" y="136"/>
                </a:lnTo>
                <a:lnTo>
                  <a:pt x="162" y="138"/>
                </a:lnTo>
                <a:lnTo>
                  <a:pt x="167" y="138"/>
                </a:lnTo>
                <a:lnTo>
                  <a:pt x="167" y="140"/>
                </a:lnTo>
                <a:lnTo>
                  <a:pt x="169" y="142"/>
                </a:lnTo>
                <a:lnTo>
                  <a:pt x="171" y="142"/>
                </a:lnTo>
                <a:lnTo>
                  <a:pt x="175" y="140"/>
                </a:lnTo>
                <a:lnTo>
                  <a:pt x="177" y="132"/>
                </a:lnTo>
                <a:lnTo>
                  <a:pt x="179" y="127"/>
                </a:lnTo>
                <a:lnTo>
                  <a:pt x="184" y="127"/>
                </a:lnTo>
                <a:lnTo>
                  <a:pt x="186" y="125"/>
                </a:lnTo>
                <a:lnTo>
                  <a:pt x="190" y="123"/>
                </a:lnTo>
                <a:lnTo>
                  <a:pt x="192" y="123"/>
                </a:lnTo>
                <a:lnTo>
                  <a:pt x="197" y="132"/>
                </a:lnTo>
                <a:lnTo>
                  <a:pt x="199" y="132"/>
                </a:lnTo>
                <a:lnTo>
                  <a:pt x="201" y="127"/>
                </a:lnTo>
                <a:lnTo>
                  <a:pt x="203" y="127"/>
                </a:lnTo>
                <a:lnTo>
                  <a:pt x="203" y="134"/>
                </a:lnTo>
                <a:lnTo>
                  <a:pt x="203" y="136"/>
                </a:lnTo>
                <a:lnTo>
                  <a:pt x="203" y="134"/>
                </a:lnTo>
                <a:lnTo>
                  <a:pt x="208" y="134"/>
                </a:lnTo>
                <a:lnTo>
                  <a:pt x="210" y="127"/>
                </a:lnTo>
                <a:lnTo>
                  <a:pt x="210" y="125"/>
                </a:lnTo>
                <a:lnTo>
                  <a:pt x="212" y="125"/>
                </a:lnTo>
                <a:lnTo>
                  <a:pt x="214" y="125"/>
                </a:lnTo>
                <a:lnTo>
                  <a:pt x="212" y="121"/>
                </a:lnTo>
                <a:lnTo>
                  <a:pt x="212" y="119"/>
                </a:lnTo>
                <a:lnTo>
                  <a:pt x="212" y="116"/>
                </a:lnTo>
                <a:lnTo>
                  <a:pt x="214" y="114"/>
                </a:lnTo>
                <a:lnTo>
                  <a:pt x="216" y="114"/>
                </a:lnTo>
                <a:lnTo>
                  <a:pt x="218" y="110"/>
                </a:lnTo>
                <a:lnTo>
                  <a:pt x="216" y="110"/>
                </a:lnTo>
                <a:lnTo>
                  <a:pt x="214" y="108"/>
                </a:lnTo>
                <a:lnTo>
                  <a:pt x="216" y="106"/>
                </a:lnTo>
                <a:lnTo>
                  <a:pt x="218" y="108"/>
                </a:lnTo>
                <a:lnTo>
                  <a:pt x="223" y="106"/>
                </a:lnTo>
                <a:lnTo>
                  <a:pt x="225" y="106"/>
                </a:lnTo>
                <a:lnTo>
                  <a:pt x="225" y="104"/>
                </a:lnTo>
                <a:lnTo>
                  <a:pt x="223" y="104"/>
                </a:lnTo>
                <a:lnTo>
                  <a:pt x="223" y="101"/>
                </a:lnTo>
                <a:lnTo>
                  <a:pt x="225" y="101"/>
                </a:lnTo>
                <a:lnTo>
                  <a:pt x="227" y="104"/>
                </a:lnTo>
                <a:lnTo>
                  <a:pt x="229" y="110"/>
                </a:lnTo>
                <a:lnTo>
                  <a:pt x="231" y="114"/>
                </a:lnTo>
                <a:lnTo>
                  <a:pt x="236" y="116"/>
                </a:lnTo>
                <a:lnTo>
                  <a:pt x="244" y="116"/>
                </a:lnTo>
                <a:lnTo>
                  <a:pt x="246" y="119"/>
                </a:lnTo>
                <a:lnTo>
                  <a:pt x="249" y="116"/>
                </a:lnTo>
                <a:lnTo>
                  <a:pt x="251" y="116"/>
                </a:lnTo>
                <a:lnTo>
                  <a:pt x="253" y="114"/>
                </a:lnTo>
                <a:lnTo>
                  <a:pt x="257" y="110"/>
                </a:lnTo>
                <a:lnTo>
                  <a:pt x="257" y="108"/>
                </a:lnTo>
                <a:lnTo>
                  <a:pt x="257" y="99"/>
                </a:lnTo>
                <a:lnTo>
                  <a:pt x="259" y="91"/>
                </a:lnTo>
                <a:lnTo>
                  <a:pt x="259" y="88"/>
                </a:lnTo>
                <a:lnTo>
                  <a:pt x="262" y="86"/>
                </a:lnTo>
                <a:lnTo>
                  <a:pt x="264" y="88"/>
                </a:lnTo>
                <a:lnTo>
                  <a:pt x="266" y="88"/>
                </a:lnTo>
                <a:lnTo>
                  <a:pt x="272" y="86"/>
                </a:lnTo>
                <a:lnTo>
                  <a:pt x="274" y="82"/>
                </a:lnTo>
                <a:lnTo>
                  <a:pt x="274" y="75"/>
                </a:lnTo>
                <a:lnTo>
                  <a:pt x="274" y="71"/>
                </a:lnTo>
                <a:lnTo>
                  <a:pt x="281" y="69"/>
                </a:lnTo>
                <a:lnTo>
                  <a:pt x="283" y="63"/>
                </a:lnTo>
                <a:lnTo>
                  <a:pt x="285" y="60"/>
                </a:lnTo>
                <a:lnTo>
                  <a:pt x="285" y="58"/>
                </a:lnTo>
                <a:lnTo>
                  <a:pt x="285" y="56"/>
                </a:lnTo>
                <a:lnTo>
                  <a:pt x="283" y="45"/>
                </a:lnTo>
                <a:lnTo>
                  <a:pt x="283" y="43"/>
                </a:lnTo>
                <a:lnTo>
                  <a:pt x="285" y="41"/>
                </a:lnTo>
                <a:lnTo>
                  <a:pt x="292" y="41"/>
                </a:lnTo>
                <a:lnTo>
                  <a:pt x="296" y="41"/>
                </a:lnTo>
                <a:lnTo>
                  <a:pt x="300" y="43"/>
                </a:lnTo>
                <a:lnTo>
                  <a:pt x="305" y="43"/>
                </a:lnTo>
                <a:lnTo>
                  <a:pt x="307" y="41"/>
                </a:lnTo>
                <a:lnTo>
                  <a:pt x="311" y="39"/>
                </a:lnTo>
                <a:lnTo>
                  <a:pt x="313" y="37"/>
                </a:lnTo>
                <a:lnTo>
                  <a:pt x="316" y="34"/>
                </a:lnTo>
                <a:lnTo>
                  <a:pt x="328" y="32"/>
                </a:lnTo>
                <a:lnTo>
                  <a:pt x="326" y="28"/>
                </a:lnTo>
                <a:lnTo>
                  <a:pt x="328" y="24"/>
                </a:lnTo>
                <a:lnTo>
                  <a:pt x="328" y="22"/>
                </a:lnTo>
                <a:lnTo>
                  <a:pt x="324" y="22"/>
                </a:lnTo>
                <a:lnTo>
                  <a:pt x="324" y="19"/>
                </a:lnTo>
                <a:lnTo>
                  <a:pt x="324" y="17"/>
                </a:lnTo>
                <a:lnTo>
                  <a:pt x="326" y="13"/>
                </a:lnTo>
                <a:lnTo>
                  <a:pt x="324" y="11"/>
                </a:lnTo>
                <a:lnTo>
                  <a:pt x="322" y="11"/>
                </a:lnTo>
                <a:lnTo>
                  <a:pt x="322" y="9"/>
                </a:lnTo>
                <a:lnTo>
                  <a:pt x="322" y="6"/>
                </a:lnTo>
                <a:lnTo>
                  <a:pt x="324" y="4"/>
                </a:lnTo>
                <a:lnTo>
                  <a:pt x="326" y="4"/>
                </a:lnTo>
                <a:lnTo>
                  <a:pt x="326" y="2"/>
                </a:lnTo>
                <a:lnTo>
                  <a:pt x="328" y="0"/>
                </a:lnTo>
                <a:lnTo>
                  <a:pt x="337" y="4"/>
                </a:lnTo>
                <a:lnTo>
                  <a:pt x="339" y="4"/>
                </a:lnTo>
                <a:lnTo>
                  <a:pt x="341" y="4"/>
                </a:lnTo>
                <a:lnTo>
                  <a:pt x="346" y="2"/>
                </a:lnTo>
                <a:lnTo>
                  <a:pt x="348" y="0"/>
                </a:lnTo>
                <a:lnTo>
                  <a:pt x="350" y="0"/>
                </a:lnTo>
                <a:lnTo>
                  <a:pt x="354" y="2"/>
                </a:lnTo>
                <a:lnTo>
                  <a:pt x="354" y="4"/>
                </a:lnTo>
                <a:lnTo>
                  <a:pt x="357" y="6"/>
                </a:lnTo>
                <a:lnTo>
                  <a:pt x="359" y="4"/>
                </a:lnTo>
                <a:lnTo>
                  <a:pt x="361" y="6"/>
                </a:lnTo>
                <a:lnTo>
                  <a:pt x="363" y="13"/>
                </a:lnTo>
                <a:lnTo>
                  <a:pt x="365" y="17"/>
                </a:lnTo>
                <a:lnTo>
                  <a:pt x="367" y="19"/>
                </a:lnTo>
                <a:lnTo>
                  <a:pt x="372" y="24"/>
                </a:lnTo>
                <a:lnTo>
                  <a:pt x="374" y="26"/>
                </a:lnTo>
                <a:lnTo>
                  <a:pt x="380" y="28"/>
                </a:lnTo>
                <a:lnTo>
                  <a:pt x="382" y="28"/>
                </a:lnTo>
                <a:lnTo>
                  <a:pt x="391" y="26"/>
                </a:lnTo>
                <a:lnTo>
                  <a:pt x="393" y="26"/>
                </a:lnTo>
                <a:lnTo>
                  <a:pt x="398" y="28"/>
                </a:lnTo>
                <a:lnTo>
                  <a:pt x="400" y="32"/>
                </a:lnTo>
                <a:lnTo>
                  <a:pt x="404" y="32"/>
                </a:lnTo>
                <a:lnTo>
                  <a:pt x="406" y="37"/>
                </a:lnTo>
                <a:lnTo>
                  <a:pt x="411" y="37"/>
                </a:lnTo>
                <a:lnTo>
                  <a:pt x="413" y="39"/>
                </a:lnTo>
                <a:lnTo>
                  <a:pt x="413" y="37"/>
                </a:lnTo>
                <a:lnTo>
                  <a:pt x="415" y="37"/>
                </a:lnTo>
                <a:lnTo>
                  <a:pt x="415" y="34"/>
                </a:lnTo>
                <a:lnTo>
                  <a:pt x="415" y="32"/>
                </a:lnTo>
                <a:lnTo>
                  <a:pt x="423" y="28"/>
                </a:lnTo>
                <a:lnTo>
                  <a:pt x="428" y="32"/>
                </a:lnTo>
                <a:lnTo>
                  <a:pt x="432" y="32"/>
                </a:lnTo>
                <a:lnTo>
                  <a:pt x="439" y="34"/>
                </a:lnTo>
                <a:lnTo>
                  <a:pt x="439" y="37"/>
                </a:lnTo>
                <a:lnTo>
                  <a:pt x="441" y="37"/>
                </a:lnTo>
                <a:lnTo>
                  <a:pt x="441" y="34"/>
                </a:lnTo>
                <a:lnTo>
                  <a:pt x="443" y="34"/>
                </a:lnTo>
                <a:lnTo>
                  <a:pt x="447" y="34"/>
                </a:lnTo>
                <a:lnTo>
                  <a:pt x="449" y="34"/>
                </a:lnTo>
                <a:lnTo>
                  <a:pt x="454" y="28"/>
                </a:lnTo>
                <a:lnTo>
                  <a:pt x="456" y="26"/>
                </a:lnTo>
                <a:lnTo>
                  <a:pt x="458" y="24"/>
                </a:lnTo>
                <a:lnTo>
                  <a:pt x="462" y="22"/>
                </a:lnTo>
                <a:lnTo>
                  <a:pt x="464" y="19"/>
                </a:lnTo>
                <a:lnTo>
                  <a:pt x="469" y="19"/>
                </a:lnTo>
                <a:lnTo>
                  <a:pt x="469" y="22"/>
                </a:lnTo>
                <a:lnTo>
                  <a:pt x="469" y="24"/>
                </a:lnTo>
                <a:lnTo>
                  <a:pt x="471" y="26"/>
                </a:lnTo>
                <a:lnTo>
                  <a:pt x="473" y="32"/>
                </a:lnTo>
                <a:lnTo>
                  <a:pt x="475" y="34"/>
                </a:lnTo>
                <a:lnTo>
                  <a:pt x="475" y="37"/>
                </a:lnTo>
                <a:lnTo>
                  <a:pt x="480" y="34"/>
                </a:lnTo>
                <a:lnTo>
                  <a:pt x="486" y="37"/>
                </a:lnTo>
                <a:lnTo>
                  <a:pt x="486" y="39"/>
                </a:lnTo>
                <a:lnTo>
                  <a:pt x="490" y="41"/>
                </a:lnTo>
                <a:lnTo>
                  <a:pt x="493" y="45"/>
                </a:lnTo>
                <a:lnTo>
                  <a:pt x="493" y="52"/>
                </a:lnTo>
                <a:lnTo>
                  <a:pt x="495" y="56"/>
                </a:lnTo>
                <a:lnTo>
                  <a:pt x="497" y="60"/>
                </a:lnTo>
                <a:lnTo>
                  <a:pt x="495" y="60"/>
                </a:lnTo>
                <a:lnTo>
                  <a:pt x="493" y="63"/>
                </a:lnTo>
                <a:lnTo>
                  <a:pt x="495" y="67"/>
                </a:lnTo>
                <a:lnTo>
                  <a:pt x="495" y="69"/>
                </a:lnTo>
                <a:lnTo>
                  <a:pt x="493" y="69"/>
                </a:lnTo>
                <a:lnTo>
                  <a:pt x="493" y="71"/>
                </a:lnTo>
                <a:lnTo>
                  <a:pt x="497" y="73"/>
                </a:lnTo>
                <a:lnTo>
                  <a:pt x="503" y="84"/>
                </a:lnTo>
                <a:lnTo>
                  <a:pt x="508" y="86"/>
                </a:lnTo>
                <a:lnTo>
                  <a:pt x="508" y="88"/>
                </a:lnTo>
                <a:lnTo>
                  <a:pt x="506" y="91"/>
                </a:lnTo>
                <a:lnTo>
                  <a:pt x="510" y="93"/>
                </a:lnTo>
                <a:lnTo>
                  <a:pt x="512" y="93"/>
                </a:lnTo>
                <a:lnTo>
                  <a:pt x="514" y="101"/>
                </a:lnTo>
                <a:lnTo>
                  <a:pt x="521" y="101"/>
                </a:lnTo>
                <a:lnTo>
                  <a:pt x="523" y="104"/>
                </a:lnTo>
                <a:lnTo>
                  <a:pt x="521" y="106"/>
                </a:lnTo>
                <a:lnTo>
                  <a:pt x="525" y="110"/>
                </a:lnTo>
                <a:lnTo>
                  <a:pt x="529" y="114"/>
                </a:lnTo>
                <a:lnTo>
                  <a:pt x="534" y="116"/>
                </a:lnTo>
                <a:lnTo>
                  <a:pt x="534" y="114"/>
                </a:lnTo>
                <a:lnTo>
                  <a:pt x="536" y="119"/>
                </a:lnTo>
                <a:lnTo>
                  <a:pt x="538" y="119"/>
                </a:lnTo>
                <a:lnTo>
                  <a:pt x="538" y="121"/>
                </a:lnTo>
                <a:lnTo>
                  <a:pt x="542" y="121"/>
                </a:lnTo>
                <a:lnTo>
                  <a:pt x="544" y="123"/>
                </a:lnTo>
                <a:lnTo>
                  <a:pt x="544" y="121"/>
                </a:lnTo>
                <a:lnTo>
                  <a:pt x="551" y="121"/>
                </a:lnTo>
                <a:lnTo>
                  <a:pt x="529" y="145"/>
                </a:lnTo>
                <a:lnTo>
                  <a:pt x="525" y="151"/>
                </a:lnTo>
                <a:lnTo>
                  <a:pt x="523" y="151"/>
                </a:lnTo>
                <a:lnTo>
                  <a:pt x="512" y="158"/>
                </a:lnTo>
                <a:lnTo>
                  <a:pt x="510" y="158"/>
                </a:lnTo>
                <a:lnTo>
                  <a:pt x="501" y="168"/>
                </a:lnTo>
                <a:lnTo>
                  <a:pt x="501" y="170"/>
                </a:lnTo>
                <a:lnTo>
                  <a:pt x="503" y="170"/>
                </a:lnTo>
                <a:lnTo>
                  <a:pt x="503" y="173"/>
                </a:lnTo>
                <a:lnTo>
                  <a:pt x="503" y="175"/>
                </a:lnTo>
                <a:lnTo>
                  <a:pt x="495" y="177"/>
                </a:lnTo>
                <a:lnTo>
                  <a:pt x="493" y="183"/>
                </a:lnTo>
                <a:lnTo>
                  <a:pt x="493" y="186"/>
                </a:lnTo>
                <a:lnTo>
                  <a:pt x="493" y="190"/>
                </a:lnTo>
                <a:lnTo>
                  <a:pt x="488" y="192"/>
                </a:lnTo>
                <a:lnTo>
                  <a:pt x="480" y="196"/>
                </a:lnTo>
                <a:lnTo>
                  <a:pt x="477" y="196"/>
                </a:lnTo>
                <a:lnTo>
                  <a:pt x="475" y="203"/>
                </a:lnTo>
                <a:lnTo>
                  <a:pt x="475" y="205"/>
                </a:lnTo>
                <a:lnTo>
                  <a:pt x="475" y="207"/>
                </a:lnTo>
                <a:lnTo>
                  <a:pt x="471" y="207"/>
                </a:lnTo>
                <a:lnTo>
                  <a:pt x="462" y="209"/>
                </a:lnTo>
                <a:lnTo>
                  <a:pt x="458" y="214"/>
                </a:lnTo>
                <a:lnTo>
                  <a:pt x="456" y="216"/>
                </a:lnTo>
                <a:lnTo>
                  <a:pt x="454" y="218"/>
                </a:lnTo>
                <a:lnTo>
                  <a:pt x="447" y="218"/>
                </a:lnTo>
                <a:lnTo>
                  <a:pt x="439" y="222"/>
                </a:lnTo>
                <a:lnTo>
                  <a:pt x="439" y="224"/>
                </a:lnTo>
                <a:lnTo>
                  <a:pt x="436" y="229"/>
                </a:lnTo>
                <a:lnTo>
                  <a:pt x="419" y="229"/>
                </a:lnTo>
                <a:lnTo>
                  <a:pt x="413" y="229"/>
                </a:lnTo>
                <a:lnTo>
                  <a:pt x="393" y="231"/>
                </a:lnTo>
                <a:lnTo>
                  <a:pt x="357" y="235"/>
                </a:lnTo>
                <a:lnTo>
                  <a:pt x="354" y="235"/>
                </a:lnTo>
                <a:lnTo>
                  <a:pt x="339" y="235"/>
                </a:lnTo>
                <a:lnTo>
                  <a:pt x="318" y="237"/>
                </a:lnTo>
                <a:lnTo>
                  <a:pt x="316" y="237"/>
                </a:lnTo>
                <a:lnTo>
                  <a:pt x="307" y="240"/>
                </a:lnTo>
                <a:lnTo>
                  <a:pt x="281" y="240"/>
                </a:lnTo>
                <a:lnTo>
                  <a:pt x="266" y="242"/>
                </a:lnTo>
                <a:lnTo>
                  <a:pt x="249" y="242"/>
                </a:lnTo>
                <a:lnTo>
                  <a:pt x="233" y="242"/>
                </a:lnTo>
                <a:lnTo>
                  <a:pt x="227" y="246"/>
                </a:lnTo>
                <a:close/>
                <a:moveTo>
                  <a:pt x="2" y="278"/>
                </a:moveTo>
                <a:lnTo>
                  <a:pt x="0" y="274"/>
                </a:lnTo>
                <a:lnTo>
                  <a:pt x="0" y="272"/>
                </a:lnTo>
                <a:lnTo>
                  <a:pt x="2" y="272"/>
                </a:lnTo>
                <a:lnTo>
                  <a:pt x="5" y="272"/>
                </a:lnTo>
                <a:lnTo>
                  <a:pt x="7" y="274"/>
                </a:lnTo>
                <a:lnTo>
                  <a:pt x="5" y="278"/>
                </a:lnTo>
                <a:lnTo>
                  <a:pt x="7" y="278"/>
                </a:lnTo>
                <a:lnTo>
                  <a:pt x="2" y="278"/>
                </a:lnTo>
                <a:close/>
              </a:path>
            </a:pathLst>
          </a:custGeom>
          <a:noFill/>
          <a:ln w="9525">
            <a:noFill/>
            <a:round/>
            <a:headEnd/>
            <a:tailEnd/>
          </a:ln>
        </p:spPr>
        <p:txBody>
          <a:bodyPr/>
          <a:lstStyle/>
          <a:p>
            <a:endParaRPr lang="en-US" dirty="0">
              <a:solidFill>
                <a:prstClr val="black"/>
              </a:solidFill>
            </a:endParaRPr>
          </a:p>
        </p:txBody>
      </p:sp>
      <p:sp>
        <p:nvSpPr>
          <p:cNvPr id="245" name="Freeform 78">
            <a:extLst>
              <a:ext uri="{FF2B5EF4-FFF2-40B4-BE49-F238E27FC236}">
                <a16:creationId xmlns:a16="http://schemas.microsoft.com/office/drawing/2014/main" id="{C1364CBF-C480-4985-9D4A-CE08AD89B31C}"/>
              </a:ext>
            </a:extLst>
          </p:cNvPr>
          <p:cNvSpPr>
            <a:spLocks/>
          </p:cNvSpPr>
          <p:nvPr>
            <p:custDataLst>
              <p:tags r:id="rId69"/>
            </p:custDataLst>
          </p:nvPr>
        </p:nvSpPr>
        <p:spPr bwMode="auto">
          <a:xfrm>
            <a:off x="7100292" y="3735599"/>
            <a:ext cx="1091618" cy="600953"/>
          </a:xfrm>
          <a:custGeom>
            <a:avLst/>
            <a:gdLst>
              <a:gd name="T0" fmla="*/ 2147483647 w 540"/>
              <a:gd name="T1" fmla="*/ 2147483647 h 278"/>
              <a:gd name="T2" fmla="*/ 2147483647 w 540"/>
              <a:gd name="T3" fmla="*/ 2147483647 h 278"/>
              <a:gd name="T4" fmla="*/ 2147483647 w 540"/>
              <a:gd name="T5" fmla="*/ 2147483647 h 278"/>
              <a:gd name="T6" fmla="*/ 2147483647 w 540"/>
              <a:gd name="T7" fmla="*/ 2147483647 h 278"/>
              <a:gd name="T8" fmla="*/ 2147483647 w 540"/>
              <a:gd name="T9" fmla="*/ 2147483647 h 278"/>
              <a:gd name="T10" fmla="*/ 2147483647 w 540"/>
              <a:gd name="T11" fmla="*/ 2147483647 h 278"/>
              <a:gd name="T12" fmla="*/ 2147483647 w 540"/>
              <a:gd name="T13" fmla="*/ 2147483647 h 278"/>
              <a:gd name="T14" fmla="*/ 2147483647 w 540"/>
              <a:gd name="T15" fmla="*/ 2147483647 h 278"/>
              <a:gd name="T16" fmla="*/ 2147483647 w 540"/>
              <a:gd name="T17" fmla="*/ 2147483647 h 278"/>
              <a:gd name="T18" fmla="*/ 2147483647 w 540"/>
              <a:gd name="T19" fmla="*/ 2147483647 h 278"/>
              <a:gd name="T20" fmla="*/ 2147483647 w 540"/>
              <a:gd name="T21" fmla="*/ 2147483647 h 278"/>
              <a:gd name="T22" fmla="*/ 2147483647 w 540"/>
              <a:gd name="T23" fmla="*/ 2147483647 h 278"/>
              <a:gd name="T24" fmla="*/ 2147483647 w 540"/>
              <a:gd name="T25" fmla="*/ 2147483647 h 278"/>
              <a:gd name="T26" fmla="*/ 2147483647 w 540"/>
              <a:gd name="T27" fmla="*/ 2147483647 h 278"/>
              <a:gd name="T28" fmla="*/ 2147483647 w 540"/>
              <a:gd name="T29" fmla="*/ 2147483647 h 278"/>
              <a:gd name="T30" fmla="*/ 2147483647 w 540"/>
              <a:gd name="T31" fmla="*/ 2147483647 h 278"/>
              <a:gd name="T32" fmla="*/ 2147483647 w 540"/>
              <a:gd name="T33" fmla="*/ 2147483647 h 278"/>
              <a:gd name="T34" fmla="*/ 2147483647 w 540"/>
              <a:gd name="T35" fmla="*/ 2147483647 h 278"/>
              <a:gd name="T36" fmla="*/ 2147483647 w 540"/>
              <a:gd name="T37" fmla="*/ 2147483647 h 278"/>
              <a:gd name="T38" fmla="*/ 2147483647 w 540"/>
              <a:gd name="T39" fmla="*/ 2147483647 h 278"/>
              <a:gd name="T40" fmla="*/ 2147483647 w 540"/>
              <a:gd name="T41" fmla="*/ 2147483647 h 278"/>
              <a:gd name="T42" fmla="*/ 2147483647 w 540"/>
              <a:gd name="T43" fmla="*/ 2147483647 h 278"/>
              <a:gd name="T44" fmla="*/ 2147483647 w 540"/>
              <a:gd name="T45" fmla="*/ 2147483647 h 278"/>
              <a:gd name="T46" fmla="*/ 2147483647 w 540"/>
              <a:gd name="T47" fmla="*/ 2147483647 h 278"/>
              <a:gd name="T48" fmla="*/ 2147483647 w 540"/>
              <a:gd name="T49" fmla="*/ 2147483647 h 278"/>
              <a:gd name="T50" fmla="*/ 2147483647 w 540"/>
              <a:gd name="T51" fmla="*/ 2147483647 h 278"/>
              <a:gd name="T52" fmla="*/ 2147483647 w 540"/>
              <a:gd name="T53" fmla="*/ 2147483647 h 278"/>
              <a:gd name="T54" fmla="*/ 2147483647 w 540"/>
              <a:gd name="T55" fmla="*/ 2147483647 h 278"/>
              <a:gd name="T56" fmla="*/ 2147483647 w 540"/>
              <a:gd name="T57" fmla="*/ 2147483647 h 278"/>
              <a:gd name="T58" fmla="*/ 2147483647 w 540"/>
              <a:gd name="T59" fmla="*/ 2147483647 h 278"/>
              <a:gd name="T60" fmla="*/ 2147483647 w 540"/>
              <a:gd name="T61" fmla="*/ 2147483647 h 278"/>
              <a:gd name="T62" fmla="*/ 2147483647 w 540"/>
              <a:gd name="T63" fmla="*/ 2147483647 h 278"/>
              <a:gd name="T64" fmla="*/ 2147483647 w 540"/>
              <a:gd name="T65" fmla="*/ 2147483647 h 278"/>
              <a:gd name="T66" fmla="*/ 2147483647 w 540"/>
              <a:gd name="T67" fmla="*/ 2147483647 h 278"/>
              <a:gd name="T68" fmla="*/ 2147483647 w 540"/>
              <a:gd name="T69" fmla="*/ 2147483647 h 278"/>
              <a:gd name="T70" fmla="*/ 2147483647 w 540"/>
              <a:gd name="T71" fmla="*/ 2147483647 h 278"/>
              <a:gd name="T72" fmla="*/ 2147483647 w 540"/>
              <a:gd name="T73" fmla="*/ 2147483647 h 278"/>
              <a:gd name="T74" fmla="*/ 2147483647 w 540"/>
              <a:gd name="T75" fmla="*/ 2147483647 h 278"/>
              <a:gd name="T76" fmla="*/ 2147483647 w 540"/>
              <a:gd name="T77" fmla="*/ 2147483647 h 278"/>
              <a:gd name="T78" fmla="*/ 2147483647 w 540"/>
              <a:gd name="T79" fmla="*/ 2147483647 h 278"/>
              <a:gd name="T80" fmla="*/ 2147483647 w 540"/>
              <a:gd name="T81" fmla="*/ 2147483647 h 278"/>
              <a:gd name="T82" fmla="*/ 2147483647 w 540"/>
              <a:gd name="T83" fmla="*/ 2147483647 h 278"/>
              <a:gd name="T84" fmla="*/ 2147483647 w 540"/>
              <a:gd name="T85" fmla="*/ 2147483647 h 278"/>
              <a:gd name="T86" fmla="*/ 2147483647 w 540"/>
              <a:gd name="T87" fmla="*/ 2147483647 h 278"/>
              <a:gd name="T88" fmla="*/ 2147483647 w 540"/>
              <a:gd name="T89" fmla="*/ 2147483647 h 278"/>
              <a:gd name="T90" fmla="*/ 2147483647 w 540"/>
              <a:gd name="T91" fmla="*/ 2147483647 h 278"/>
              <a:gd name="T92" fmla="*/ 2147483647 w 540"/>
              <a:gd name="T93" fmla="*/ 2147483647 h 278"/>
              <a:gd name="T94" fmla="*/ 2147483647 w 540"/>
              <a:gd name="T95" fmla="*/ 2147483647 h 278"/>
              <a:gd name="T96" fmla="*/ 2147483647 w 540"/>
              <a:gd name="T97" fmla="*/ 2147483647 h 278"/>
              <a:gd name="T98" fmla="*/ 2147483647 w 540"/>
              <a:gd name="T99" fmla="*/ 2147483647 h 278"/>
              <a:gd name="T100" fmla="*/ 2147483647 w 540"/>
              <a:gd name="T101" fmla="*/ 2147483647 h 278"/>
              <a:gd name="T102" fmla="*/ 2147483647 w 540"/>
              <a:gd name="T103" fmla="*/ 2147483647 h 278"/>
              <a:gd name="T104" fmla="*/ 2147483647 w 540"/>
              <a:gd name="T105" fmla="*/ 2147483647 h 278"/>
              <a:gd name="T106" fmla="*/ 2147483647 w 540"/>
              <a:gd name="T107" fmla="*/ 2147483647 h 278"/>
              <a:gd name="T108" fmla="*/ 2147483647 w 540"/>
              <a:gd name="T109" fmla="*/ 2147483647 h 278"/>
              <a:gd name="T110" fmla="*/ 2147483647 w 540"/>
              <a:gd name="T111" fmla="*/ 2147483647 h 278"/>
              <a:gd name="T112" fmla="*/ 2147483647 w 540"/>
              <a:gd name="T113" fmla="*/ 2147483647 h 278"/>
              <a:gd name="T114" fmla="*/ 2147483647 w 540"/>
              <a:gd name="T115" fmla="*/ 2147483647 h 278"/>
              <a:gd name="T116" fmla="*/ 2147483647 w 540"/>
              <a:gd name="T117" fmla="*/ 2147483647 h 278"/>
              <a:gd name="T118" fmla="*/ 2147483647 w 540"/>
              <a:gd name="T119" fmla="*/ 2147483647 h 278"/>
              <a:gd name="T120" fmla="*/ 2147483647 w 540"/>
              <a:gd name="T121" fmla="*/ 2147483647 h 278"/>
              <a:gd name="T122" fmla="*/ 2147483647 w 540"/>
              <a:gd name="T123" fmla="*/ 2147483647 h 278"/>
              <a:gd name="T124" fmla="*/ 2147483647 w 540"/>
              <a:gd name="T125" fmla="*/ 2147483647 h 2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0"/>
              <a:gd name="T190" fmla="*/ 0 h 278"/>
              <a:gd name="T191" fmla="*/ 540 w 540"/>
              <a:gd name="T192" fmla="*/ 278 h 2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0" h="278">
                <a:moveTo>
                  <a:pt x="216" y="246"/>
                </a:moveTo>
                <a:lnTo>
                  <a:pt x="197" y="248"/>
                </a:lnTo>
                <a:lnTo>
                  <a:pt x="173" y="248"/>
                </a:lnTo>
                <a:lnTo>
                  <a:pt x="171" y="250"/>
                </a:lnTo>
                <a:lnTo>
                  <a:pt x="153" y="250"/>
                </a:lnTo>
                <a:lnTo>
                  <a:pt x="132" y="252"/>
                </a:lnTo>
                <a:lnTo>
                  <a:pt x="127" y="252"/>
                </a:lnTo>
                <a:lnTo>
                  <a:pt x="117" y="255"/>
                </a:lnTo>
                <a:lnTo>
                  <a:pt x="114" y="252"/>
                </a:lnTo>
                <a:lnTo>
                  <a:pt x="99" y="252"/>
                </a:lnTo>
                <a:lnTo>
                  <a:pt x="102" y="263"/>
                </a:lnTo>
                <a:lnTo>
                  <a:pt x="104" y="265"/>
                </a:lnTo>
                <a:lnTo>
                  <a:pt x="104" y="270"/>
                </a:lnTo>
                <a:lnTo>
                  <a:pt x="69" y="272"/>
                </a:lnTo>
                <a:lnTo>
                  <a:pt x="45" y="274"/>
                </a:lnTo>
                <a:lnTo>
                  <a:pt x="43" y="274"/>
                </a:lnTo>
                <a:lnTo>
                  <a:pt x="7" y="278"/>
                </a:lnTo>
                <a:lnTo>
                  <a:pt x="0" y="278"/>
                </a:lnTo>
                <a:lnTo>
                  <a:pt x="0" y="274"/>
                </a:lnTo>
                <a:lnTo>
                  <a:pt x="2" y="265"/>
                </a:lnTo>
                <a:lnTo>
                  <a:pt x="4" y="265"/>
                </a:lnTo>
                <a:lnTo>
                  <a:pt x="7" y="265"/>
                </a:lnTo>
                <a:lnTo>
                  <a:pt x="9" y="270"/>
                </a:lnTo>
                <a:lnTo>
                  <a:pt x="15" y="270"/>
                </a:lnTo>
                <a:lnTo>
                  <a:pt x="15" y="268"/>
                </a:lnTo>
                <a:lnTo>
                  <a:pt x="17" y="263"/>
                </a:lnTo>
                <a:lnTo>
                  <a:pt x="17" y="259"/>
                </a:lnTo>
                <a:lnTo>
                  <a:pt x="15" y="255"/>
                </a:lnTo>
                <a:lnTo>
                  <a:pt x="17" y="252"/>
                </a:lnTo>
                <a:lnTo>
                  <a:pt x="19" y="252"/>
                </a:lnTo>
                <a:lnTo>
                  <a:pt x="19" y="250"/>
                </a:lnTo>
                <a:lnTo>
                  <a:pt x="19" y="248"/>
                </a:lnTo>
                <a:lnTo>
                  <a:pt x="17" y="248"/>
                </a:lnTo>
                <a:lnTo>
                  <a:pt x="17" y="246"/>
                </a:lnTo>
                <a:lnTo>
                  <a:pt x="17" y="242"/>
                </a:lnTo>
                <a:lnTo>
                  <a:pt x="19" y="242"/>
                </a:lnTo>
                <a:lnTo>
                  <a:pt x="22" y="233"/>
                </a:lnTo>
                <a:lnTo>
                  <a:pt x="19" y="231"/>
                </a:lnTo>
                <a:lnTo>
                  <a:pt x="17" y="231"/>
                </a:lnTo>
                <a:lnTo>
                  <a:pt x="15" y="229"/>
                </a:lnTo>
                <a:lnTo>
                  <a:pt x="15" y="222"/>
                </a:lnTo>
                <a:lnTo>
                  <a:pt x="17" y="220"/>
                </a:lnTo>
                <a:lnTo>
                  <a:pt x="19" y="218"/>
                </a:lnTo>
                <a:lnTo>
                  <a:pt x="22" y="209"/>
                </a:lnTo>
                <a:lnTo>
                  <a:pt x="26" y="207"/>
                </a:lnTo>
                <a:lnTo>
                  <a:pt x="32" y="207"/>
                </a:lnTo>
                <a:lnTo>
                  <a:pt x="37" y="207"/>
                </a:lnTo>
                <a:lnTo>
                  <a:pt x="45" y="214"/>
                </a:lnTo>
                <a:lnTo>
                  <a:pt x="50" y="214"/>
                </a:lnTo>
                <a:lnTo>
                  <a:pt x="56" y="216"/>
                </a:lnTo>
                <a:lnTo>
                  <a:pt x="58" y="218"/>
                </a:lnTo>
                <a:lnTo>
                  <a:pt x="65" y="220"/>
                </a:lnTo>
                <a:lnTo>
                  <a:pt x="65" y="218"/>
                </a:lnTo>
                <a:lnTo>
                  <a:pt x="67" y="218"/>
                </a:lnTo>
                <a:lnTo>
                  <a:pt x="69" y="216"/>
                </a:lnTo>
                <a:lnTo>
                  <a:pt x="69" y="209"/>
                </a:lnTo>
                <a:lnTo>
                  <a:pt x="67" y="205"/>
                </a:lnTo>
                <a:lnTo>
                  <a:pt x="65" y="201"/>
                </a:lnTo>
                <a:lnTo>
                  <a:pt x="61" y="199"/>
                </a:lnTo>
                <a:lnTo>
                  <a:pt x="65" y="188"/>
                </a:lnTo>
                <a:lnTo>
                  <a:pt x="69" y="186"/>
                </a:lnTo>
                <a:lnTo>
                  <a:pt x="71" y="186"/>
                </a:lnTo>
                <a:lnTo>
                  <a:pt x="76" y="183"/>
                </a:lnTo>
                <a:lnTo>
                  <a:pt x="91" y="177"/>
                </a:lnTo>
                <a:lnTo>
                  <a:pt x="93" y="175"/>
                </a:lnTo>
                <a:lnTo>
                  <a:pt x="86" y="168"/>
                </a:lnTo>
                <a:lnTo>
                  <a:pt x="86" y="166"/>
                </a:lnTo>
                <a:lnTo>
                  <a:pt x="84" y="160"/>
                </a:lnTo>
                <a:lnTo>
                  <a:pt x="86" y="158"/>
                </a:lnTo>
                <a:lnTo>
                  <a:pt x="91" y="153"/>
                </a:lnTo>
                <a:lnTo>
                  <a:pt x="93" y="149"/>
                </a:lnTo>
                <a:lnTo>
                  <a:pt x="99" y="151"/>
                </a:lnTo>
                <a:lnTo>
                  <a:pt x="102" y="149"/>
                </a:lnTo>
                <a:lnTo>
                  <a:pt x="102" y="145"/>
                </a:lnTo>
                <a:lnTo>
                  <a:pt x="102" y="142"/>
                </a:lnTo>
                <a:lnTo>
                  <a:pt x="99" y="140"/>
                </a:lnTo>
                <a:lnTo>
                  <a:pt x="99" y="138"/>
                </a:lnTo>
                <a:lnTo>
                  <a:pt x="102" y="136"/>
                </a:lnTo>
                <a:lnTo>
                  <a:pt x="106" y="138"/>
                </a:lnTo>
                <a:lnTo>
                  <a:pt x="108" y="140"/>
                </a:lnTo>
                <a:lnTo>
                  <a:pt x="114" y="138"/>
                </a:lnTo>
                <a:lnTo>
                  <a:pt x="117" y="136"/>
                </a:lnTo>
                <a:lnTo>
                  <a:pt x="119" y="136"/>
                </a:lnTo>
                <a:lnTo>
                  <a:pt x="119" y="142"/>
                </a:lnTo>
                <a:lnTo>
                  <a:pt x="121" y="142"/>
                </a:lnTo>
                <a:lnTo>
                  <a:pt x="123" y="140"/>
                </a:lnTo>
                <a:lnTo>
                  <a:pt x="123" y="138"/>
                </a:lnTo>
                <a:lnTo>
                  <a:pt x="123" y="136"/>
                </a:lnTo>
                <a:lnTo>
                  <a:pt x="121" y="134"/>
                </a:lnTo>
                <a:lnTo>
                  <a:pt x="123" y="127"/>
                </a:lnTo>
                <a:lnTo>
                  <a:pt x="132" y="134"/>
                </a:lnTo>
                <a:lnTo>
                  <a:pt x="134" y="132"/>
                </a:lnTo>
                <a:lnTo>
                  <a:pt x="138" y="132"/>
                </a:lnTo>
                <a:lnTo>
                  <a:pt x="147" y="136"/>
                </a:lnTo>
                <a:lnTo>
                  <a:pt x="149" y="136"/>
                </a:lnTo>
                <a:lnTo>
                  <a:pt x="151" y="138"/>
                </a:lnTo>
                <a:lnTo>
                  <a:pt x="156" y="138"/>
                </a:lnTo>
                <a:lnTo>
                  <a:pt x="156" y="140"/>
                </a:lnTo>
                <a:lnTo>
                  <a:pt x="158" y="142"/>
                </a:lnTo>
                <a:lnTo>
                  <a:pt x="160" y="142"/>
                </a:lnTo>
                <a:lnTo>
                  <a:pt x="164" y="140"/>
                </a:lnTo>
                <a:lnTo>
                  <a:pt x="166" y="132"/>
                </a:lnTo>
                <a:lnTo>
                  <a:pt x="168" y="127"/>
                </a:lnTo>
                <a:lnTo>
                  <a:pt x="173" y="127"/>
                </a:lnTo>
                <a:lnTo>
                  <a:pt x="175" y="125"/>
                </a:lnTo>
                <a:lnTo>
                  <a:pt x="179" y="123"/>
                </a:lnTo>
                <a:lnTo>
                  <a:pt x="181" y="123"/>
                </a:lnTo>
                <a:lnTo>
                  <a:pt x="186" y="132"/>
                </a:lnTo>
                <a:lnTo>
                  <a:pt x="188" y="132"/>
                </a:lnTo>
                <a:lnTo>
                  <a:pt x="190" y="127"/>
                </a:lnTo>
                <a:lnTo>
                  <a:pt x="192" y="127"/>
                </a:lnTo>
                <a:lnTo>
                  <a:pt x="192" y="134"/>
                </a:lnTo>
                <a:lnTo>
                  <a:pt x="192" y="136"/>
                </a:lnTo>
                <a:lnTo>
                  <a:pt x="192" y="134"/>
                </a:lnTo>
                <a:lnTo>
                  <a:pt x="197" y="134"/>
                </a:lnTo>
                <a:lnTo>
                  <a:pt x="199" y="127"/>
                </a:lnTo>
                <a:lnTo>
                  <a:pt x="199" y="125"/>
                </a:lnTo>
                <a:lnTo>
                  <a:pt x="201" y="125"/>
                </a:lnTo>
                <a:lnTo>
                  <a:pt x="203" y="125"/>
                </a:lnTo>
                <a:lnTo>
                  <a:pt x="201" y="121"/>
                </a:lnTo>
                <a:lnTo>
                  <a:pt x="201" y="119"/>
                </a:lnTo>
                <a:lnTo>
                  <a:pt x="201" y="116"/>
                </a:lnTo>
                <a:lnTo>
                  <a:pt x="203" y="114"/>
                </a:lnTo>
                <a:lnTo>
                  <a:pt x="205" y="114"/>
                </a:lnTo>
                <a:lnTo>
                  <a:pt x="207" y="110"/>
                </a:lnTo>
                <a:lnTo>
                  <a:pt x="205" y="110"/>
                </a:lnTo>
                <a:lnTo>
                  <a:pt x="203" y="108"/>
                </a:lnTo>
                <a:lnTo>
                  <a:pt x="205" y="106"/>
                </a:lnTo>
                <a:lnTo>
                  <a:pt x="207" y="108"/>
                </a:lnTo>
                <a:lnTo>
                  <a:pt x="212" y="106"/>
                </a:lnTo>
                <a:lnTo>
                  <a:pt x="214" y="106"/>
                </a:lnTo>
                <a:lnTo>
                  <a:pt x="214" y="104"/>
                </a:lnTo>
                <a:lnTo>
                  <a:pt x="212" y="104"/>
                </a:lnTo>
                <a:lnTo>
                  <a:pt x="212" y="101"/>
                </a:lnTo>
                <a:lnTo>
                  <a:pt x="214" y="101"/>
                </a:lnTo>
                <a:lnTo>
                  <a:pt x="216" y="104"/>
                </a:lnTo>
                <a:lnTo>
                  <a:pt x="218" y="110"/>
                </a:lnTo>
                <a:lnTo>
                  <a:pt x="220" y="114"/>
                </a:lnTo>
                <a:lnTo>
                  <a:pt x="225" y="116"/>
                </a:lnTo>
                <a:lnTo>
                  <a:pt x="233" y="116"/>
                </a:lnTo>
                <a:lnTo>
                  <a:pt x="235" y="119"/>
                </a:lnTo>
                <a:lnTo>
                  <a:pt x="238" y="116"/>
                </a:lnTo>
                <a:lnTo>
                  <a:pt x="240" y="116"/>
                </a:lnTo>
                <a:lnTo>
                  <a:pt x="242" y="114"/>
                </a:lnTo>
                <a:lnTo>
                  <a:pt x="246" y="110"/>
                </a:lnTo>
                <a:lnTo>
                  <a:pt x="246" y="108"/>
                </a:lnTo>
                <a:lnTo>
                  <a:pt x="246" y="99"/>
                </a:lnTo>
                <a:lnTo>
                  <a:pt x="248" y="91"/>
                </a:lnTo>
                <a:lnTo>
                  <a:pt x="248" y="88"/>
                </a:lnTo>
                <a:lnTo>
                  <a:pt x="251" y="86"/>
                </a:lnTo>
                <a:lnTo>
                  <a:pt x="253" y="88"/>
                </a:lnTo>
                <a:lnTo>
                  <a:pt x="255" y="88"/>
                </a:lnTo>
                <a:lnTo>
                  <a:pt x="261" y="86"/>
                </a:lnTo>
                <a:lnTo>
                  <a:pt x="263" y="82"/>
                </a:lnTo>
                <a:lnTo>
                  <a:pt x="263" y="75"/>
                </a:lnTo>
                <a:lnTo>
                  <a:pt x="263" y="71"/>
                </a:lnTo>
                <a:lnTo>
                  <a:pt x="270" y="69"/>
                </a:lnTo>
                <a:lnTo>
                  <a:pt x="272" y="63"/>
                </a:lnTo>
                <a:lnTo>
                  <a:pt x="274" y="60"/>
                </a:lnTo>
                <a:lnTo>
                  <a:pt x="274" y="58"/>
                </a:lnTo>
                <a:lnTo>
                  <a:pt x="274" y="56"/>
                </a:lnTo>
                <a:lnTo>
                  <a:pt x="272" y="45"/>
                </a:lnTo>
                <a:lnTo>
                  <a:pt x="272" y="43"/>
                </a:lnTo>
                <a:lnTo>
                  <a:pt x="274" y="41"/>
                </a:lnTo>
                <a:lnTo>
                  <a:pt x="281" y="41"/>
                </a:lnTo>
                <a:lnTo>
                  <a:pt x="285" y="41"/>
                </a:lnTo>
                <a:lnTo>
                  <a:pt x="289" y="43"/>
                </a:lnTo>
                <a:lnTo>
                  <a:pt x="294" y="43"/>
                </a:lnTo>
                <a:lnTo>
                  <a:pt x="296" y="41"/>
                </a:lnTo>
                <a:lnTo>
                  <a:pt x="300" y="39"/>
                </a:lnTo>
                <a:lnTo>
                  <a:pt x="302" y="37"/>
                </a:lnTo>
                <a:lnTo>
                  <a:pt x="305" y="34"/>
                </a:lnTo>
                <a:lnTo>
                  <a:pt x="317" y="32"/>
                </a:lnTo>
                <a:lnTo>
                  <a:pt x="315" y="28"/>
                </a:lnTo>
                <a:lnTo>
                  <a:pt x="317" y="24"/>
                </a:lnTo>
                <a:lnTo>
                  <a:pt x="317" y="22"/>
                </a:lnTo>
                <a:lnTo>
                  <a:pt x="313" y="22"/>
                </a:lnTo>
                <a:lnTo>
                  <a:pt x="313" y="19"/>
                </a:lnTo>
                <a:lnTo>
                  <a:pt x="313" y="17"/>
                </a:lnTo>
                <a:lnTo>
                  <a:pt x="315" y="13"/>
                </a:lnTo>
                <a:lnTo>
                  <a:pt x="313" y="11"/>
                </a:lnTo>
                <a:lnTo>
                  <a:pt x="311" y="11"/>
                </a:lnTo>
                <a:lnTo>
                  <a:pt x="311" y="9"/>
                </a:lnTo>
                <a:lnTo>
                  <a:pt x="311" y="6"/>
                </a:lnTo>
                <a:lnTo>
                  <a:pt x="313" y="4"/>
                </a:lnTo>
                <a:lnTo>
                  <a:pt x="315" y="4"/>
                </a:lnTo>
                <a:lnTo>
                  <a:pt x="315" y="2"/>
                </a:lnTo>
                <a:lnTo>
                  <a:pt x="317" y="0"/>
                </a:lnTo>
                <a:lnTo>
                  <a:pt x="326" y="4"/>
                </a:lnTo>
                <a:lnTo>
                  <a:pt x="328" y="4"/>
                </a:lnTo>
                <a:lnTo>
                  <a:pt x="330" y="4"/>
                </a:lnTo>
                <a:lnTo>
                  <a:pt x="335" y="2"/>
                </a:lnTo>
                <a:lnTo>
                  <a:pt x="337" y="0"/>
                </a:lnTo>
                <a:lnTo>
                  <a:pt x="339" y="0"/>
                </a:lnTo>
                <a:lnTo>
                  <a:pt x="343" y="2"/>
                </a:lnTo>
                <a:lnTo>
                  <a:pt x="343" y="4"/>
                </a:lnTo>
                <a:lnTo>
                  <a:pt x="346" y="6"/>
                </a:lnTo>
                <a:lnTo>
                  <a:pt x="348" y="4"/>
                </a:lnTo>
                <a:lnTo>
                  <a:pt x="350" y="6"/>
                </a:lnTo>
                <a:lnTo>
                  <a:pt x="352" y="13"/>
                </a:lnTo>
                <a:lnTo>
                  <a:pt x="354" y="17"/>
                </a:lnTo>
                <a:lnTo>
                  <a:pt x="356" y="19"/>
                </a:lnTo>
                <a:lnTo>
                  <a:pt x="361" y="24"/>
                </a:lnTo>
                <a:lnTo>
                  <a:pt x="363" y="26"/>
                </a:lnTo>
                <a:lnTo>
                  <a:pt x="369" y="28"/>
                </a:lnTo>
                <a:lnTo>
                  <a:pt x="371" y="28"/>
                </a:lnTo>
                <a:lnTo>
                  <a:pt x="380" y="26"/>
                </a:lnTo>
                <a:lnTo>
                  <a:pt x="382" y="26"/>
                </a:lnTo>
                <a:lnTo>
                  <a:pt x="387" y="28"/>
                </a:lnTo>
                <a:lnTo>
                  <a:pt x="389" y="32"/>
                </a:lnTo>
                <a:lnTo>
                  <a:pt x="393" y="32"/>
                </a:lnTo>
                <a:lnTo>
                  <a:pt x="395" y="37"/>
                </a:lnTo>
                <a:lnTo>
                  <a:pt x="400" y="37"/>
                </a:lnTo>
                <a:lnTo>
                  <a:pt x="402" y="39"/>
                </a:lnTo>
                <a:lnTo>
                  <a:pt x="402" y="37"/>
                </a:lnTo>
                <a:lnTo>
                  <a:pt x="404" y="37"/>
                </a:lnTo>
                <a:lnTo>
                  <a:pt x="404" y="34"/>
                </a:lnTo>
                <a:lnTo>
                  <a:pt x="404" y="32"/>
                </a:lnTo>
                <a:lnTo>
                  <a:pt x="412" y="28"/>
                </a:lnTo>
                <a:lnTo>
                  <a:pt x="417" y="32"/>
                </a:lnTo>
                <a:lnTo>
                  <a:pt x="421" y="32"/>
                </a:lnTo>
                <a:lnTo>
                  <a:pt x="428" y="34"/>
                </a:lnTo>
                <a:lnTo>
                  <a:pt x="428" y="37"/>
                </a:lnTo>
                <a:lnTo>
                  <a:pt x="430" y="37"/>
                </a:lnTo>
                <a:lnTo>
                  <a:pt x="430" y="34"/>
                </a:lnTo>
                <a:lnTo>
                  <a:pt x="432" y="34"/>
                </a:lnTo>
                <a:lnTo>
                  <a:pt x="436" y="34"/>
                </a:lnTo>
                <a:lnTo>
                  <a:pt x="438" y="34"/>
                </a:lnTo>
                <a:lnTo>
                  <a:pt x="443" y="28"/>
                </a:lnTo>
                <a:lnTo>
                  <a:pt x="445" y="26"/>
                </a:lnTo>
                <a:lnTo>
                  <a:pt x="447" y="24"/>
                </a:lnTo>
                <a:lnTo>
                  <a:pt x="451" y="22"/>
                </a:lnTo>
                <a:lnTo>
                  <a:pt x="453" y="19"/>
                </a:lnTo>
                <a:lnTo>
                  <a:pt x="458" y="19"/>
                </a:lnTo>
                <a:lnTo>
                  <a:pt x="458" y="22"/>
                </a:lnTo>
                <a:lnTo>
                  <a:pt x="458" y="24"/>
                </a:lnTo>
                <a:lnTo>
                  <a:pt x="460" y="26"/>
                </a:lnTo>
                <a:lnTo>
                  <a:pt x="462" y="32"/>
                </a:lnTo>
                <a:lnTo>
                  <a:pt x="464" y="34"/>
                </a:lnTo>
                <a:lnTo>
                  <a:pt x="464" y="37"/>
                </a:lnTo>
                <a:lnTo>
                  <a:pt x="469" y="34"/>
                </a:lnTo>
                <a:lnTo>
                  <a:pt x="475" y="37"/>
                </a:lnTo>
                <a:lnTo>
                  <a:pt x="475" y="39"/>
                </a:lnTo>
                <a:lnTo>
                  <a:pt x="479" y="41"/>
                </a:lnTo>
                <a:lnTo>
                  <a:pt x="482" y="45"/>
                </a:lnTo>
                <a:lnTo>
                  <a:pt x="482" y="52"/>
                </a:lnTo>
                <a:lnTo>
                  <a:pt x="484" y="56"/>
                </a:lnTo>
                <a:lnTo>
                  <a:pt x="486" y="60"/>
                </a:lnTo>
                <a:lnTo>
                  <a:pt x="484" y="60"/>
                </a:lnTo>
                <a:lnTo>
                  <a:pt x="482" y="63"/>
                </a:lnTo>
                <a:lnTo>
                  <a:pt x="484" y="67"/>
                </a:lnTo>
                <a:lnTo>
                  <a:pt x="484" y="69"/>
                </a:lnTo>
                <a:lnTo>
                  <a:pt x="482" y="69"/>
                </a:lnTo>
                <a:lnTo>
                  <a:pt x="482" y="71"/>
                </a:lnTo>
                <a:lnTo>
                  <a:pt x="486" y="73"/>
                </a:lnTo>
                <a:lnTo>
                  <a:pt x="492" y="84"/>
                </a:lnTo>
                <a:lnTo>
                  <a:pt x="497" y="86"/>
                </a:lnTo>
                <a:lnTo>
                  <a:pt x="497" y="88"/>
                </a:lnTo>
                <a:lnTo>
                  <a:pt x="495" y="91"/>
                </a:lnTo>
                <a:lnTo>
                  <a:pt x="499" y="93"/>
                </a:lnTo>
                <a:lnTo>
                  <a:pt x="501" y="93"/>
                </a:lnTo>
                <a:lnTo>
                  <a:pt x="503" y="101"/>
                </a:lnTo>
                <a:lnTo>
                  <a:pt x="510" y="101"/>
                </a:lnTo>
                <a:lnTo>
                  <a:pt x="512" y="104"/>
                </a:lnTo>
                <a:lnTo>
                  <a:pt x="510" y="106"/>
                </a:lnTo>
                <a:lnTo>
                  <a:pt x="514" y="110"/>
                </a:lnTo>
                <a:lnTo>
                  <a:pt x="518" y="114"/>
                </a:lnTo>
                <a:lnTo>
                  <a:pt x="523" y="116"/>
                </a:lnTo>
                <a:lnTo>
                  <a:pt x="523" y="114"/>
                </a:lnTo>
                <a:lnTo>
                  <a:pt x="525" y="119"/>
                </a:lnTo>
                <a:lnTo>
                  <a:pt x="527" y="119"/>
                </a:lnTo>
                <a:lnTo>
                  <a:pt x="527" y="121"/>
                </a:lnTo>
                <a:lnTo>
                  <a:pt x="531" y="121"/>
                </a:lnTo>
                <a:lnTo>
                  <a:pt x="533" y="123"/>
                </a:lnTo>
                <a:lnTo>
                  <a:pt x="533" y="121"/>
                </a:lnTo>
                <a:lnTo>
                  <a:pt x="540" y="121"/>
                </a:lnTo>
                <a:lnTo>
                  <a:pt x="518" y="145"/>
                </a:lnTo>
                <a:lnTo>
                  <a:pt x="514" y="151"/>
                </a:lnTo>
                <a:lnTo>
                  <a:pt x="512" y="151"/>
                </a:lnTo>
                <a:lnTo>
                  <a:pt x="501" y="158"/>
                </a:lnTo>
                <a:lnTo>
                  <a:pt x="499" y="158"/>
                </a:lnTo>
                <a:lnTo>
                  <a:pt x="490" y="168"/>
                </a:lnTo>
                <a:lnTo>
                  <a:pt x="490" y="170"/>
                </a:lnTo>
                <a:lnTo>
                  <a:pt x="492" y="170"/>
                </a:lnTo>
                <a:lnTo>
                  <a:pt x="492" y="173"/>
                </a:lnTo>
                <a:lnTo>
                  <a:pt x="492" y="175"/>
                </a:lnTo>
                <a:lnTo>
                  <a:pt x="484" y="177"/>
                </a:lnTo>
                <a:lnTo>
                  <a:pt x="482" y="183"/>
                </a:lnTo>
                <a:lnTo>
                  <a:pt x="482" y="186"/>
                </a:lnTo>
                <a:lnTo>
                  <a:pt x="482" y="190"/>
                </a:lnTo>
                <a:lnTo>
                  <a:pt x="477" y="192"/>
                </a:lnTo>
                <a:lnTo>
                  <a:pt x="469" y="196"/>
                </a:lnTo>
                <a:lnTo>
                  <a:pt x="466" y="196"/>
                </a:lnTo>
                <a:lnTo>
                  <a:pt x="464" y="203"/>
                </a:lnTo>
                <a:lnTo>
                  <a:pt x="464" y="205"/>
                </a:lnTo>
                <a:lnTo>
                  <a:pt x="464" y="207"/>
                </a:lnTo>
                <a:lnTo>
                  <a:pt x="460" y="207"/>
                </a:lnTo>
                <a:lnTo>
                  <a:pt x="451" y="209"/>
                </a:lnTo>
                <a:lnTo>
                  <a:pt x="447" y="214"/>
                </a:lnTo>
                <a:lnTo>
                  <a:pt x="445" y="216"/>
                </a:lnTo>
                <a:lnTo>
                  <a:pt x="443" y="218"/>
                </a:lnTo>
                <a:lnTo>
                  <a:pt x="436" y="218"/>
                </a:lnTo>
                <a:lnTo>
                  <a:pt x="428" y="222"/>
                </a:lnTo>
                <a:lnTo>
                  <a:pt x="428" y="224"/>
                </a:lnTo>
                <a:lnTo>
                  <a:pt x="425" y="229"/>
                </a:lnTo>
                <a:lnTo>
                  <a:pt x="408" y="229"/>
                </a:lnTo>
                <a:lnTo>
                  <a:pt x="402" y="229"/>
                </a:lnTo>
                <a:lnTo>
                  <a:pt x="382" y="231"/>
                </a:lnTo>
                <a:lnTo>
                  <a:pt x="346" y="235"/>
                </a:lnTo>
                <a:lnTo>
                  <a:pt x="343" y="235"/>
                </a:lnTo>
                <a:lnTo>
                  <a:pt x="328" y="235"/>
                </a:lnTo>
                <a:lnTo>
                  <a:pt x="307" y="237"/>
                </a:lnTo>
                <a:lnTo>
                  <a:pt x="305" y="237"/>
                </a:lnTo>
                <a:lnTo>
                  <a:pt x="296" y="240"/>
                </a:lnTo>
                <a:lnTo>
                  <a:pt x="270" y="240"/>
                </a:lnTo>
                <a:lnTo>
                  <a:pt x="255" y="242"/>
                </a:lnTo>
                <a:lnTo>
                  <a:pt x="238" y="242"/>
                </a:lnTo>
                <a:lnTo>
                  <a:pt x="222" y="242"/>
                </a:lnTo>
                <a:lnTo>
                  <a:pt x="216" y="246"/>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46" name="Freeform 79">
            <a:extLst>
              <a:ext uri="{FF2B5EF4-FFF2-40B4-BE49-F238E27FC236}">
                <a16:creationId xmlns:a16="http://schemas.microsoft.com/office/drawing/2014/main" id="{A5342C59-9391-4FFD-A0A6-B2F83AA5841A}"/>
              </a:ext>
            </a:extLst>
          </p:cNvPr>
          <p:cNvSpPr>
            <a:spLocks/>
          </p:cNvSpPr>
          <p:nvPr>
            <p:custDataLst>
              <p:tags r:id="rId70"/>
            </p:custDataLst>
          </p:nvPr>
        </p:nvSpPr>
        <p:spPr bwMode="auto">
          <a:xfrm>
            <a:off x="7078370" y="4323559"/>
            <a:ext cx="13152" cy="12971"/>
          </a:xfrm>
          <a:custGeom>
            <a:avLst/>
            <a:gdLst>
              <a:gd name="T0" fmla="*/ 2147483647 w 7"/>
              <a:gd name="T1" fmla="*/ 2147483647 h 6"/>
              <a:gd name="T2" fmla="*/ 0 w 7"/>
              <a:gd name="T3" fmla="*/ 2147483647 h 6"/>
              <a:gd name="T4" fmla="*/ 0 w 7"/>
              <a:gd name="T5" fmla="*/ 0 h 6"/>
              <a:gd name="T6" fmla="*/ 2147483647 w 7"/>
              <a:gd name="T7" fmla="*/ 0 h 6"/>
              <a:gd name="T8" fmla="*/ 2147483647 w 7"/>
              <a:gd name="T9" fmla="*/ 0 h 6"/>
              <a:gd name="T10" fmla="*/ 2147483647 w 7"/>
              <a:gd name="T11" fmla="*/ 2147483647 h 6"/>
              <a:gd name="T12" fmla="*/ 2147483647 w 7"/>
              <a:gd name="T13" fmla="*/ 2147483647 h 6"/>
              <a:gd name="T14" fmla="*/ 2147483647 w 7"/>
              <a:gd name="T15" fmla="*/ 2147483647 h 6"/>
              <a:gd name="T16" fmla="*/ 2147483647 w 7"/>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6"/>
              <a:gd name="T29" fmla="*/ 7 w 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6">
                <a:moveTo>
                  <a:pt x="2" y="6"/>
                </a:moveTo>
                <a:lnTo>
                  <a:pt x="0" y="2"/>
                </a:lnTo>
                <a:lnTo>
                  <a:pt x="0" y="0"/>
                </a:lnTo>
                <a:lnTo>
                  <a:pt x="2" y="0"/>
                </a:lnTo>
                <a:lnTo>
                  <a:pt x="5" y="0"/>
                </a:lnTo>
                <a:lnTo>
                  <a:pt x="7" y="2"/>
                </a:lnTo>
                <a:lnTo>
                  <a:pt x="5" y="6"/>
                </a:lnTo>
                <a:lnTo>
                  <a:pt x="7" y="6"/>
                </a:lnTo>
                <a:lnTo>
                  <a:pt x="2" y="6"/>
                </a:lnTo>
              </a:path>
            </a:pathLst>
          </a:custGeom>
          <a:noFill/>
          <a:ln w="6350">
            <a:solidFill>
              <a:srgbClr val="404040"/>
            </a:solidFill>
            <a:round/>
            <a:headEnd/>
            <a:tailEnd/>
          </a:ln>
        </p:spPr>
        <p:txBody>
          <a:bodyPr/>
          <a:lstStyle/>
          <a:p>
            <a:endParaRPr lang="en-US" dirty="0">
              <a:solidFill>
                <a:prstClr val="black"/>
              </a:solidFill>
            </a:endParaRPr>
          </a:p>
        </p:txBody>
      </p:sp>
      <p:sp>
        <p:nvSpPr>
          <p:cNvPr id="247" name="Freeform 80">
            <a:extLst>
              <a:ext uri="{FF2B5EF4-FFF2-40B4-BE49-F238E27FC236}">
                <a16:creationId xmlns:a16="http://schemas.microsoft.com/office/drawing/2014/main" id="{F670A04C-FF1B-4933-B80C-5DFF135B00B9}"/>
              </a:ext>
            </a:extLst>
          </p:cNvPr>
          <p:cNvSpPr>
            <a:spLocks/>
          </p:cNvSpPr>
          <p:nvPr>
            <p:custDataLst>
              <p:tags r:id="rId71"/>
            </p:custDataLst>
          </p:nvPr>
        </p:nvSpPr>
        <p:spPr bwMode="auto">
          <a:xfrm>
            <a:off x="5199828" y="3638299"/>
            <a:ext cx="1113536" cy="633379"/>
          </a:xfrm>
          <a:custGeom>
            <a:avLst/>
            <a:gdLst>
              <a:gd name="T0" fmla="*/ 2147483647 w 550"/>
              <a:gd name="T1" fmla="*/ 2147483647 h 293"/>
              <a:gd name="T2" fmla="*/ 2147483647 w 550"/>
              <a:gd name="T3" fmla="*/ 2147483647 h 293"/>
              <a:gd name="T4" fmla="*/ 2147483647 w 550"/>
              <a:gd name="T5" fmla="*/ 2147483647 h 293"/>
              <a:gd name="T6" fmla="*/ 2147483647 w 550"/>
              <a:gd name="T7" fmla="*/ 2147483647 h 293"/>
              <a:gd name="T8" fmla="*/ 2147483647 w 550"/>
              <a:gd name="T9" fmla="*/ 2147483647 h 293"/>
              <a:gd name="T10" fmla="*/ 2147483647 w 550"/>
              <a:gd name="T11" fmla="*/ 2147483647 h 293"/>
              <a:gd name="T12" fmla="*/ 2147483647 w 550"/>
              <a:gd name="T13" fmla="*/ 2147483647 h 293"/>
              <a:gd name="T14" fmla="*/ 2147483647 w 550"/>
              <a:gd name="T15" fmla="*/ 2147483647 h 293"/>
              <a:gd name="T16" fmla="*/ 2147483647 w 550"/>
              <a:gd name="T17" fmla="*/ 2147483647 h 293"/>
              <a:gd name="T18" fmla="*/ 2147483647 w 550"/>
              <a:gd name="T19" fmla="*/ 2147483647 h 293"/>
              <a:gd name="T20" fmla="*/ 2147483647 w 550"/>
              <a:gd name="T21" fmla="*/ 2147483647 h 293"/>
              <a:gd name="T22" fmla="*/ 0 w 550"/>
              <a:gd name="T23" fmla="*/ 2147483647 h 293"/>
              <a:gd name="T24" fmla="*/ 2147483647 w 550"/>
              <a:gd name="T25" fmla="*/ 2147483647 h 293"/>
              <a:gd name="T26" fmla="*/ 2147483647 w 550"/>
              <a:gd name="T27" fmla="*/ 2147483647 h 293"/>
              <a:gd name="T28" fmla="*/ 2147483647 w 550"/>
              <a:gd name="T29" fmla="*/ 2147483647 h 293"/>
              <a:gd name="T30" fmla="*/ 2147483647 w 550"/>
              <a:gd name="T31" fmla="*/ 2147483647 h 293"/>
              <a:gd name="T32" fmla="*/ 2147483647 w 550"/>
              <a:gd name="T33" fmla="*/ 0 h 293"/>
              <a:gd name="T34" fmla="*/ 2147483647 w 550"/>
              <a:gd name="T35" fmla="*/ 2147483647 h 293"/>
              <a:gd name="T36" fmla="*/ 2147483647 w 550"/>
              <a:gd name="T37" fmla="*/ 2147483647 h 293"/>
              <a:gd name="T38" fmla="*/ 2147483647 w 550"/>
              <a:gd name="T39" fmla="*/ 2147483647 h 293"/>
              <a:gd name="T40" fmla="*/ 2147483647 w 550"/>
              <a:gd name="T41" fmla="*/ 2147483647 h 293"/>
              <a:gd name="T42" fmla="*/ 2147483647 w 550"/>
              <a:gd name="T43" fmla="*/ 2147483647 h 293"/>
              <a:gd name="T44" fmla="*/ 2147483647 w 550"/>
              <a:gd name="T45" fmla="*/ 2147483647 h 293"/>
              <a:gd name="T46" fmla="*/ 2147483647 w 550"/>
              <a:gd name="T47" fmla="*/ 2147483647 h 293"/>
              <a:gd name="T48" fmla="*/ 2147483647 w 550"/>
              <a:gd name="T49" fmla="*/ 2147483647 h 293"/>
              <a:gd name="T50" fmla="*/ 2147483647 w 550"/>
              <a:gd name="T51" fmla="*/ 2147483647 h 293"/>
              <a:gd name="T52" fmla="*/ 2147483647 w 550"/>
              <a:gd name="T53" fmla="*/ 2147483647 h 293"/>
              <a:gd name="T54" fmla="*/ 2147483647 w 550"/>
              <a:gd name="T55" fmla="*/ 2147483647 h 293"/>
              <a:gd name="T56" fmla="*/ 2147483647 w 550"/>
              <a:gd name="T57" fmla="*/ 2147483647 h 293"/>
              <a:gd name="T58" fmla="*/ 2147483647 w 550"/>
              <a:gd name="T59" fmla="*/ 2147483647 h 293"/>
              <a:gd name="T60" fmla="*/ 2147483647 w 550"/>
              <a:gd name="T61" fmla="*/ 2147483647 h 293"/>
              <a:gd name="T62" fmla="*/ 2147483647 w 550"/>
              <a:gd name="T63" fmla="*/ 2147483647 h 293"/>
              <a:gd name="T64" fmla="*/ 2147483647 w 550"/>
              <a:gd name="T65" fmla="*/ 2147483647 h 293"/>
              <a:gd name="T66" fmla="*/ 2147483647 w 550"/>
              <a:gd name="T67" fmla="*/ 2147483647 h 293"/>
              <a:gd name="T68" fmla="*/ 2147483647 w 550"/>
              <a:gd name="T69" fmla="*/ 2147483647 h 293"/>
              <a:gd name="T70" fmla="*/ 2147483647 w 550"/>
              <a:gd name="T71" fmla="*/ 2147483647 h 293"/>
              <a:gd name="T72" fmla="*/ 2147483647 w 550"/>
              <a:gd name="T73" fmla="*/ 2147483647 h 293"/>
              <a:gd name="T74" fmla="*/ 2147483647 w 550"/>
              <a:gd name="T75" fmla="*/ 2147483647 h 293"/>
              <a:gd name="T76" fmla="*/ 2147483647 w 550"/>
              <a:gd name="T77" fmla="*/ 2147483647 h 293"/>
              <a:gd name="T78" fmla="*/ 2147483647 w 550"/>
              <a:gd name="T79" fmla="*/ 2147483647 h 293"/>
              <a:gd name="T80" fmla="*/ 2147483647 w 550"/>
              <a:gd name="T81" fmla="*/ 2147483647 h 293"/>
              <a:gd name="T82" fmla="*/ 2147483647 w 550"/>
              <a:gd name="T83" fmla="*/ 2147483647 h 293"/>
              <a:gd name="T84" fmla="*/ 2147483647 w 550"/>
              <a:gd name="T85" fmla="*/ 2147483647 h 293"/>
              <a:gd name="T86" fmla="*/ 2147483647 w 550"/>
              <a:gd name="T87" fmla="*/ 2147483647 h 293"/>
              <a:gd name="T88" fmla="*/ 2147483647 w 550"/>
              <a:gd name="T89" fmla="*/ 2147483647 h 293"/>
              <a:gd name="T90" fmla="*/ 2147483647 w 550"/>
              <a:gd name="T91" fmla="*/ 2147483647 h 293"/>
              <a:gd name="T92" fmla="*/ 2147483647 w 550"/>
              <a:gd name="T93" fmla="*/ 2147483647 h 293"/>
              <a:gd name="T94" fmla="*/ 2147483647 w 550"/>
              <a:gd name="T95" fmla="*/ 2147483647 h 293"/>
              <a:gd name="T96" fmla="*/ 2147483647 w 550"/>
              <a:gd name="T97" fmla="*/ 2147483647 h 293"/>
              <a:gd name="T98" fmla="*/ 2147483647 w 550"/>
              <a:gd name="T99" fmla="*/ 2147483647 h 293"/>
              <a:gd name="T100" fmla="*/ 2147483647 w 550"/>
              <a:gd name="T101" fmla="*/ 2147483647 h 293"/>
              <a:gd name="T102" fmla="*/ 2147483647 w 550"/>
              <a:gd name="T103" fmla="*/ 2147483647 h 293"/>
              <a:gd name="T104" fmla="*/ 2147483647 w 550"/>
              <a:gd name="T105" fmla="*/ 2147483647 h 293"/>
              <a:gd name="T106" fmla="*/ 2147483647 w 550"/>
              <a:gd name="T107" fmla="*/ 2147483647 h 293"/>
              <a:gd name="T108" fmla="*/ 2147483647 w 550"/>
              <a:gd name="T109" fmla="*/ 2147483647 h 29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0"/>
              <a:gd name="T166" fmla="*/ 0 h 293"/>
              <a:gd name="T167" fmla="*/ 550 w 550"/>
              <a:gd name="T168" fmla="*/ 293 h 29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0" h="293">
                <a:moveTo>
                  <a:pt x="516" y="293"/>
                </a:moveTo>
                <a:lnTo>
                  <a:pt x="490" y="293"/>
                </a:lnTo>
                <a:lnTo>
                  <a:pt x="483" y="293"/>
                </a:lnTo>
                <a:lnTo>
                  <a:pt x="464" y="293"/>
                </a:lnTo>
                <a:lnTo>
                  <a:pt x="451" y="293"/>
                </a:lnTo>
                <a:lnTo>
                  <a:pt x="449" y="293"/>
                </a:lnTo>
                <a:lnTo>
                  <a:pt x="408" y="293"/>
                </a:lnTo>
                <a:lnTo>
                  <a:pt x="391" y="293"/>
                </a:lnTo>
                <a:lnTo>
                  <a:pt x="363" y="293"/>
                </a:lnTo>
                <a:lnTo>
                  <a:pt x="339" y="293"/>
                </a:lnTo>
                <a:lnTo>
                  <a:pt x="313" y="291"/>
                </a:lnTo>
                <a:lnTo>
                  <a:pt x="291" y="291"/>
                </a:lnTo>
                <a:lnTo>
                  <a:pt x="274" y="291"/>
                </a:lnTo>
                <a:lnTo>
                  <a:pt x="259" y="291"/>
                </a:lnTo>
                <a:lnTo>
                  <a:pt x="224" y="291"/>
                </a:lnTo>
                <a:lnTo>
                  <a:pt x="192" y="287"/>
                </a:lnTo>
                <a:lnTo>
                  <a:pt x="186" y="287"/>
                </a:lnTo>
                <a:lnTo>
                  <a:pt x="149" y="287"/>
                </a:lnTo>
                <a:lnTo>
                  <a:pt x="144" y="285"/>
                </a:lnTo>
                <a:lnTo>
                  <a:pt x="103" y="285"/>
                </a:lnTo>
                <a:lnTo>
                  <a:pt x="80" y="282"/>
                </a:lnTo>
                <a:lnTo>
                  <a:pt x="71" y="282"/>
                </a:lnTo>
                <a:lnTo>
                  <a:pt x="34" y="280"/>
                </a:lnTo>
                <a:lnTo>
                  <a:pt x="0" y="280"/>
                </a:lnTo>
                <a:lnTo>
                  <a:pt x="0" y="244"/>
                </a:lnTo>
                <a:lnTo>
                  <a:pt x="2" y="218"/>
                </a:lnTo>
                <a:lnTo>
                  <a:pt x="2" y="211"/>
                </a:lnTo>
                <a:lnTo>
                  <a:pt x="6" y="161"/>
                </a:lnTo>
                <a:lnTo>
                  <a:pt x="8" y="129"/>
                </a:lnTo>
                <a:lnTo>
                  <a:pt x="8" y="120"/>
                </a:lnTo>
                <a:lnTo>
                  <a:pt x="11" y="88"/>
                </a:lnTo>
                <a:lnTo>
                  <a:pt x="11" y="79"/>
                </a:lnTo>
                <a:lnTo>
                  <a:pt x="13" y="38"/>
                </a:lnTo>
                <a:lnTo>
                  <a:pt x="15" y="0"/>
                </a:lnTo>
                <a:lnTo>
                  <a:pt x="62" y="2"/>
                </a:lnTo>
                <a:lnTo>
                  <a:pt x="67" y="2"/>
                </a:lnTo>
                <a:lnTo>
                  <a:pt x="110" y="4"/>
                </a:lnTo>
                <a:lnTo>
                  <a:pt x="149" y="4"/>
                </a:lnTo>
                <a:lnTo>
                  <a:pt x="149" y="6"/>
                </a:lnTo>
                <a:lnTo>
                  <a:pt x="190" y="6"/>
                </a:lnTo>
                <a:lnTo>
                  <a:pt x="222" y="8"/>
                </a:lnTo>
                <a:lnTo>
                  <a:pt x="229" y="8"/>
                </a:lnTo>
                <a:lnTo>
                  <a:pt x="255" y="8"/>
                </a:lnTo>
                <a:lnTo>
                  <a:pt x="270" y="8"/>
                </a:lnTo>
                <a:lnTo>
                  <a:pt x="287" y="8"/>
                </a:lnTo>
                <a:lnTo>
                  <a:pt x="309" y="13"/>
                </a:lnTo>
                <a:lnTo>
                  <a:pt x="319" y="13"/>
                </a:lnTo>
                <a:lnTo>
                  <a:pt x="352" y="13"/>
                </a:lnTo>
                <a:lnTo>
                  <a:pt x="384" y="13"/>
                </a:lnTo>
                <a:lnTo>
                  <a:pt x="391" y="13"/>
                </a:lnTo>
                <a:lnTo>
                  <a:pt x="417" y="13"/>
                </a:lnTo>
                <a:lnTo>
                  <a:pt x="432" y="13"/>
                </a:lnTo>
                <a:lnTo>
                  <a:pt x="449" y="13"/>
                </a:lnTo>
                <a:lnTo>
                  <a:pt x="464" y="13"/>
                </a:lnTo>
                <a:lnTo>
                  <a:pt x="496" y="13"/>
                </a:lnTo>
                <a:lnTo>
                  <a:pt x="499" y="13"/>
                </a:lnTo>
                <a:lnTo>
                  <a:pt x="503" y="17"/>
                </a:lnTo>
                <a:lnTo>
                  <a:pt x="505" y="19"/>
                </a:lnTo>
                <a:lnTo>
                  <a:pt x="507" y="21"/>
                </a:lnTo>
                <a:lnTo>
                  <a:pt x="514" y="23"/>
                </a:lnTo>
                <a:lnTo>
                  <a:pt x="516" y="23"/>
                </a:lnTo>
                <a:lnTo>
                  <a:pt x="518" y="21"/>
                </a:lnTo>
                <a:lnTo>
                  <a:pt x="520" y="21"/>
                </a:lnTo>
                <a:lnTo>
                  <a:pt x="522" y="21"/>
                </a:lnTo>
                <a:lnTo>
                  <a:pt x="522" y="25"/>
                </a:lnTo>
                <a:lnTo>
                  <a:pt x="525" y="25"/>
                </a:lnTo>
                <a:lnTo>
                  <a:pt x="529" y="30"/>
                </a:lnTo>
                <a:lnTo>
                  <a:pt x="525" y="32"/>
                </a:lnTo>
                <a:lnTo>
                  <a:pt x="522" y="32"/>
                </a:lnTo>
                <a:lnTo>
                  <a:pt x="525" y="34"/>
                </a:lnTo>
                <a:lnTo>
                  <a:pt x="529" y="34"/>
                </a:lnTo>
                <a:lnTo>
                  <a:pt x="529" y="36"/>
                </a:lnTo>
                <a:lnTo>
                  <a:pt x="525" y="36"/>
                </a:lnTo>
                <a:lnTo>
                  <a:pt x="522" y="36"/>
                </a:lnTo>
                <a:lnTo>
                  <a:pt x="520" y="41"/>
                </a:lnTo>
                <a:lnTo>
                  <a:pt x="518" y="45"/>
                </a:lnTo>
                <a:lnTo>
                  <a:pt x="516" y="47"/>
                </a:lnTo>
                <a:lnTo>
                  <a:pt x="516" y="51"/>
                </a:lnTo>
                <a:lnTo>
                  <a:pt x="509" y="54"/>
                </a:lnTo>
                <a:lnTo>
                  <a:pt x="514" y="56"/>
                </a:lnTo>
                <a:lnTo>
                  <a:pt x="516" y="58"/>
                </a:lnTo>
                <a:lnTo>
                  <a:pt x="516" y="62"/>
                </a:lnTo>
                <a:lnTo>
                  <a:pt x="520" y="64"/>
                </a:lnTo>
                <a:lnTo>
                  <a:pt x="522" y="67"/>
                </a:lnTo>
                <a:lnTo>
                  <a:pt x="525" y="69"/>
                </a:lnTo>
                <a:lnTo>
                  <a:pt x="529" y="69"/>
                </a:lnTo>
                <a:lnTo>
                  <a:pt x="525" y="73"/>
                </a:lnTo>
                <a:lnTo>
                  <a:pt x="529" y="79"/>
                </a:lnTo>
                <a:lnTo>
                  <a:pt x="533" y="82"/>
                </a:lnTo>
                <a:lnTo>
                  <a:pt x="533" y="86"/>
                </a:lnTo>
                <a:lnTo>
                  <a:pt x="535" y="86"/>
                </a:lnTo>
                <a:lnTo>
                  <a:pt x="540" y="88"/>
                </a:lnTo>
                <a:lnTo>
                  <a:pt x="542" y="88"/>
                </a:lnTo>
                <a:lnTo>
                  <a:pt x="546" y="90"/>
                </a:lnTo>
                <a:lnTo>
                  <a:pt x="548" y="90"/>
                </a:lnTo>
                <a:lnTo>
                  <a:pt x="548" y="95"/>
                </a:lnTo>
                <a:lnTo>
                  <a:pt x="548" y="101"/>
                </a:lnTo>
                <a:lnTo>
                  <a:pt x="548" y="120"/>
                </a:lnTo>
                <a:lnTo>
                  <a:pt x="548" y="129"/>
                </a:lnTo>
                <a:lnTo>
                  <a:pt x="548" y="153"/>
                </a:lnTo>
                <a:lnTo>
                  <a:pt x="548" y="161"/>
                </a:lnTo>
                <a:lnTo>
                  <a:pt x="548" y="194"/>
                </a:lnTo>
                <a:lnTo>
                  <a:pt x="548" y="196"/>
                </a:lnTo>
                <a:lnTo>
                  <a:pt x="550" y="228"/>
                </a:lnTo>
                <a:lnTo>
                  <a:pt x="550" y="231"/>
                </a:lnTo>
                <a:lnTo>
                  <a:pt x="550" y="259"/>
                </a:lnTo>
                <a:lnTo>
                  <a:pt x="550" y="261"/>
                </a:lnTo>
                <a:lnTo>
                  <a:pt x="550" y="285"/>
                </a:lnTo>
                <a:lnTo>
                  <a:pt x="550" y="293"/>
                </a:lnTo>
                <a:lnTo>
                  <a:pt x="520" y="293"/>
                </a:lnTo>
                <a:lnTo>
                  <a:pt x="516" y="293"/>
                </a:lnTo>
                <a:close/>
              </a:path>
            </a:pathLst>
          </a:custGeom>
          <a:noFill/>
          <a:ln w="9525">
            <a:noFill/>
            <a:round/>
            <a:headEnd/>
            <a:tailEnd/>
          </a:ln>
        </p:spPr>
        <p:txBody>
          <a:bodyPr/>
          <a:lstStyle/>
          <a:p>
            <a:endParaRPr lang="en-US" dirty="0">
              <a:solidFill>
                <a:prstClr val="black"/>
              </a:solidFill>
            </a:endParaRPr>
          </a:p>
        </p:txBody>
      </p:sp>
      <p:sp>
        <p:nvSpPr>
          <p:cNvPr id="248" name="Freeform 81">
            <a:extLst>
              <a:ext uri="{FF2B5EF4-FFF2-40B4-BE49-F238E27FC236}">
                <a16:creationId xmlns:a16="http://schemas.microsoft.com/office/drawing/2014/main" id="{7C4396C6-C419-46B8-8677-2B848285948A}"/>
              </a:ext>
            </a:extLst>
          </p:cNvPr>
          <p:cNvSpPr>
            <a:spLocks/>
          </p:cNvSpPr>
          <p:nvPr>
            <p:custDataLst>
              <p:tags r:id="rId72"/>
            </p:custDataLst>
          </p:nvPr>
        </p:nvSpPr>
        <p:spPr bwMode="auto">
          <a:xfrm>
            <a:off x="5199828" y="3638299"/>
            <a:ext cx="1113536" cy="633379"/>
          </a:xfrm>
          <a:custGeom>
            <a:avLst/>
            <a:gdLst>
              <a:gd name="T0" fmla="*/ 2147483647 w 550"/>
              <a:gd name="T1" fmla="*/ 2147483647 h 293"/>
              <a:gd name="T2" fmla="*/ 2147483647 w 550"/>
              <a:gd name="T3" fmla="*/ 2147483647 h 293"/>
              <a:gd name="T4" fmla="*/ 2147483647 w 550"/>
              <a:gd name="T5" fmla="*/ 2147483647 h 293"/>
              <a:gd name="T6" fmla="*/ 2147483647 w 550"/>
              <a:gd name="T7" fmla="*/ 2147483647 h 293"/>
              <a:gd name="T8" fmla="*/ 2147483647 w 550"/>
              <a:gd name="T9" fmla="*/ 2147483647 h 293"/>
              <a:gd name="T10" fmla="*/ 2147483647 w 550"/>
              <a:gd name="T11" fmla="*/ 2147483647 h 293"/>
              <a:gd name="T12" fmla="*/ 2147483647 w 550"/>
              <a:gd name="T13" fmla="*/ 2147483647 h 293"/>
              <a:gd name="T14" fmla="*/ 2147483647 w 550"/>
              <a:gd name="T15" fmla="*/ 2147483647 h 293"/>
              <a:gd name="T16" fmla="*/ 2147483647 w 550"/>
              <a:gd name="T17" fmla="*/ 2147483647 h 293"/>
              <a:gd name="T18" fmla="*/ 2147483647 w 550"/>
              <a:gd name="T19" fmla="*/ 2147483647 h 293"/>
              <a:gd name="T20" fmla="*/ 2147483647 w 550"/>
              <a:gd name="T21" fmla="*/ 2147483647 h 293"/>
              <a:gd name="T22" fmla="*/ 0 w 550"/>
              <a:gd name="T23" fmla="*/ 2147483647 h 293"/>
              <a:gd name="T24" fmla="*/ 2147483647 w 550"/>
              <a:gd name="T25" fmla="*/ 2147483647 h 293"/>
              <a:gd name="T26" fmla="*/ 2147483647 w 550"/>
              <a:gd name="T27" fmla="*/ 2147483647 h 293"/>
              <a:gd name="T28" fmla="*/ 2147483647 w 550"/>
              <a:gd name="T29" fmla="*/ 2147483647 h 293"/>
              <a:gd name="T30" fmla="*/ 2147483647 w 550"/>
              <a:gd name="T31" fmla="*/ 2147483647 h 293"/>
              <a:gd name="T32" fmla="*/ 2147483647 w 550"/>
              <a:gd name="T33" fmla="*/ 0 h 293"/>
              <a:gd name="T34" fmla="*/ 2147483647 w 550"/>
              <a:gd name="T35" fmla="*/ 2147483647 h 293"/>
              <a:gd name="T36" fmla="*/ 2147483647 w 550"/>
              <a:gd name="T37" fmla="*/ 2147483647 h 293"/>
              <a:gd name="T38" fmla="*/ 2147483647 w 550"/>
              <a:gd name="T39" fmla="*/ 2147483647 h 293"/>
              <a:gd name="T40" fmla="*/ 2147483647 w 550"/>
              <a:gd name="T41" fmla="*/ 2147483647 h 293"/>
              <a:gd name="T42" fmla="*/ 2147483647 w 550"/>
              <a:gd name="T43" fmla="*/ 2147483647 h 293"/>
              <a:gd name="T44" fmla="*/ 2147483647 w 550"/>
              <a:gd name="T45" fmla="*/ 2147483647 h 293"/>
              <a:gd name="T46" fmla="*/ 2147483647 w 550"/>
              <a:gd name="T47" fmla="*/ 2147483647 h 293"/>
              <a:gd name="T48" fmla="*/ 2147483647 w 550"/>
              <a:gd name="T49" fmla="*/ 2147483647 h 293"/>
              <a:gd name="T50" fmla="*/ 2147483647 w 550"/>
              <a:gd name="T51" fmla="*/ 2147483647 h 293"/>
              <a:gd name="T52" fmla="*/ 2147483647 w 550"/>
              <a:gd name="T53" fmla="*/ 2147483647 h 293"/>
              <a:gd name="T54" fmla="*/ 2147483647 w 550"/>
              <a:gd name="T55" fmla="*/ 2147483647 h 293"/>
              <a:gd name="T56" fmla="*/ 2147483647 w 550"/>
              <a:gd name="T57" fmla="*/ 2147483647 h 293"/>
              <a:gd name="T58" fmla="*/ 2147483647 w 550"/>
              <a:gd name="T59" fmla="*/ 2147483647 h 293"/>
              <a:gd name="T60" fmla="*/ 2147483647 w 550"/>
              <a:gd name="T61" fmla="*/ 2147483647 h 293"/>
              <a:gd name="T62" fmla="*/ 2147483647 w 550"/>
              <a:gd name="T63" fmla="*/ 2147483647 h 293"/>
              <a:gd name="T64" fmla="*/ 2147483647 w 550"/>
              <a:gd name="T65" fmla="*/ 2147483647 h 293"/>
              <a:gd name="T66" fmla="*/ 2147483647 w 550"/>
              <a:gd name="T67" fmla="*/ 2147483647 h 293"/>
              <a:gd name="T68" fmla="*/ 2147483647 w 550"/>
              <a:gd name="T69" fmla="*/ 2147483647 h 293"/>
              <a:gd name="T70" fmla="*/ 2147483647 w 550"/>
              <a:gd name="T71" fmla="*/ 2147483647 h 293"/>
              <a:gd name="T72" fmla="*/ 2147483647 w 550"/>
              <a:gd name="T73" fmla="*/ 2147483647 h 293"/>
              <a:gd name="T74" fmla="*/ 2147483647 w 550"/>
              <a:gd name="T75" fmla="*/ 2147483647 h 293"/>
              <a:gd name="T76" fmla="*/ 2147483647 w 550"/>
              <a:gd name="T77" fmla="*/ 2147483647 h 293"/>
              <a:gd name="T78" fmla="*/ 2147483647 w 550"/>
              <a:gd name="T79" fmla="*/ 2147483647 h 293"/>
              <a:gd name="T80" fmla="*/ 2147483647 w 550"/>
              <a:gd name="T81" fmla="*/ 2147483647 h 293"/>
              <a:gd name="T82" fmla="*/ 2147483647 w 550"/>
              <a:gd name="T83" fmla="*/ 2147483647 h 293"/>
              <a:gd name="T84" fmla="*/ 2147483647 w 550"/>
              <a:gd name="T85" fmla="*/ 2147483647 h 293"/>
              <a:gd name="T86" fmla="*/ 2147483647 w 550"/>
              <a:gd name="T87" fmla="*/ 2147483647 h 293"/>
              <a:gd name="T88" fmla="*/ 2147483647 w 550"/>
              <a:gd name="T89" fmla="*/ 2147483647 h 293"/>
              <a:gd name="T90" fmla="*/ 2147483647 w 550"/>
              <a:gd name="T91" fmla="*/ 2147483647 h 293"/>
              <a:gd name="T92" fmla="*/ 2147483647 w 550"/>
              <a:gd name="T93" fmla="*/ 2147483647 h 293"/>
              <a:gd name="T94" fmla="*/ 2147483647 w 550"/>
              <a:gd name="T95" fmla="*/ 2147483647 h 293"/>
              <a:gd name="T96" fmla="*/ 2147483647 w 550"/>
              <a:gd name="T97" fmla="*/ 2147483647 h 293"/>
              <a:gd name="T98" fmla="*/ 2147483647 w 550"/>
              <a:gd name="T99" fmla="*/ 2147483647 h 293"/>
              <a:gd name="T100" fmla="*/ 2147483647 w 550"/>
              <a:gd name="T101" fmla="*/ 2147483647 h 293"/>
              <a:gd name="T102" fmla="*/ 2147483647 w 550"/>
              <a:gd name="T103" fmla="*/ 2147483647 h 293"/>
              <a:gd name="T104" fmla="*/ 2147483647 w 550"/>
              <a:gd name="T105" fmla="*/ 2147483647 h 293"/>
              <a:gd name="T106" fmla="*/ 2147483647 w 550"/>
              <a:gd name="T107" fmla="*/ 2147483647 h 293"/>
              <a:gd name="T108" fmla="*/ 2147483647 w 550"/>
              <a:gd name="T109" fmla="*/ 2147483647 h 29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0"/>
              <a:gd name="T166" fmla="*/ 0 h 293"/>
              <a:gd name="T167" fmla="*/ 550 w 550"/>
              <a:gd name="T168" fmla="*/ 293 h 29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0" h="293">
                <a:moveTo>
                  <a:pt x="516" y="293"/>
                </a:moveTo>
                <a:lnTo>
                  <a:pt x="490" y="293"/>
                </a:lnTo>
                <a:lnTo>
                  <a:pt x="483" y="293"/>
                </a:lnTo>
                <a:lnTo>
                  <a:pt x="464" y="293"/>
                </a:lnTo>
                <a:lnTo>
                  <a:pt x="451" y="293"/>
                </a:lnTo>
                <a:lnTo>
                  <a:pt x="449" y="293"/>
                </a:lnTo>
                <a:lnTo>
                  <a:pt x="408" y="293"/>
                </a:lnTo>
                <a:lnTo>
                  <a:pt x="391" y="293"/>
                </a:lnTo>
                <a:lnTo>
                  <a:pt x="363" y="293"/>
                </a:lnTo>
                <a:lnTo>
                  <a:pt x="339" y="293"/>
                </a:lnTo>
                <a:lnTo>
                  <a:pt x="313" y="291"/>
                </a:lnTo>
                <a:lnTo>
                  <a:pt x="291" y="291"/>
                </a:lnTo>
                <a:lnTo>
                  <a:pt x="274" y="291"/>
                </a:lnTo>
                <a:lnTo>
                  <a:pt x="259" y="291"/>
                </a:lnTo>
                <a:lnTo>
                  <a:pt x="224" y="291"/>
                </a:lnTo>
                <a:lnTo>
                  <a:pt x="192" y="287"/>
                </a:lnTo>
                <a:lnTo>
                  <a:pt x="186" y="287"/>
                </a:lnTo>
                <a:lnTo>
                  <a:pt x="149" y="287"/>
                </a:lnTo>
                <a:lnTo>
                  <a:pt x="144" y="285"/>
                </a:lnTo>
                <a:lnTo>
                  <a:pt x="103" y="285"/>
                </a:lnTo>
                <a:lnTo>
                  <a:pt x="80" y="282"/>
                </a:lnTo>
                <a:lnTo>
                  <a:pt x="71" y="282"/>
                </a:lnTo>
                <a:lnTo>
                  <a:pt x="34" y="280"/>
                </a:lnTo>
                <a:lnTo>
                  <a:pt x="0" y="280"/>
                </a:lnTo>
                <a:lnTo>
                  <a:pt x="0" y="244"/>
                </a:lnTo>
                <a:lnTo>
                  <a:pt x="2" y="218"/>
                </a:lnTo>
                <a:lnTo>
                  <a:pt x="2" y="211"/>
                </a:lnTo>
                <a:lnTo>
                  <a:pt x="6" y="161"/>
                </a:lnTo>
                <a:lnTo>
                  <a:pt x="8" y="129"/>
                </a:lnTo>
                <a:lnTo>
                  <a:pt x="8" y="120"/>
                </a:lnTo>
                <a:lnTo>
                  <a:pt x="11" y="88"/>
                </a:lnTo>
                <a:lnTo>
                  <a:pt x="11" y="79"/>
                </a:lnTo>
                <a:lnTo>
                  <a:pt x="13" y="38"/>
                </a:lnTo>
                <a:lnTo>
                  <a:pt x="15" y="0"/>
                </a:lnTo>
                <a:lnTo>
                  <a:pt x="62" y="2"/>
                </a:lnTo>
                <a:lnTo>
                  <a:pt x="67" y="2"/>
                </a:lnTo>
                <a:lnTo>
                  <a:pt x="110" y="4"/>
                </a:lnTo>
                <a:lnTo>
                  <a:pt x="149" y="4"/>
                </a:lnTo>
                <a:lnTo>
                  <a:pt x="149" y="6"/>
                </a:lnTo>
                <a:lnTo>
                  <a:pt x="190" y="6"/>
                </a:lnTo>
                <a:lnTo>
                  <a:pt x="222" y="8"/>
                </a:lnTo>
                <a:lnTo>
                  <a:pt x="229" y="8"/>
                </a:lnTo>
                <a:lnTo>
                  <a:pt x="255" y="8"/>
                </a:lnTo>
                <a:lnTo>
                  <a:pt x="270" y="8"/>
                </a:lnTo>
                <a:lnTo>
                  <a:pt x="287" y="8"/>
                </a:lnTo>
                <a:lnTo>
                  <a:pt x="309" y="13"/>
                </a:lnTo>
                <a:lnTo>
                  <a:pt x="319" y="13"/>
                </a:lnTo>
                <a:lnTo>
                  <a:pt x="352" y="13"/>
                </a:lnTo>
                <a:lnTo>
                  <a:pt x="384" y="13"/>
                </a:lnTo>
                <a:lnTo>
                  <a:pt x="391" y="13"/>
                </a:lnTo>
                <a:lnTo>
                  <a:pt x="417" y="13"/>
                </a:lnTo>
                <a:lnTo>
                  <a:pt x="432" y="13"/>
                </a:lnTo>
                <a:lnTo>
                  <a:pt x="449" y="13"/>
                </a:lnTo>
                <a:lnTo>
                  <a:pt x="464" y="13"/>
                </a:lnTo>
                <a:lnTo>
                  <a:pt x="496" y="13"/>
                </a:lnTo>
                <a:lnTo>
                  <a:pt x="499" y="13"/>
                </a:lnTo>
                <a:lnTo>
                  <a:pt x="503" y="17"/>
                </a:lnTo>
                <a:lnTo>
                  <a:pt x="505" y="19"/>
                </a:lnTo>
                <a:lnTo>
                  <a:pt x="507" y="21"/>
                </a:lnTo>
                <a:lnTo>
                  <a:pt x="514" y="23"/>
                </a:lnTo>
                <a:lnTo>
                  <a:pt x="516" y="23"/>
                </a:lnTo>
                <a:lnTo>
                  <a:pt x="518" y="21"/>
                </a:lnTo>
                <a:lnTo>
                  <a:pt x="520" y="21"/>
                </a:lnTo>
                <a:lnTo>
                  <a:pt x="522" y="21"/>
                </a:lnTo>
                <a:lnTo>
                  <a:pt x="522" y="25"/>
                </a:lnTo>
                <a:lnTo>
                  <a:pt x="525" y="25"/>
                </a:lnTo>
                <a:lnTo>
                  <a:pt x="529" y="30"/>
                </a:lnTo>
                <a:lnTo>
                  <a:pt x="525" y="32"/>
                </a:lnTo>
                <a:lnTo>
                  <a:pt x="522" y="32"/>
                </a:lnTo>
                <a:lnTo>
                  <a:pt x="525" y="34"/>
                </a:lnTo>
                <a:lnTo>
                  <a:pt x="529" y="34"/>
                </a:lnTo>
                <a:lnTo>
                  <a:pt x="529" y="36"/>
                </a:lnTo>
                <a:lnTo>
                  <a:pt x="525" y="36"/>
                </a:lnTo>
                <a:lnTo>
                  <a:pt x="522" y="36"/>
                </a:lnTo>
                <a:lnTo>
                  <a:pt x="520" y="41"/>
                </a:lnTo>
                <a:lnTo>
                  <a:pt x="518" y="45"/>
                </a:lnTo>
                <a:lnTo>
                  <a:pt x="516" y="47"/>
                </a:lnTo>
                <a:lnTo>
                  <a:pt x="516" y="51"/>
                </a:lnTo>
                <a:lnTo>
                  <a:pt x="509" y="54"/>
                </a:lnTo>
                <a:lnTo>
                  <a:pt x="514" y="56"/>
                </a:lnTo>
                <a:lnTo>
                  <a:pt x="516" y="58"/>
                </a:lnTo>
                <a:lnTo>
                  <a:pt x="516" y="62"/>
                </a:lnTo>
                <a:lnTo>
                  <a:pt x="520" y="64"/>
                </a:lnTo>
                <a:lnTo>
                  <a:pt x="522" y="67"/>
                </a:lnTo>
                <a:lnTo>
                  <a:pt x="525" y="69"/>
                </a:lnTo>
                <a:lnTo>
                  <a:pt x="529" y="69"/>
                </a:lnTo>
                <a:lnTo>
                  <a:pt x="525" y="73"/>
                </a:lnTo>
                <a:lnTo>
                  <a:pt x="529" y="79"/>
                </a:lnTo>
                <a:lnTo>
                  <a:pt x="533" y="82"/>
                </a:lnTo>
                <a:lnTo>
                  <a:pt x="533" y="86"/>
                </a:lnTo>
                <a:lnTo>
                  <a:pt x="535" y="86"/>
                </a:lnTo>
                <a:lnTo>
                  <a:pt x="540" y="88"/>
                </a:lnTo>
                <a:lnTo>
                  <a:pt x="542" y="88"/>
                </a:lnTo>
                <a:lnTo>
                  <a:pt x="546" y="90"/>
                </a:lnTo>
                <a:lnTo>
                  <a:pt x="548" y="90"/>
                </a:lnTo>
                <a:lnTo>
                  <a:pt x="548" y="95"/>
                </a:lnTo>
                <a:lnTo>
                  <a:pt x="548" y="101"/>
                </a:lnTo>
                <a:lnTo>
                  <a:pt x="548" y="120"/>
                </a:lnTo>
                <a:lnTo>
                  <a:pt x="548" y="129"/>
                </a:lnTo>
                <a:lnTo>
                  <a:pt x="548" y="153"/>
                </a:lnTo>
                <a:lnTo>
                  <a:pt x="548" y="161"/>
                </a:lnTo>
                <a:lnTo>
                  <a:pt x="548" y="194"/>
                </a:lnTo>
                <a:lnTo>
                  <a:pt x="548" y="196"/>
                </a:lnTo>
                <a:lnTo>
                  <a:pt x="550" y="228"/>
                </a:lnTo>
                <a:lnTo>
                  <a:pt x="550" y="231"/>
                </a:lnTo>
                <a:lnTo>
                  <a:pt x="550" y="259"/>
                </a:lnTo>
                <a:lnTo>
                  <a:pt x="550" y="261"/>
                </a:lnTo>
                <a:lnTo>
                  <a:pt x="550" y="285"/>
                </a:lnTo>
                <a:lnTo>
                  <a:pt x="550" y="293"/>
                </a:lnTo>
                <a:lnTo>
                  <a:pt x="520" y="293"/>
                </a:lnTo>
                <a:lnTo>
                  <a:pt x="516" y="293"/>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49" name="Freeform 82">
            <a:extLst>
              <a:ext uri="{FF2B5EF4-FFF2-40B4-BE49-F238E27FC236}">
                <a16:creationId xmlns:a16="http://schemas.microsoft.com/office/drawing/2014/main" id="{7851E5C6-CD38-4288-A86A-703A565E2E59}"/>
              </a:ext>
            </a:extLst>
          </p:cNvPr>
          <p:cNvSpPr>
            <a:spLocks noEditPoints="1"/>
          </p:cNvSpPr>
          <p:nvPr>
            <p:custDataLst>
              <p:tags r:id="rId73"/>
            </p:custDataLst>
          </p:nvPr>
        </p:nvSpPr>
        <p:spPr bwMode="auto">
          <a:xfrm>
            <a:off x="7966146" y="3515090"/>
            <a:ext cx="1168337" cy="704715"/>
          </a:xfrm>
          <a:custGeom>
            <a:avLst/>
            <a:gdLst>
              <a:gd name="T0" fmla="*/ 2147483647 w 578"/>
              <a:gd name="T1" fmla="*/ 2147483647 h 326"/>
              <a:gd name="T2" fmla="*/ 2147483647 w 578"/>
              <a:gd name="T3" fmla="*/ 2147483647 h 326"/>
              <a:gd name="T4" fmla="*/ 2147483647 w 578"/>
              <a:gd name="T5" fmla="*/ 2147483647 h 326"/>
              <a:gd name="T6" fmla="*/ 2147483647 w 578"/>
              <a:gd name="T7" fmla="*/ 2147483647 h 326"/>
              <a:gd name="T8" fmla="*/ 2147483647 w 578"/>
              <a:gd name="T9" fmla="*/ 2147483647 h 326"/>
              <a:gd name="T10" fmla="*/ 2147483647 w 578"/>
              <a:gd name="T11" fmla="*/ 2147483647 h 326"/>
              <a:gd name="T12" fmla="*/ 2147483647 w 578"/>
              <a:gd name="T13" fmla="*/ 2147483647 h 326"/>
              <a:gd name="T14" fmla="*/ 2147483647 w 578"/>
              <a:gd name="T15" fmla="*/ 2147483647 h 326"/>
              <a:gd name="T16" fmla="*/ 2147483647 w 578"/>
              <a:gd name="T17" fmla="*/ 2147483647 h 326"/>
              <a:gd name="T18" fmla="*/ 2147483647 w 578"/>
              <a:gd name="T19" fmla="*/ 2147483647 h 326"/>
              <a:gd name="T20" fmla="*/ 2147483647 w 578"/>
              <a:gd name="T21" fmla="*/ 2147483647 h 326"/>
              <a:gd name="T22" fmla="*/ 2147483647 w 578"/>
              <a:gd name="T23" fmla="*/ 2147483647 h 326"/>
              <a:gd name="T24" fmla="*/ 2147483647 w 578"/>
              <a:gd name="T25" fmla="*/ 2147483647 h 326"/>
              <a:gd name="T26" fmla="*/ 2147483647 w 578"/>
              <a:gd name="T27" fmla="*/ 2147483647 h 326"/>
              <a:gd name="T28" fmla="*/ 2147483647 w 578"/>
              <a:gd name="T29" fmla="*/ 2147483647 h 326"/>
              <a:gd name="T30" fmla="*/ 2147483647 w 578"/>
              <a:gd name="T31" fmla="*/ 2147483647 h 326"/>
              <a:gd name="T32" fmla="*/ 2147483647 w 578"/>
              <a:gd name="T33" fmla="*/ 2147483647 h 326"/>
              <a:gd name="T34" fmla="*/ 2147483647 w 578"/>
              <a:gd name="T35" fmla="*/ 2147483647 h 326"/>
              <a:gd name="T36" fmla="*/ 2147483647 w 578"/>
              <a:gd name="T37" fmla="*/ 2147483647 h 326"/>
              <a:gd name="T38" fmla="*/ 2147483647 w 578"/>
              <a:gd name="T39" fmla="*/ 2147483647 h 326"/>
              <a:gd name="T40" fmla="*/ 2147483647 w 578"/>
              <a:gd name="T41" fmla="*/ 2147483647 h 326"/>
              <a:gd name="T42" fmla="*/ 2147483647 w 578"/>
              <a:gd name="T43" fmla="*/ 2147483647 h 326"/>
              <a:gd name="T44" fmla="*/ 2147483647 w 578"/>
              <a:gd name="T45" fmla="*/ 2147483647 h 326"/>
              <a:gd name="T46" fmla="*/ 2147483647 w 578"/>
              <a:gd name="T47" fmla="*/ 2147483647 h 326"/>
              <a:gd name="T48" fmla="*/ 2147483647 w 578"/>
              <a:gd name="T49" fmla="*/ 2147483647 h 326"/>
              <a:gd name="T50" fmla="*/ 2147483647 w 578"/>
              <a:gd name="T51" fmla="*/ 2147483647 h 326"/>
              <a:gd name="T52" fmla="*/ 2147483647 w 578"/>
              <a:gd name="T53" fmla="*/ 2147483647 h 326"/>
              <a:gd name="T54" fmla="*/ 2147483647 w 578"/>
              <a:gd name="T55" fmla="*/ 2147483647 h 326"/>
              <a:gd name="T56" fmla="*/ 2147483647 w 578"/>
              <a:gd name="T57" fmla="*/ 0 h 326"/>
              <a:gd name="T58" fmla="*/ 2147483647 w 578"/>
              <a:gd name="T59" fmla="*/ 2147483647 h 326"/>
              <a:gd name="T60" fmla="*/ 2147483647 w 578"/>
              <a:gd name="T61" fmla="*/ 2147483647 h 326"/>
              <a:gd name="T62" fmla="*/ 2147483647 w 578"/>
              <a:gd name="T63" fmla="*/ 2147483647 h 326"/>
              <a:gd name="T64" fmla="*/ 2147483647 w 578"/>
              <a:gd name="T65" fmla="*/ 2147483647 h 326"/>
              <a:gd name="T66" fmla="*/ 2147483647 w 578"/>
              <a:gd name="T67" fmla="*/ 2147483647 h 326"/>
              <a:gd name="T68" fmla="*/ 2147483647 w 578"/>
              <a:gd name="T69" fmla="*/ 2147483647 h 326"/>
              <a:gd name="T70" fmla="*/ 2147483647 w 578"/>
              <a:gd name="T71" fmla="*/ 2147483647 h 326"/>
              <a:gd name="T72" fmla="*/ 2147483647 w 578"/>
              <a:gd name="T73" fmla="*/ 2147483647 h 326"/>
              <a:gd name="T74" fmla="*/ 2147483647 w 578"/>
              <a:gd name="T75" fmla="*/ 2147483647 h 326"/>
              <a:gd name="T76" fmla="*/ 2147483647 w 578"/>
              <a:gd name="T77" fmla="*/ 2147483647 h 326"/>
              <a:gd name="T78" fmla="*/ 2147483647 w 578"/>
              <a:gd name="T79" fmla="*/ 2147483647 h 326"/>
              <a:gd name="T80" fmla="*/ 2147483647 w 578"/>
              <a:gd name="T81" fmla="*/ 2147483647 h 326"/>
              <a:gd name="T82" fmla="*/ 2147483647 w 578"/>
              <a:gd name="T83" fmla="*/ 2147483647 h 326"/>
              <a:gd name="T84" fmla="*/ 2147483647 w 578"/>
              <a:gd name="T85" fmla="*/ 2147483647 h 326"/>
              <a:gd name="T86" fmla="*/ 2147483647 w 578"/>
              <a:gd name="T87" fmla="*/ 2147483647 h 326"/>
              <a:gd name="T88" fmla="*/ 2147483647 w 578"/>
              <a:gd name="T89" fmla="*/ 2147483647 h 326"/>
              <a:gd name="T90" fmla="*/ 2147483647 w 578"/>
              <a:gd name="T91" fmla="*/ 2147483647 h 326"/>
              <a:gd name="T92" fmla="*/ 2147483647 w 578"/>
              <a:gd name="T93" fmla="*/ 2147483647 h 326"/>
              <a:gd name="T94" fmla="*/ 2147483647 w 578"/>
              <a:gd name="T95" fmla="*/ 2147483647 h 326"/>
              <a:gd name="T96" fmla="*/ 2147483647 w 578"/>
              <a:gd name="T97" fmla="*/ 2147483647 h 326"/>
              <a:gd name="T98" fmla="*/ 2147483647 w 578"/>
              <a:gd name="T99" fmla="*/ 2147483647 h 326"/>
              <a:gd name="T100" fmla="*/ 2147483647 w 578"/>
              <a:gd name="T101" fmla="*/ 2147483647 h 326"/>
              <a:gd name="T102" fmla="*/ 2147483647 w 578"/>
              <a:gd name="T103" fmla="*/ 2147483647 h 326"/>
              <a:gd name="T104" fmla="*/ 2147483647 w 578"/>
              <a:gd name="T105" fmla="*/ 2147483647 h 326"/>
              <a:gd name="T106" fmla="*/ 2147483647 w 578"/>
              <a:gd name="T107" fmla="*/ 2147483647 h 326"/>
              <a:gd name="T108" fmla="*/ 2147483647 w 578"/>
              <a:gd name="T109" fmla="*/ 2147483647 h 326"/>
              <a:gd name="T110" fmla="*/ 2147483647 w 578"/>
              <a:gd name="T111" fmla="*/ 2147483647 h 326"/>
              <a:gd name="T112" fmla="*/ 2147483647 w 578"/>
              <a:gd name="T113" fmla="*/ 2147483647 h 326"/>
              <a:gd name="T114" fmla="*/ 2147483647 w 578"/>
              <a:gd name="T115" fmla="*/ 2147483647 h 326"/>
              <a:gd name="T116" fmla="*/ 2147483647 w 578"/>
              <a:gd name="T117" fmla="*/ 2147483647 h 326"/>
              <a:gd name="T118" fmla="*/ 2147483647 w 578"/>
              <a:gd name="T119" fmla="*/ 2147483647 h 326"/>
              <a:gd name="T120" fmla="*/ 2147483647 w 578"/>
              <a:gd name="T121" fmla="*/ 2147483647 h 326"/>
              <a:gd name="T122" fmla="*/ 2147483647 w 578"/>
              <a:gd name="T123" fmla="*/ 2147483647 h 3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8"/>
              <a:gd name="T187" fmla="*/ 0 h 326"/>
              <a:gd name="T188" fmla="*/ 578 w 578"/>
              <a:gd name="T189" fmla="*/ 326 h 3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8" h="326">
                <a:moveTo>
                  <a:pt x="332" y="279"/>
                </a:moveTo>
                <a:lnTo>
                  <a:pt x="328" y="279"/>
                </a:lnTo>
                <a:lnTo>
                  <a:pt x="308" y="285"/>
                </a:lnTo>
                <a:lnTo>
                  <a:pt x="291" y="288"/>
                </a:lnTo>
                <a:lnTo>
                  <a:pt x="267" y="292"/>
                </a:lnTo>
                <a:lnTo>
                  <a:pt x="237" y="294"/>
                </a:lnTo>
                <a:lnTo>
                  <a:pt x="226" y="298"/>
                </a:lnTo>
                <a:lnTo>
                  <a:pt x="209" y="301"/>
                </a:lnTo>
                <a:lnTo>
                  <a:pt x="203" y="301"/>
                </a:lnTo>
                <a:lnTo>
                  <a:pt x="170" y="305"/>
                </a:lnTo>
                <a:lnTo>
                  <a:pt x="146" y="307"/>
                </a:lnTo>
                <a:lnTo>
                  <a:pt x="149" y="305"/>
                </a:lnTo>
                <a:lnTo>
                  <a:pt x="133" y="307"/>
                </a:lnTo>
                <a:lnTo>
                  <a:pt x="129" y="307"/>
                </a:lnTo>
                <a:lnTo>
                  <a:pt x="129" y="309"/>
                </a:lnTo>
                <a:lnTo>
                  <a:pt x="112" y="311"/>
                </a:lnTo>
                <a:lnTo>
                  <a:pt x="105" y="311"/>
                </a:lnTo>
                <a:lnTo>
                  <a:pt x="101" y="316"/>
                </a:lnTo>
                <a:lnTo>
                  <a:pt x="75" y="318"/>
                </a:lnTo>
                <a:lnTo>
                  <a:pt x="58" y="320"/>
                </a:lnTo>
                <a:lnTo>
                  <a:pt x="49" y="320"/>
                </a:lnTo>
                <a:lnTo>
                  <a:pt x="32" y="322"/>
                </a:lnTo>
                <a:lnTo>
                  <a:pt x="30" y="324"/>
                </a:lnTo>
                <a:lnTo>
                  <a:pt x="30" y="322"/>
                </a:lnTo>
                <a:lnTo>
                  <a:pt x="15" y="324"/>
                </a:lnTo>
                <a:lnTo>
                  <a:pt x="0" y="326"/>
                </a:lnTo>
                <a:lnTo>
                  <a:pt x="0" y="324"/>
                </a:lnTo>
                <a:lnTo>
                  <a:pt x="8" y="320"/>
                </a:lnTo>
                <a:lnTo>
                  <a:pt x="15" y="320"/>
                </a:lnTo>
                <a:lnTo>
                  <a:pt x="17" y="318"/>
                </a:lnTo>
                <a:lnTo>
                  <a:pt x="19" y="316"/>
                </a:lnTo>
                <a:lnTo>
                  <a:pt x="23" y="311"/>
                </a:lnTo>
                <a:lnTo>
                  <a:pt x="32" y="309"/>
                </a:lnTo>
                <a:lnTo>
                  <a:pt x="36" y="309"/>
                </a:lnTo>
                <a:lnTo>
                  <a:pt x="36" y="307"/>
                </a:lnTo>
                <a:lnTo>
                  <a:pt x="36" y="305"/>
                </a:lnTo>
                <a:lnTo>
                  <a:pt x="38" y="298"/>
                </a:lnTo>
                <a:lnTo>
                  <a:pt x="41" y="298"/>
                </a:lnTo>
                <a:lnTo>
                  <a:pt x="49" y="294"/>
                </a:lnTo>
                <a:lnTo>
                  <a:pt x="54" y="292"/>
                </a:lnTo>
                <a:lnTo>
                  <a:pt x="54" y="288"/>
                </a:lnTo>
                <a:lnTo>
                  <a:pt x="54" y="285"/>
                </a:lnTo>
                <a:lnTo>
                  <a:pt x="56" y="279"/>
                </a:lnTo>
                <a:lnTo>
                  <a:pt x="64" y="277"/>
                </a:lnTo>
                <a:lnTo>
                  <a:pt x="64" y="275"/>
                </a:lnTo>
                <a:lnTo>
                  <a:pt x="64" y="272"/>
                </a:lnTo>
                <a:lnTo>
                  <a:pt x="62" y="272"/>
                </a:lnTo>
                <a:lnTo>
                  <a:pt x="62" y="270"/>
                </a:lnTo>
                <a:lnTo>
                  <a:pt x="71" y="260"/>
                </a:lnTo>
                <a:lnTo>
                  <a:pt x="73" y="260"/>
                </a:lnTo>
                <a:lnTo>
                  <a:pt x="84" y="253"/>
                </a:lnTo>
                <a:lnTo>
                  <a:pt x="86" y="253"/>
                </a:lnTo>
                <a:lnTo>
                  <a:pt x="90" y="247"/>
                </a:lnTo>
                <a:lnTo>
                  <a:pt x="112" y="223"/>
                </a:lnTo>
                <a:lnTo>
                  <a:pt x="114" y="225"/>
                </a:lnTo>
                <a:lnTo>
                  <a:pt x="112" y="227"/>
                </a:lnTo>
                <a:lnTo>
                  <a:pt x="112" y="229"/>
                </a:lnTo>
                <a:lnTo>
                  <a:pt x="116" y="234"/>
                </a:lnTo>
                <a:lnTo>
                  <a:pt x="116" y="238"/>
                </a:lnTo>
                <a:lnTo>
                  <a:pt x="118" y="240"/>
                </a:lnTo>
                <a:lnTo>
                  <a:pt x="120" y="240"/>
                </a:lnTo>
                <a:lnTo>
                  <a:pt x="123" y="242"/>
                </a:lnTo>
                <a:lnTo>
                  <a:pt x="123" y="244"/>
                </a:lnTo>
                <a:lnTo>
                  <a:pt x="125" y="244"/>
                </a:lnTo>
                <a:lnTo>
                  <a:pt x="129" y="242"/>
                </a:lnTo>
                <a:lnTo>
                  <a:pt x="131" y="244"/>
                </a:lnTo>
                <a:lnTo>
                  <a:pt x="131" y="247"/>
                </a:lnTo>
                <a:lnTo>
                  <a:pt x="136" y="247"/>
                </a:lnTo>
                <a:lnTo>
                  <a:pt x="138" y="251"/>
                </a:lnTo>
                <a:lnTo>
                  <a:pt x="146" y="247"/>
                </a:lnTo>
                <a:lnTo>
                  <a:pt x="149" y="244"/>
                </a:lnTo>
                <a:lnTo>
                  <a:pt x="151" y="242"/>
                </a:lnTo>
                <a:lnTo>
                  <a:pt x="155" y="240"/>
                </a:lnTo>
                <a:lnTo>
                  <a:pt x="155" y="238"/>
                </a:lnTo>
                <a:lnTo>
                  <a:pt x="157" y="236"/>
                </a:lnTo>
                <a:lnTo>
                  <a:pt x="164" y="238"/>
                </a:lnTo>
                <a:lnTo>
                  <a:pt x="170" y="242"/>
                </a:lnTo>
                <a:lnTo>
                  <a:pt x="177" y="238"/>
                </a:lnTo>
                <a:lnTo>
                  <a:pt x="183" y="236"/>
                </a:lnTo>
                <a:lnTo>
                  <a:pt x="185" y="234"/>
                </a:lnTo>
                <a:lnTo>
                  <a:pt x="187" y="234"/>
                </a:lnTo>
                <a:lnTo>
                  <a:pt x="190" y="234"/>
                </a:lnTo>
                <a:lnTo>
                  <a:pt x="196" y="227"/>
                </a:lnTo>
                <a:lnTo>
                  <a:pt x="194" y="223"/>
                </a:lnTo>
                <a:lnTo>
                  <a:pt x="196" y="221"/>
                </a:lnTo>
                <a:lnTo>
                  <a:pt x="198" y="221"/>
                </a:lnTo>
                <a:lnTo>
                  <a:pt x="198" y="223"/>
                </a:lnTo>
                <a:lnTo>
                  <a:pt x="200" y="223"/>
                </a:lnTo>
                <a:lnTo>
                  <a:pt x="200" y="225"/>
                </a:lnTo>
                <a:lnTo>
                  <a:pt x="203" y="223"/>
                </a:lnTo>
                <a:lnTo>
                  <a:pt x="205" y="223"/>
                </a:lnTo>
                <a:lnTo>
                  <a:pt x="213" y="216"/>
                </a:lnTo>
                <a:lnTo>
                  <a:pt x="215" y="212"/>
                </a:lnTo>
                <a:lnTo>
                  <a:pt x="218" y="210"/>
                </a:lnTo>
                <a:lnTo>
                  <a:pt x="220" y="212"/>
                </a:lnTo>
                <a:lnTo>
                  <a:pt x="220" y="216"/>
                </a:lnTo>
                <a:lnTo>
                  <a:pt x="222" y="216"/>
                </a:lnTo>
                <a:lnTo>
                  <a:pt x="226" y="216"/>
                </a:lnTo>
                <a:lnTo>
                  <a:pt x="228" y="210"/>
                </a:lnTo>
                <a:lnTo>
                  <a:pt x="231" y="210"/>
                </a:lnTo>
                <a:lnTo>
                  <a:pt x="231" y="208"/>
                </a:lnTo>
                <a:lnTo>
                  <a:pt x="233" y="206"/>
                </a:lnTo>
                <a:lnTo>
                  <a:pt x="235" y="203"/>
                </a:lnTo>
                <a:lnTo>
                  <a:pt x="233" y="206"/>
                </a:lnTo>
                <a:lnTo>
                  <a:pt x="231" y="203"/>
                </a:lnTo>
                <a:lnTo>
                  <a:pt x="231" y="201"/>
                </a:lnTo>
                <a:lnTo>
                  <a:pt x="235" y="197"/>
                </a:lnTo>
                <a:lnTo>
                  <a:pt x="237" y="195"/>
                </a:lnTo>
                <a:lnTo>
                  <a:pt x="235" y="193"/>
                </a:lnTo>
                <a:lnTo>
                  <a:pt x="231" y="193"/>
                </a:lnTo>
                <a:lnTo>
                  <a:pt x="231" y="190"/>
                </a:lnTo>
                <a:lnTo>
                  <a:pt x="233" y="186"/>
                </a:lnTo>
                <a:lnTo>
                  <a:pt x="233" y="184"/>
                </a:lnTo>
                <a:lnTo>
                  <a:pt x="235" y="180"/>
                </a:lnTo>
                <a:lnTo>
                  <a:pt x="235" y="177"/>
                </a:lnTo>
                <a:lnTo>
                  <a:pt x="237" y="173"/>
                </a:lnTo>
                <a:lnTo>
                  <a:pt x="237" y="171"/>
                </a:lnTo>
                <a:lnTo>
                  <a:pt x="239" y="169"/>
                </a:lnTo>
                <a:lnTo>
                  <a:pt x="239" y="165"/>
                </a:lnTo>
                <a:lnTo>
                  <a:pt x="244" y="160"/>
                </a:lnTo>
                <a:lnTo>
                  <a:pt x="248" y="158"/>
                </a:lnTo>
                <a:lnTo>
                  <a:pt x="250" y="154"/>
                </a:lnTo>
                <a:lnTo>
                  <a:pt x="250" y="152"/>
                </a:lnTo>
                <a:lnTo>
                  <a:pt x="250" y="145"/>
                </a:lnTo>
                <a:lnTo>
                  <a:pt x="250" y="141"/>
                </a:lnTo>
                <a:lnTo>
                  <a:pt x="250" y="139"/>
                </a:lnTo>
                <a:lnTo>
                  <a:pt x="254" y="130"/>
                </a:lnTo>
                <a:lnTo>
                  <a:pt x="259" y="130"/>
                </a:lnTo>
                <a:lnTo>
                  <a:pt x="259" y="128"/>
                </a:lnTo>
                <a:lnTo>
                  <a:pt x="259" y="126"/>
                </a:lnTo>
                <a:lnTo>
                  <a:pt x="259" y="121"/>
                </a:lnTo>
                <a:lnTo>
                  <a:pt x="261" y="121"/>
                </a:lnTo>
                <a:lnTo>
                  <a:pt x="261" y="119"/>
                </a:lnTo>
                <a:lnTo>
                  <a:pt x="263" y="113"/>
                </a:lnTo>
                <a:lnTo>
                  <a:pt x="261" y="106"/>
                </a:lnTo>
                <a:lnTo>
                  <a:pt x="263" y="106"/>
                </a:lnTo>
                <a:lnTo>
                  <a:pt x="263" y="104"/>
                </a:lnTo>
                <a:lnTo>
                  <a:pt x="263" y="98"/>
                </a:lnTo>
                <a:lnTo>
                  <a:pt x="272" y="102"/>
                </a:lnTo>
                <a:lnTo>
                  <a:pt x="278" y="108"/>
                </a:lnTo>
                <a:lnTo>
                  <a:pt x="291" y="111"/>
                </a:lnTo>
                <a:lnTo>
                  <a:pt x="293" y="108"/>
                </a:lnTo>
                <a:lnTo>
                  <a:pt x="295" y="104"/>
                </a:lnTo>
                <a:lnTo>
                  <a:pt x="300" y="87"/>
                </a:lnTo>
                <a:lnTo>
                  <a:pt x="300" y="82"/>
                </a:lnTo>
                <a:lnTo>
                  <a:pt x="302" y="82"/>
                </a:lnTo>
                <a:lnTo>
                  <a:pt x="302" y="80"/>
                </a:lnTo>
                <a:lnTo>
                  <a:pt x="302" y="76"/>
                </a:lnTo>
                <a:lnTo>
                  <a:pt x="302" y="72"/>
                </a:lnTo>
                <a:lnTo>
                  <a:pt x="304" y="65"/>
                </a:lnTo>
                <a:lnTo>
                  <a:pt x="317" y="72"/>
                </a:lnTo>
                <a:lnTo>
                  <a:pt x="317" y="65"/>
                </a:lnTo>
                <a:lnTo>
                  <a:pt x="319" y="61"/>
                </a:lnTo>
                <a:lnTo>
                  <a:pt x="321" y="57"/>
                </a:lnTo>
                <a:lnTo>
                  <a:pt x="326" y="57"/>
                </a:lnTo>
                <a:lnTo>
                  <a:pt x="328" y="57"/>
                </a:lnTo>
                <a:lnTo>
                  <a:pt x="330" y="50"/>
                </a:lnTo>
                <a:lnTo>
                  <a:pt x="330" y="48"/>
                </a:lnTo>
                <a:lnTo>
                  <a:pt x="332" y="50"/>
                </a:lnTo>
                <a:lnTo>
                  <a:pt x="334" y="46"/>
                </a:lnTo>
                <a:lnTo>
                  <a:pt x="334" y="44"/>
                </a:lnTo>
                <a:lnTo>
                  <a:pt x="332" y="44"/>
                </a:lnTo>
                <a:lnTo>
                  <a:pt x="334" y="41"/>
                </a:lnTo>
                <a:lnTo>
                  <a:pt x="336" y="37"/>
                </a:lnTo>
                <a:lnTo>
                  <a:pt x="341" y="33"/>
                </a:lnTo>
                <a:lnTo>
                  <a:pt x="341" y="31"/>
                </a:lnTo>
                <a:lnTo>
                  <a:pt x="343" y="29"/>
                </a:lnTo>
                <a:lnTo>
                  <a:pt x="341" y="26"/>
                </a:lnTo>
                <a:lnTo>
                  <a:pt x="343" y="22"/>
                </a:lnTo>
                <a:lnTo>
                  <a:pt x="341" y="22"/>
                </a:lnTo>
                <a:lnTo>
                  <a:pt x="345" y="11"/>
                </a:lnTo>
                <a:lnTo>
                  <a:pt x="343" y="11"/>
                </a:lnTo>
                <a:lnTo>
                  <a:pt x="343" y="9"/>
                </a:lnTo>
                <a:lnTo>
                  <a:pt x="343" y="0"/>
                </a:lnTo>
                <a:lnTo>
                  <a:pt x="347" y="5"/>
                </a:lnTo>
                <a:lnTo>
                  <a:pt x="349" y="7"/>
                </a:lnTo>
                <a:lnTo>
                  <a:pt x="367" y="13"/>
                </a:lnTo>
                <a:lnTo>
                  <a:pt x="384" y="24"/>
                </a:lnTo>
                <a:lnTo>
                  <a:pt x="384" y="20"/>
                </a:lnTo>
                <a:lnTo>
                  <a:pt x="384" y="13"/>
                </a:lnTo>
                <a:lnTo>
                  <a:pt x="384" y="9"/>
                </a:lnTo>
                <a:lnTo>
                  <a:pt x="386" y="7"/>
                </a:lnTo>
                <a:lnTo>
                  <a:pt x="390" y="7"/>
                </a:lnTo>
                <a:lnTo>
                  <a:pt x="395" y="7"/>
                </a:lnTo>
                <a:lnTo>
                  <a:pt x="399" y="7"/>
                </a:lnTo>
                <a:lnTo>
                  <a:pt x="401" y="9"/>
                </a:lnTo>
                <a:lnTo>
                  <a:pt x="405" y="9"/>
                </a:lnTo>
                <a:lnTo>
                  <a:pt x="408" y="11"/>
                </a:lnTo>
                <a:lnTo>
                  <a:pt x="408" y="16"/>
                </a:lnTo>
                <a:lnTo>
                  <a:pt x="405" y="20"/>
                </a:lnTo>
                <a:lnTo>
                  <a:pt x="408" y="22"/>
                </a:lnTo>
                <a:lnTo>
                  <a:pt x="410" y="22"/>
                </a:lnTo>
                <a:lnTo>
                  <a:pt x="410" y="24"/>
                </a:lnTo>
                <a:lnTo>
                  <a:pt x="412" y="24"/>
                </a:lnTo>
                <a:lnTo>
                  <a:pt x="418" y="24"/>
                </a:lnTo>
                <a:lnTo>
                  <a:pt x="427" y="26"/>
                </a:lnTo>
                <a:lnTo>
                  <a:pt x="427" y="31"/>
                </a:lnTo>
                <a:lnTo>
                  <a:pt x="434" y="31"/>
                </a:lnTo>
                <a:lnTo>
                  <a:pt x="436" y="33"/>
                </a:lnTo>
                <a:lnTo>
                  <a:pt x="442" y="33"/>
                </a:lnTo>
                <a:lnTo>
                  <a:pt x="442" y="37"/>
                </a:lnTo>
                <a:lnTo>
                  <a:pt x="444" y="39"/>
                </a:lnTo>
                <a:lnTo>
                  <a:pt x="444" y="41"/>
                </a:lnTo>
                <a:lnTo>
                  <a:pt x="447" y="41"/>
                </a:lnTo>
                <a:lnTo>
                  <a:pt x="444" y="44"/>
                </a:lnTo>
                <a:lnTo>
                  <a:pt x="447" y="50"/>
                </a:lnTo>
                <a:lnTo>
                  <a:pt x="444" y="50"/>
                </a:lnTo>
                <a:lnTo>
                  <a:pt x="444" y="54"/>
                </a:lnTo>
                <a:lnTo>
                  <a:pt x="442" y="57"/>
                </a:lnTo>
                <a:lnTo>
                  <a:pt x="442" y="59"/>
                </a:lnTo>
                <a:lnTo>
                  <a:pt x="436" y="61"/>
                </a:lnTo>
                <a:lnTo>
                  <a:pt x="436" y="59"/>
                </a:lnTo>
                <a:lnTo>
                  <a:pt x="434" y="61"/>
                </a:lnTo>
                <a:lnTo>
                  <a:pt x="431" y="76"/>
                </a:lnTo>
                <a:lnTo>
                  <a:pt x="431" y="80"/>
                </a:lnTo>
                <a:lnTo>
                  <a:pt x="436" y="89"/>
                </a:lnTo>
                <a:lnTo>
                  <a:pt x="434" y="89"/>
                </a:lnTo>
                <a:lnTo>
                  <a:pt x="440" y="89"/>
                </a:lnTo>
                <a:lnTo>
                  <a:pt x="451" y="82"/>
                </a:lnTo>
                <a:lnTo>
                  <a:pt x="459" y="91"/>
                </a:lnTo>
                <a:lnTo>
                  <a:pt x="464" y="95"/>
                </a:lnTo>
                <a:lnTo>
                  <a:pt x="490" y="98"/>
                </a:lnTo>
                <a:lnTo>
                  <a:pt x="494" y="104"/>
                </a:lnTo>
                <a:lnTo>
                  <a:pt x="494" y="108"/>
                </a:lnTo>
                <a:lnTo>
                  <a:pt x="494" y="111"/>
                </a:lnTo>
                <a:lnTo>
                  <a:pt x="496" y="108"/>
                </a:lnTo>
                <a:lnTo>
                  <a:pt x="509" y="111"/>
                </a:lnTo>
                <a:lnTo>
                  <a:pt x="520" y="115"/>
                </a:lnTo>
                <a:lnTo>
                  <a:pt x="520" y="119"/>
                </a:lnTo>
                <a:lnTo>
                  <a:pt x="516" y="126"/>
                </a:lnTo>
                <a:lnTo>
                  <a:pt x="520" y="130"/>
                </a:lnTo>
                <a:lnTo>
                  <a:pt x="516" y="134"/>
                </a:lnTo>
                <a:lnTo>
                  <a:pt x="520" y="136"/>
                </a:lnTo>
                <a:lnTo>
                  <a:pt x="516" y="141"/>
                </a:lnTo>
                <a:lnTo>
                  <a:pt x="507" y="141"/>
                </a:lnTo>
                <a:lnTo>
                  <a:pt x="498" y="130"/>
                </a:lnTo>
                <a:lnTo>
                  <a:pt x="494" y="130"/>
                </a:lnTo>
                <a:lnTo>
                  <a:pt x="481" y="121"/>
                </a:lnTo>
                <a:lnTo>
                  <a:pt x="479" y="121"/>
                </a:lnTo>
                <a:lnTo>
                  <a:pt x="488" y="130"/>
                </a:lnTo>
                <a:lnTo>
                  <a:pt x="492" y="134"/>
                </a:lnTo>
                <a:lnTo>
                  <a:pt x="500" y="143"/>
                </a:lnTo>
                <a:lnTo>
                  <a:pt x="522" y="147"/>
                </a:lnTo>
                <a:lnTo>
                  <a:pt x="520" y="152"/>
                </a:lnTo>
                <a:lnTo>
                  <a:pt x="507" y="152"/>
                </a:lnTo>
                <a:lnTo>
                  <a:pt x="513" y="154"/>
                </a:lnTo>
                <a:lnTo>
                  <a:pt x="520" y="152"/>
                </a:lnTo>
                <a:lnTo>
                  <a:pt x="529" y="160"/>
                </a:lnTo>
                <a:lnTo>
                  <a:pt x="529" y="169"/>
                </a:lnTo>
                <a:lnTo>
                  <a:pt x="526" y="169"/>
                </a:lnTo>
                <a:lnTo>
                  <a:pt x="522" y="162"/>
                </a:lnTo>
                <a:lnTo>
                  <a:pt x="513" y="158"/>
                </a:lnTo>
                <a:lnTo>
                  <a:pt x="513" y="160"/>
                </a:lnTo>
                <a:lnTo>
                  <a:pt x="516" y="160"/>
                </a:lnTo>
                <a:lnTo>
                  <a:pt x="520" y="165"/>
                </a:lnTo>
                <a:lnTo>
                  <a:pt x="513" y="165"/>
                </a:lnTo>
                <a:lnTo>
                  <a:pt x="522" y="173"/>
                </a:lnTo>
                <a:lnTo>
                  <a:pt x="516" y="175"/>
                </a:lnTo>
                <a:lnTo>
                  <a:pt x="498" y="165"/>
                </a:lnTo>
                <a:lnTo>
                  <a:pt x="496" y="165"/>
                </a:lnTo>
                <a:lnTo>
                  <a:pt x="498" y="169"/>
                </a:lnTo>
                <a:lnTo>
                  <a:pt x="507" y="175"/>
                </a:lnTo>
                <a:lnTo>
                  <a:pt x="520" y="180"/>
                </a:lnTo>
                <a:lnTo>
                  <a:pt x="522" y="186"/>
                </a:lnTo>
                <a:lnTo>
                  <a:pt x="522" y="184"/>
                </a:lnTo>
                <a:lnTo>
                  <a:pt x="526" y="186"/>
                </a:lnTo>
                <a:lnTo>
                  <a:pt x="526" y="184"/>
                </a:lnTo>
                <a:lnTo>
                  <a:pt x="531" y="186"/>
                </a:lnTo>
                <a:lnTo>
                  <a:pt x="524" y="188"/>
                </a:lnTo>
                <a:lnTo>
                  <a:pt x="533" y="190"/>
                </a:lnTo>
                <a:lnTo>
                  <a:pt x="533" y="195"/>
                </a:lnTo>
                <a:lnTo>
                  <a:pt x="526" y="201"/>
                </a:lnTo>
                <a:lnTo>
                  <a:pt x="524" y="203"/>
                </a:lnTo>
                <a:lnTo>
                  <a:pt x="513" y="195"/>
                </a:lnTo>
                <a:lnTo>
                  <a:pt x="516" y="193"/>
                </a:lnTo>
                <a:lnTo>
                  <a:pt x="511" y="190"/>
                </a:lnTo>
                <a:lnTo>
                  <a:pt x="511" y="195"/>
                </a:lnTo>
                <a:lnTo>
                  <a:pt x="507" y="190"/>
                </a:lnTo>
                <a:lnTo>
                  <a:pt x="507" y="186"/>
                </a:lnTo>
                <a:lnTo>
                  <a:pt x="505" y="184"/>
                </a:lnTo>
                <a:lnTo>
                  <a:pt x="498" y="184"/>
                </a:lnTo>
                <a:lnTo>
                  <a:pt x="496" y="186"/>
                </a:lnTo>
                <a:lnTo>
                  <a:pt x="492" y="184"/>
                </a:lnTo>
                <a:lnTo>
                  <a:pt x="490" y="184"/>
                </a:lnTo>
                <a:lnTo>
                  <a:pt x="483" y="175"/>
                </a:lnTo>
                <a:lnTo>
                  <a:pt x="488" y="184"/>
                </a:lnTo>
                <a:lnTo>
                  <a:pt x="481" y="186"/>
                </a:lnTo>
                <a:lnTo>
                  <a:pt x="488" y="188"/>
                </a:lnTo>
                <a:lnTo>
                  <a:pt x="494" y="186"/>
                </a:lnTo>
                <a:lnTo>
                  <a:pt x="498" y="190"/>
                </a:lnTo>
                <a:lnTo>
                  <a:pt x="500" y="186"/>
                </a:lnTo>
                <a:lnTo>
                  <a:pt x="505" y="190"/>
                </a:lnTo>
                <a:lnTo>
                  <a:pt x="507" y="197"/>
                </a:lnTo>
                <a:lnTo>
                  <a:pt x="511" y="201"/>
                </a:lnTo>
                <a:lnTo>
                  <a:pt x="511" y="203"/>
                </a:lnTo>
                <a:lnTo>
                  <a:pt x="513" y="201"/>
                </a:lnTo>
                <a:lnTo>
                  <a:pt x="520" y="203"/>
                </a:lnTo>
                <a:lnTo>
                  <a:pt x="520" y="208"/>
                </a:lnTo>
                <a:lnTo>
                  <a:pt x="522" y="208"/>
                </a:lnTo>
                <a:lnTo>
                  <a:pt x="522" y="210"/>
                </a:lnTo>
                <a:lnTo>
                  <a:pt x="516" y="216"/>
                </a:lnTo>
                <a:lnTo>
                  <a:pt x="520" y="221"/>
                </a:lnTo>
                <a:lnTo>
                  <a:pt x="522" y="212"/>
                </a:lnTo>
                <a:lnTo>
                  <a:pt x="526" y="208"/>
                </a:lnTo>
                <a:lnTo>
                  <a:pt x="531" y="206"/>
                </a:lnTo>
                <a:lnTo>
                  <a:pt x="533" y="210"/>
                </a:lnTo>
                <a:lnTo>
                  <a:pt x="529" y="212"/>
                </a:lnTo>
                <a:lnTo>
                  <a:pt x="529" y="216"/>
                </a:lnTo>
                <a:lnTo>
                  <a:pt x="533" y="212"/>
                </a:lnTo>
                <a:lnTo>
                  <a:pt x="537" y="212"/>
                </a:lnTo>
                <a:lnTo>
                  <a:pt x="533" y="203"/>
                </a:lnTo>
                <a:lnTo>
                  <a:pt x="533" y="201"/>
                </a:lnTo>
                <a:lnTo>
                  <a:pt x="542" y="203"/>
                </a:lnTo>
                <a:lnTo>
                  <a:pt x="544" y="206"/>
                </a:lnTo>
                <a:lnTo>
                  <a:pt x="546" y="201"/>
                </a:lnTo>
                <a:lnTo>
                  <a:pt x="557" y="201"/>
                </a:lnTo>
                <a:lnTo>
                  <a:pt x="572" y="229"/>
                </a:lnTo>
                <a:lnTo>
                  <a:pt x="572" y="234"/>
                </a:lnTo>
                <a:lnTo>
                  <a:pt x="572" y="227"/>
                </a:lnTo>
                <a:lnTo>
                  <a:pt x="563" y="218"/>
                </a:lnTo>
                <a:lnTo>
                  <a:pt x="563" y="234"/>
                </a:lnTo>
                <a:lnTo>
                  <a:pt x="561" y="234"/>
                </a:lnTo>
                <a:lnTo>
                  <a:pt x="559" y="229"/>
                </a:lnTo>
                <a:lnTo>
                  <a:pt x="561" y="236"/>
                </a:lnTo>
                <a:lnTo>
                  <a:pt x="554" y="236"/>
                </a:lnTo>
                <a:lnTo>
                  <a:pt x="539" y="238"/>
                </a:lnTo>
                <a:lnTo>
                  <a:pt x="526" y="240"/>
                </a:lnTo>
                <a:lnTo>
                  <a:pt x="522" y="242"/>
                </a:lnTo>
                <a:lnTo>
                  <a:pt x="496" y="247"/>
                </a:lnTo>
                <a:lnTo>
                  <a:pt x="477" y="251"/>
                </a:lnTo>
                <a:lnTo>
                  <a:pt x="466" y="253"/>
                </a:lnTo>
                <a:lnTo>
                  <a:pt x="434" y="260"/>
                </a:lnTo>
                <a:lnTo>
                  <a:pt x="425" y="262"/>
                </a:lnTo>
                <a:lnTo>
                  <a:pt x="414" y="266"/>
                </a:lnTo>
                <a:lnTo>
                  <a:pt x="395" y="268"/>
                </a:lnTo>
                <a:lnTo>
                  <a:pt x="384" y="270"/>
                </a:lnTo>
                <a:lnTo>
                  <a:pt x="362" y="275"/>
                </a:lnTo>
                <a:lnTo>
                  <a:pt x="360" y="275"/>
                </a:lnTo>
                <a:lnTo>
                  <a:pt x="332" y="279"/>
                </a:lnTo>
                <a:close/>
                <a:moveTo>
                  <a:pt x="554" y="141"/>
                </a:moveTo>
                <a:lnTo>
                  <a:pt x="548" y="141"/>
                </a:lnTo>
                <a:lnTo>
                  <a:pt x="548" y="139"/>
                </a:lnTo>
                <a:lnTo>
                  <a:pt x="550" y="139"/>
                </a:lnTo>
                <a:lnTo>
                  <a:pt x="548" y="139"/>
                </a:lnTo>
                <a:lnTo>
                  <a:pt x="557" y="126"/>
                </a:lnTo>
                <a:lnTo>
                  <a:pt x="554" y="119"/>
                </a:lnTo>
                <a:lnTo>
                  <a:pt x="561" y="113"/>
                </a:lnTo>
                <a:lnTo>
                  <a:pt x="561" y="108"/>
                </a:lnTo>
                <a:lnTo>
                  <a:pt x="557" y="104"/>
                </a:lnTo>
                <a:lnTo>
                  <a:pt x="561" y="102"/>
                </a:lnTo>
                <a:lnTo>
                  <a:pt x="561" y="98"/>
                </a:lnTo>
                <a:lnTo>
                  <a:pt x="561" y="95"/>
                </a:lnTo>
                <a:lnTo>
                  <a:pt x="578" y="91"/>
                </a:lnTo>
                <a:lnTo>
                  <a:pt x="570" y="124"/>
                </a:lnTo>
                <a:lnTo>
                  <a:pt x="572" y="124"/>
                </a:lnTo>
                <a:lnTo>
                  <a:pt x="563" y="134"/>
                </a:lnTo>
                <a:lnTo>
                  <a:pt x="570" y="136"/>
                </a:lnTo>
                <a:lnTo>
                  <a:pt x="563" y="139"/>
                </a:lnTo>
                <a:lnTo>
                  <a:pt x="561" y="143"/>
                </a:lnTo>
                <a:lnTo>
                  <a:pt x="565" y="143"/>
                </a:lnTo>
                <a:lnTo>
                  <a:pt x="559" y="147"/>
                </a:lnTo>
                <a:lnTo>
                  <a:pt x="559" y="152"/>
                </a:lnTo>
                <a:lnTo>
                  <a:pt x="561" y="154"/>
                </a:lnTo>
                <a:lnTo>
                  <a:pt x="559" y="152"/>
                </a:lnTo>
                <a:lnTo>
                  <a:pt x="554" y="158"/>
                </a:lnTo>
                <a:lnTo>
                  <a:pt x="557" y="177"/>
                </a:lnTo>
                <a:lnTo>
                  <a:pt x="554" y="180"/>
                </a:lnTo>
                <a:lnTo>
                  <a:pt x="546" y="165"/>
                </a:lnTo>
                <a:lnTo>
                  <a:pt x="548" y="147"/>
                </a:lnTo>
                <a:lnTo>
                  <a:pt x="548" y="143"/>
                </a:lnTo>
                <a:lnTo>
                  <a:pt x="548" y="141"/>
                </a:lnTo>
                <a:lnTo>
                  <a:pt x="554" y="141"/>
                </a:lnTo>
                <a:close/>
              </a:path>
            </a:pathLst>
          </a:custGeom>
          <a:noFill/>
          <a:ln w="9525">
            <a:noFill/>
            <a:round/>
            <a:headEnd/>
            <a:tailEnd/>
          </a:ln>
        </p:spPr>
        <p:txBody>
          <a:bodyPr/>
          <a:lstStyle/>
          <a:p>
            <a:endParaRPr lang="en-US" dirty="0">
              <a:solidFill>
                <a:prstClr val="black"/>
              </a:solidFill>
            </a:endParaRPr>
          </a:p>
        </p:txBody>
      </p:sp>
      <p:sp>
        <p:nvSpPr>
          <p:cNvPr id="250" name="Freeform 83">
            <a:extLst>
              <a:ext uri="{FF2B5EF4-FFF2-40B4-BE49-F238E27FC236}">
                <a16:creationId xmlns:a16="http://schemas.microsoft.com/office/drawing/2014/main" id="{C56265B5-3557-4282-B859-2BCF95E1DB10}"/>
              </a:ext>
            </a:extLst>
          </p:cNvPr>
          <p:cNvSpPr>
            <a:spLocks/>
          </p:cNvSpPr>
          <p:nvPr>
            <p:custDataLst>
              <p:tags r:id="rId74"/>
            </p:custDataLst>
          </p:nvPr>
        </p:nvSpPr>
        <p:spPr bwMode="auto">
          <a:xfrm>
            <a:off x="7966142" y="3515090"/>
            <a:ext cx="1157377" cy="704715"/>
          </a:xfrm>
          <a:custGeom>
            <a:avLst/>
            <a:gdLst>
              <a:gd name="T0" fmla="*/ 2147483647 w 572"/>
              <a:gd name="T1" fmla="*/ 2147483647 h 326"/>
              <a:gd name="T2" fmla="*/ 2147483647 w 572"/>
              <a:gd name="T3" fmla="*/ 2147483647 h 326"/>
              <a:gd name="T4" fmla="*/ 2147483647 w 572"/>
              <a:gd name="T5" fmla="*/ 2147483647 h 326"/>
              <a:gd name="T6" fmla="*/ 2147483647 w 572"/>
              <a:gd name="T7" fmla="*/ 2147483647 h 326"/>
              <a:gd name="T8" fmla="*/ 2147483647 w 572"/>
              <a:gd name="T9" fmla="*/ 2147483647 h 326"/>
              <a:gd name="T10" fmla="*/ 2147483647 w 572"/>
              <a:gd name="T11" fmla="*/ 2147483647 h 326"/>
              <a:gd name="T12" fmla="*/ 2147483647 w 572"/>
              <a:gd name="T13" fmla="*/ 2147483647 h 326"/>
              <a:gd name="T14" fmla="*/ 2147483647 w 572"/>
              <a:gd name="T15" fmla="*/ 2147483647 h 326"/>
              <a:gd name="T16" fmla="*/ 2147483647 w 572"/>
              <a:gd name="T17" fmla="*/ 2147483647 h 326"/>
              <a:gd name="T18" fmla="*/ 2147483647 w 572"/>
              <a:gd name="T19" fmla="*/ 2147483647 h 326"/>
              <a:gd name="T20" fmla="*/ 2147483647 w 572"/>
              <a:gd name="T21" fmla="*/ 2147483647 h 326"/>
              <a:gd name="T22" fmla="*/ 2147483647 w 572"/>
              <a:gd name="T23" fmla="*/ 2147483647 h 326"/>
              <a:gd name="T24" fmla="*/ 2147483647 w 572"/>
              <a:gd name="T25" fmla="*/ 2147483647 h 326"/>
              <a:gd name="T26" fmla="*/ 2147483647 w 572"/>
              <a:gd name="T27" fmla="*/ 2147483647 h 326"/>
              <a:gd name="T28" fmla="*/ 2147483647 w 572"/>
              <a:gd name="T29" fmla="*/ 2147483647 h 326"/>
              <a:gd name="T30" fmla="*/ 2147483647 w 572"/>
              <a:gd name="T31" fmla="*/ 2147483647 h 326"/>
              <a:gd name="T32" fmla="*/ 2147483647 w 572"/>
              <a:gd name="T33" fmla="*/ 2147483647 h 326"/>
              <a:gd name="T34" fmla="*/ 2147483647 w 572"/>
              <a:gd name="T35" fmla="*/ 2147483647 h 326"/>
              <a:gd name="T36" fmla="*/ 2147483647 w 572"/>
              <a:gd name="T37" fmla="*/ 2147483647 h 326"/>
              <a:gd name="T38" fmla="*/ 2147483647 w 572"/>
              <a:gd name="T39" fmla="*/ 2147483647 h 326"/>
              <a:gd name="T40" fmla="*/ 2147483647 w 572"/>
              <a:gd name="T41" fmla="*/ 2147483647 h 326"/>
              <a:gd name="T42" fmla="*/ 2147483647 w 572"/>
              <a:gd name="T43" fmla="*/ 2147483647 h 326"/>
              <a:gd name="T44" fmla="*/ 2147483647 w 572"/>
              <a:gd name="T45" fmla="*/ 2147483647 h 326"/>
              <a:gd name="T46" fmla="*/ 2147483647 w 572"/>
              <a:gd name="T47" fmla="*/ 2147483647 h 326"/>
              <a:gd name="T48" fmla="*/ 2147483647 w 572"/>
              <a:gd name="T49" fmla="*/ 2147483647 h 326"/>
              <a:gd name="T50" fmla="*/ 2147483647 w 572"/>
              <a:gd name="T51" fmla="*/ 2147483647 h 326"/>
              <a:gd name="T52" fmla="*/ 2147483647 w 572"/>
              <a:gd name="T53" fmla="*/ 2147483647 h 326"/>
              <a:gd name="T54" fmla="*/ 2147483647 w 572"/>
              <a:gd name="T55" fmla="*/ 2147483647 h 326"/>
              <a:gd name="T56" fmla="*/ 2147483647 w 572"/>
              <a:gd name="T57" fmla="*/ 0 h 326"/>
              <a:gd name="T58" fmla="*/ 2147483647 w 572"/>
              <a:gd name="T59" fmla="*/ 2147483647 h 326"/>
              <a:gd name="T60" fmla="*/ 2147483647 w 572"/>
              <a:gd name="T61" fmla="*/ 2147483647 h 326"/>
              <a:gd name="T62" fmla="*/ 2147483647 w 572"/>
              <a:gd name="T63" fmla="*/ 2147483647 h 326"/>
              <a:gd name="T64" fmla="*/ 2147483647 w 572"/>
              <a:gd name="T65" fmla="*/ 2147483647 h 326"/>
              <a:gd name="T66" fmla="*/ 2147483647 w 572"/>
              <a:gd name="T67" fmla="*/ 2147483647 h 326"/>
              <a:gd name="T68" fmla="*/ 2147483647 w 572"/>
              <a:gd name="T69" fmla="*/ 2147483647 h 326"/>
              <a:gd name="T70" fmla="*/ 2147483647 w 572"/>
              <a:gd name="T71" fmla="*/ 2147483647 h 326"/>
              <a:gd name="T72" fmla="*/ 2147483647 w 572"/>
              <a:gd name="T73" fmla="*/ 2147483647 h 326"/>
              <a:gd name="T74" fmla="*/ 2147483647 w 572"/>
              <a:gd name="T75" fmla="*/ 2147483647 h 326"/>
              <a:gd name="T76" fmla="*/ 2147483647 w 572"/>
              <a:gd name="T77" fmla="*/ 2147483647 h 326"/>
              <a:gd name="T78" fmla="*/ 2147483647 w 572"/>
              <a:gd name="T79" fmla="*/ 2147483647 h 326"/>
              <a:gd name="T80" fmla="*/ 2147483647 w 572"/>
              <a:gd name="T81" fmla="*/ 2147483647 h 326"/>
              <a:gd name="T82" fmla="*/ 2147483647 w 572"/>
              <a:gd name="T83" fmla="*/ 2147483647 h 326"/>
              <a:gd name="T84" fmla="*/ 2147483647 w 572"/>
              <a:gd name="T85" fmla="*/ 2147483647 h 326"/>
              <a:gd name="T86" fmla="*/ 2147483647 w 572"/>
              <a:gd name="T87" fmla="*/ 2147483647 h 326"/>
              <a:gd name="T88" fmla="*/ 2147483647 w 572"/>
              <a:gd name="T89" fmla="*/ 2147483647 h 326"/>
              <a:gd name="T90" fmla="*/ 2147483647 w 572"/>
              <a:gd name="T91" fmla="*/ 2147483647 h 326"/>
              <a:gd name="T92" fmla="*/ 2147483647 w 572"/>
              <a:gd name="T93" fmla="*/ 2147483647 h 326"/>
              <a:gd name="T94" fmla="*/ 2147483647 w 572"/>
              <a:gd name="T95" fmla="*/ 2147483647 h 326"/>
              <a:gd name="T96" fmla="*/ 2147483647 w 572"/>
              <a:gd name="T97" fmla="*/ 2147483647 h 326"/>
              <a:gd name="T98" fmla="*/ 2147483647 w 572"/>
              <a:gd name="T99" fmla="*/ 2147483647 h 326"/>
              <a:gd name="T100" fmla="*/ 2147483647 w 572"/>
              <a:gd name="T101" fmla="*/ 2147483647 h 326"/>
              <a:gd name="T102" fmla="*/ 2147483647 w 572"/>
              <a:gd name="T103" fmla="*/ 2147483647 h 326"/>
              <a:gd name="T104" fmla="*/ 2147483647 w 572"/>
              <a:gd name="T105" fmla="*/ 2147483647 h 326"/>
              <a:gd name="T106" fmla="*/ 2147483647 w 572"/>
              <a:gd name="T107" fmla="*/ 2147483647 h 326"/>
              <a:gd name="T108" fmla="*/ 2147483647 w 572"/>
              <a:gd name="T109" fmla="*/ 2147483647 h 326"/>
              <a:gd name="T110" fmla="*/ 2147483647 w 572"/>
              <a:gd name="T111" fmla="*/ 2147483647 h 3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72"/>
              <a:gd name="T169" fmla="*/ 0 h 326"/>
              <a:gd name="T170" fmla="*/ 572 w 572"/>
              <a:gd name="T171" fmla="*/ 326 h 32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72" h="326">
                <a:moveTo>
                  <a:pt x="332" y="279"/>
                </a:moveTo>
                <a:lnTo>
                  <a:pt x="328" y="279"/>
                </a:lnTo>
                <a:lnTo>
                  <a:pt x="308" y="285"/>
                </a:lnTo>
                <a:lnTo>
                  <a:pt x="291" y="288"/>
                </a:lnTo>
                <a:lnTo>
                  <a:pt x="267" y="292"/>
                </a:lnTo>
                <a:lnTo>
                  <a:pt x="237" y="294"/>
                </a:lnTo>
                <a:lnTo>
                  <a:pt x="226" y="298"/>
                </a:lnTo>
                <a:lnTo>
                  <a:pt x="209" y="301"/>
                </a:lnTo>
                <a:lnTo>
                  <a:pt x="203" y="301"/>
                </a:lnTo>
                <a:lnTo>
                  <a:pt x="170" y="305"/>
                </a:lnTo>
                <a:lnTo>
                  <a:pt x="146" y="307"/>
                </a:lnTo>
                <a:lnTo>
                  <a:pt x="149" y="305"/>
                </a:lnTo>
                <a:lnTo>
                  <a:pt x="133" y="307"/>
                </a:lnTo>
                <a:lnTo>
                  <a:pt x="129" y="307"/>
                </a:lnTo>
                <a:lnTo>
                  <a:pt x="129" y="309"/>
                </a:lnTo>
                <a:lnTo>
                  <a:pt x="112" y="311"/>
                </a:lnTo>
                <a:lnTo>
                  <a:pt x="105" y="311"/>
                </a:lnTo>
                <a:lnTo>
                  <a:pt x="101" y="316"/>
                </a:lnTo>
                <a:lnTo>
                  <a:pt x="75" y="318"/>
                </a:lnTo>
                <a:lnTo>
                  <a:pt x="58" y="320"/>
                </a:lnTo>
                <a:lnTo>
                  <a:pt x="49" y="320"/>
                </a:lnTo>
                <a:lnTo>
                  <a:pt x="32" y="322"/>
                </a:lnTo>
                <a:lnTo>
                  <a:pt x="30" y="324"/>
                </a:lnTo>
                <a:lnTo>
                  <a:pt x="30" y="322"/>
                </a:lnTo>
                <a:lnTo>
                  <a:pt x="15" y="324"/>
                </a:lnTo>
                <a:lnTo>
                  <a:pt x="0" y="326"/>
                </a:lnTo>
                <a:lnTo>
                  <a:pt x="0" y="324"/>
                </a:lnTo>
                <a:lnTo>
                  <a:pt x="8" y="320"/>
                </a:lnTo>
                <a:lnTo>
                  <a:pt x="15" y="320"/>
                </a:lnTo>
                <a:lnTo>
                  <a:pt x="17" y="318"/>
                </a:lnTo>
                <a:lnTo>
                  <a:pt x="19" y="316"/>
                </a:lnTo>
                <a:lnTo>
                  <a:pt x="23" y="311"/>
                </a:lnTo>
                <a:lnTo>
                  <a:pt x="32" y="309"/>
                </a:lnTo>
                <a:lnTo>
                  <a:pt x="36" y="309"/>
                </a:lnTo>
                <a:lnTo>
                  <a:pt x="36" y="307"/>
                </a:lnTo>
                <a:lnTo>
                  <a:pt x="36" y="305"/>
                </a:lnTo>
                <a:lnTo>
                  <a:pt x="38" y="298"/>
                </a:lnTo>
                <a:lnTo>
                  <a:pt x="41" y="298"/>
                </a:lnTo>
                <a:lnTo>
                  <a:pt x="49" y="294"/>
                </a:lnTo>
                <a:lnTo>
                  <a:pt x="54" y="292"/>
                </a:lnTo>
                <a:lnTo>
                  <a:pt x="54" y="288"/>
                </a:lnTo>
                <a:lnTo>
                  <a:pt x="54" y="285"/>
                </a:lnTo>
                <a:lnTo>
                  <a:pt x="56" y="279"/>
                </a:lnTo>
                <a:lnTo>
                  <a:pt x="64" y="277"/>
                </a:lnTo>
                <a:lnTo>
                  <a:pt x="64" y="275"/>
                </a:lnTo>
                <a:lnTo>
                  <a:pt x="64" y="272"/>
                </a:lnTo>
                <a:lnTo>
                  <a:pt x="62" y="272"/>
                </a:lnTo>
                <a:lnTo>
                  <a:pt x="62" y="270"/>
                </a:lnTo>
                <a:lnTo>
                  <a:pt x="71" y="260"/>
                </a:lnTo>
                <a:lnTo>
                  <a:pt x="73" y="260"/>
                </a:lnTo>
                <a:lnTo>
                  <a:pt x="84" y="253"/>
                </a:lnTo>
                <a:lnTo>
                  <a:pt x="86" y="253"/>
                </a:lnTo>
                <a:lnTo>
                  <a:pt x="90" y="247"/>
                </a:lnTo>
                <a:lnTo>
                  <a:pt x="112" y="223"/>
                </a:lnTo>
                <a:lnTo>
                  <a:pt x="114" y="225"/>
                </a:lnTo>
                <a:lnTo>
                  <a:pt x="112" y="227"/>
                </a:lnTo>
                <a:lnTo>
                  <a:pt x="112" y="229"/>
                </a:lnTo>
                <a:lnTo>
                  <a:pt x="116" y="234"/>
                </a:lnTo>
                <a:lnTo>
                  <a:pt x="116" y="238"/>
                </a:lnTo>
                <a:lnTo>
                  <a:pt x="118" y="240"/>
                </a:lnTo>
                <a:lnTo>
                  <a:pt x="120" y="240"/>
                </a:lnTo>
                <a:lnTo>
                  <a:pt x="123" y="242"/>
                </a:lnTo>
                <a:lnTo>
                  <a:pt x="123" y="244"/>
                </a:lnTo>
                <a:lnTo>
                  <a:pt x="125" y="244"/>
                </a:lnTo>
                <a:lnTo>
                  <a:pt x="129" y="242"/>
                </a:lnTo>
                <a:lnTo>
                  <a:pt x="131" y="244"/>
                </a:lnTo>
                <a:lnTo>
                  <a:pt x="131" y="247"/>
                </a:lnTo>
                <a:lnTo>
                  <a:pt x="136" y="247"/>
                </a:lnTo>
                <a:lnTo>
                  <a:pt x="138" y="251"/>
                </a:lnTo>
                <a:lnTo>
                  <a:pt x="146" y="247"/>
                </a:lnTo>
                <a:lnTo>
                  <a:pt x="149" y="244"/>
                </a:lnTo>
                <a:lnTo>
                  <a:pt x="151" y="242"/>
                </a:lnTo>
                <a:lnTo>
                  <a:pt x="155" y="240"/>
                </a:lnTo>
                <a:lnTo>
                  <a:pt x="155" y="238"/>
                </a:lnTo>
                <a:lnTo>
                  <a:pt x="157" y="236"/>
                </a:lnTo>
                <a:lnTo>
                  <a:pt x="164" y="238"/>
                </a:lnTo>
                <a:lnTo>
                  <a:pt x="170" y="242"/>
                </a:lnTo>
                <a:lnTo>
                  <a:pt x="177" y="238"/>
                </a:lnTo>
                <a:lnTo>
                  <a:pt x="183" y="236"/>
                </a:lnTo>
                <a:lnTo>
                  <a:pt x="185" y="234"/>
                </a:lnTo>
                <a:lnTo>
                  <a:pt x="187" y="234"/>
                </a:lnTo>
                <a:lnTo>
                  <a:pt x="190" y="234"/>
                </a:lnTo>
                <a:lnTo>
                  <a:pt x="196" y="227"/>
                </a:lnTo>
                <a:lnTo>
                  <a:pt x="194" y="223"/>
                </a:lnTo>
                <a:lnTo>
                  <a:pt x="196" y="221"/>
                </a:lnTo>
                <a:lnTo>
                  <a:pt x="198" y="221"/>
                </a:lnTo>
                <a:lnTo>
                  <a:pt x="198" y="223"/>
                </a:lnTo>
                <a:lnTo>
                  <a:pt x="200" y="223"/>
                </a:lnTo>
                <a:lnTo>
                  <a:pt x="200" y="225"/>
                </a:lnTo>
                <a:lnTo>
                  <a:pt x="203" y="223"/>
                </a:lnTo>
                <a:lnTo>
                  <a:pt x="205" y="223"/>
                </a:lnTo>
                <a:lnTo>
                  <a:pt x="213" y="216"/>
                </a:lnTo>
                <a:lnTo>
                  <a:pt x="215" y="212"/>
                </a:lnTo>
                <a:lnTo>
                  <a:pt x="218" y="210"/>
                </a:lnTo>
                <a:lnTo>
                  <a:pt x="220" y="212"/>
                </a:lnTo>
                <a:lnTo>
                  <a:pt x="220" y="216"/>
                </a:lnTo>
                <a:lnTo>
                  <a:pt x="222" y="216"/>
                </a:lnTo>
                <a:lnTo>
                  <a:pt x="226" y="216"/>
                </a:lnTo>
                <a:lnTo>
                  <a:pt x="228" y="210"/>
                </a:lnTo>
                <a:lnTo>
                  <a:pt x="231" y="210"/>
                </a:lnTo>
                <a:lnTo>
                  <a:pt x="231" y="208"/>
                </a:lnTo>
                <a:lnTo>
                  <a:pt x="233" y="206"/>
                </a:lnTo>
                <a:lnTo>
                  <a:pt x="235" y="203"/>
                </a:lnTo>
                <a:lnTo>
                  <a:pt x="233" y="206"/>
                </a:lnTo>
                <a:lnTo>
                  <a:pt x="231" y="203"/>
                </a:lnTo>
                <a:lnTo>
                  <a:pt x="231" y="201"/>
                </a:lnTo>
                <a:lnTo>
                  <a:pt x="235" y="197"/>
                </a:lnTo>
                <a:lnTo>
                  <a:pt x="237" y="195"/>
                </a:lnTo>
                <a:lnTo>
                  <a:pt x="235" y="193"/>
                </a:lnTo>
                <a:lnTo>
                  <a:pt x="231" y="193"/>
                </a:lnTo>
                <a:lnTo>
                  <a:pt x="231" y="190"/>
                </a:lnTo>
                <a:lnTo>
                  <a:pt x="233" y="186"/>
                </a:lnTo>
                <a:lnTo>
                  <a:pt x="233" y="184"/>
                </a:lnTo>
                <a:lnTo>
                  <a:pt x="235" y="180"/>
                </a:lnTo>
                <a:lnTo>
                  <a:pt x="235" y="177"/>
                </a:lnTo>
                <a:lnTo>
                  <a:pt x="237" y="173"/>
                </a:lnTo>
                <a:lnTo>
                  <a:pt x="237" y="171"/>
                </a:lnTo>
                <a:lnTo>
                  <a:pt x="239" y="169"/>
                </a:lnTo>
                <a:lnTo>
                  <a:pt x="239" y="165"/>
                </a:lnTo>
                <a:lnTo>
                  <a:pt x="244" y="160"/>
                </a:lnTo>
                <a:lnTo>
                  <a:pt x="248" y="158"/>
                </a:lnTo>
                <a:lnTo>
                  <a:pt x="250" y="154"/>
                </a:lnTo>
                <a:lnTo>
                  <a:pt x="250" y="152"/>
                </a:lnTo>
                <a:lnTo>
                  <a:pt x="250" y="145"/>
                </a:lnTo>
                <a:lnTo>
                  <a:pt x="250" y="141"/>
                </a:lnTo>
                <a:lnTo>
                  <a:pt x="250" y="139"/>
                </a:lnTo>
                <a:lnTo>
                  <a:pt x="254" y="130"/>
                </a:lnTo>
                <a:lnTo>
                  <a:pt x="259" y="130"/>
                </a:lnTo>
                <a:lnTo>
                  <a:pt x="259" y="128"/>
                </a:lnTo>
                <a:lnTo>
                  <a:pt x="259" y="126"/>
                </a:lnTo>
                <a:lnTo>
                  <a:pt x="259" y="121"/>
                </a:lnTo>
                <a:lnTo>
                  <a:pt x="261" y="121"/>
                </a:lnTo>
                <a:lnTo>
                  <a:pt x="261" y="119"/>
                </a:lnTo>
                <a:lnTo>
                  <a:pt x="263" y="113"/>
                </a:lnTo>
                <a:lnTo>
                  <a:pt x="261" y="106"/>
                </a:lnTo>
                <a:lnTo>
                  <a:pt x="263" y="106"/>
                </a:lnTo>
                <a:lnTo>
                  <a:pt x="263" y="104"/>
                </a:lnTo>
                <a:lnTo>
                  <a:pt x="263" y="98"/>
                </a:lnTo>
                <a:lnTo>
                  <a:pt x="272" y="102"/>
                </a:lnTo>
                <a:lnTo>
                  <a:pt x="278" y="108"/>
                </a:lnTo>
                <a:lnTo>
                  <a:pt x="291" y="111"/>
                </a:lnTo>
                <a:lnTo>
                  <a:pt x="293" y="108"/>
                </a:lnTo>
                <a:lnTo>
                  <a:pt x="295" y="104"/>
                </a:lnTo>
                <a:lnTo>
                  <a:pt x="300" y="87"/>
                </a:lnTo>
                <a:lnTo>
                  <a:pt x="300" y="82"/>
                </a:lnTo>
                <a:lnTo>
                  <a:pt x="302" y="82"/>
                </a:lnTo>
                <a:lnTo>
                  <a:pt x="302" y="80"/>
                </a:lnTo>
                <a:lnTo>
                  <a:pt x="302" y="76"/>
                </a:lnTo>
                <a:lnTo>
                  <a:pt x="302" y="72"/>
                </a:lnTo>
                <a:lnTo>
                  <a:pt x="304" y="65"/>
                </a:lnTo>
                <a:lnTo>
                  <a:pt x="317" y="72"/>
                </a:lnTo>
                <a:lnTo>
                  <a:pt x="317" y="65"/>
                </a:lnTo>
                <a:lnTo>
                  <a:pt x="319" y="61"/>
                </a:lnTo>
                <a:lnTo>
                  <a:pt x="321" y="57"/>
                </a:lnTo>
                <a:lnTo>
                  <a:pt x="326" y="57"/>
                </a:lnTo>
                <a:lnTo>
                  <a:pt x="328" y="57"/>
                </a:lnTo>
                <a:lnTo>
                  <a:pt x="330" y="50"/>
                </a:lnTo>
                <a:lnTo>
                  <a:pt x="330" y="48"/>
                </a:lnTo>
                <a:lnTo>
                  <a:pt x="332" y="50"/>
                </a:lnTo>
                <a:lnTo>
                  <a:pt x="334" y="46"/>
                </a:lnTo>
                <a:lnTo>
                  <a:pt x="334" y="44"/>
                </a:lnTo>
                <a:lnTo>
                  <a:pt x="332" y="44"/>
                </a:lnTo>
                <a:lnTo>
                  <a:pt x="334" y="41"/>
                </a:lnTo>
                <a:lnTo>
                  <a:pt x="336" y="37"/>
                </a:lnTo>
                <a:lnTo>
                  <a:pt x="341" y="33"/>
                </a:lnTo>
                <a:lnTo>
                  <a:pt x="341" y="31"/>
                </a:lnTo>
                <a:lnTo>
                  <a:pt x="343" y="29"/>
                </a:lnTo>
                <a:lnTo>
                  <a:pt x="341" y="26"/>
                </a:lnTo>
                <a:lnTo>
                  <a:pt x="343" y="22"/>
                </a:lnTo>
                <a:lnTo>
                  <a:pt x="341" y="22"/>
                </a:lnTo>
                <a:lnTo>
                  <a:pt x="345" y="11"/>
                </a:lnTo>
                <a:lnTo>
                  <a:pt x="343" y="11"/>
                </a:lnTo>
                <a:lnTo>
                  <a:pt x="343" y="9"/>
                </a:lnTo>
                <a:lnTo>
                  <a:pt x="343" y="0"/>
                </a:lnTo>
                <a:lnTo>
                  <a:pt x="347" y="5"/>
                </a:lnTo>
                <a:lnTo>
                  <a:pt x="349" y="7"/>
                </a:lnTo>
                <a:lnTo>
                  <a:pt x="367" y="13"/>
                </a:lnTo>
                <a:lnTo>
                  <a:pt x="384" y="24"/>
                </a:lnTo>
                <a:lnTo>
                  <a:pt x="384" y="20"/>
                </a:lnTo>
                <a:lnTo>
                  <a:pt x="384" y="13"/>
                </a:lnTo>
                <a:lnTo>
                  <a:pt x="384" y="9"/>
                </a:lnTo>
                <a:lnTo>
                  <a:pt x="386" y="7"/>
                </a:lnTo>
                <a:lnTo>
                  <a:pt x="390" y="7"/>
                </a:lnTo>
                <a:lnTo>
                  <a:pt x="395" y="7"/>
                </a:lnTo>
                <a:lnTo>
                  <a:pt x="399" y="7"/>
                </a:lnTo>
                <a:lnTo>
                  <a:pt x="401" y="9"/>
                </a:lnTo>
                <a:lnTo>
                  <a:pt x="405" y="9"/>
                </a:lnTo>
                <a:lnTo>
                  <a:pt x="408" y="11"/>
                </a:lnTo>
                <a:lnTo>
                  <a:pt x="408" y="16"/>
                </a:lnTo>
                <a:lnTo>
                  <a:pt x="405" y="20"/>
                </a:lnTo>
                <a:lnTo>
                  <a:pt x="408" y="22"/>
                </a:lnTo>
                <a:lnTo>
                  <a:pt x="410" y="22"/>
                </a:lnTo>
                <a:lnTo>
                  <a:pt x="410" y="24"/>
                </a:lnTo>
                <a:lnTo>
                  <a:pt x="412" y="24"/>
                </a:lnTo>
                <a:lnTo>
                  <a:pt x="418" y="24"/>
                </a:lnTo>
                <a:lnTo>
                  <a:pt x="427" y="26"/>
                </a:lnTo>
                <a:lnTo>
                  <a:pt x="427" y="31"/>
                </a:lnTo>
                <a:lnTo>
                  <a:pt x="434" y="31"/>
                </a:lnTo>
                <a:lnTo>
                  <a:pt x="436" y="33"/>
                </a:lnTo>
                <a:lnTo>
                  <a:pt x="442" y="33"/>
                </a:lnTo>
                <a:lnTo>
                  <a:pt x="442" y="37"/>
                </a:lnTo>
                <a:lnTo>
                  <a:pt x="444" y="39"/>
                </a:lnTo>
                <a:lnTo>
                  <a:pt x="444" y="41"/>
                </a:lnTo>
                <a:lnTo>
                  <a:pt x="447" y="41"/>
                </a:lnTo>
                <a:lnTo>
                  <a:pt x="444" y="44"/>
                </a:lnTo>
                <a:lnTo>
                  <a:pt x="447" y="50"/>
                </a:lnTo>
                <a:lnTo>
                  <a:pt x="444" y="50"/>
                </a:lnTo>
                <a:lnTo>
                  <a:pt x="444" y="54"/>
                </a:lnTo>
                <a:lnTo>
                  <a:pt x="442" y="57"/>
                </a:lnTo>
                <a:lnTo>
                  <a:pt x="442" y="59"/>
                </a:lnTo>
                <a:lnTo>
                  <a:pt x="436" y="61"/>
                </a:lnTo>
                <a:lnTo>
                  <a:pt x="436" y="59"/>
                </a:lnTo>
                <a:lnTo>
                  <a:pt x="434" y="61"/>
                </a:lnTo>
                <a:lnTo>
                  <a:pt x="431" y="76"/>
                </a:lnTo>
                <a:lnTo>
                  <a:pt x="431" y="80"/>
                </a:lnTo>
                <a:lnTo>
                  <a:pt x="436" y="89"/>
                </a:lnTo>
                <a:lnTo>
                  <a:pt x="434" y="89"/>
                </a:lnTo>
                <a:lnTo>
                  <a:pt x="440" y="89"/>
                </a:lnTo>
                <a:lnTo>
                  <a:pt x="451" y="82"/>
                </a:lnTo>
                <a:lnTo>
                  <a:pt x="459" y="91"/>
                </a:lnTo>
                <a:lnTo>
                  <a:pt x="464" y="95"/>
                </a:lnTo>
                <a:lnTo>
                  <a:pt x="490" y="98"/>
                </a:lnTo>
                <a:lnTo>
                  <a:pt x="494" y="104"/>
                </a:lnTo>
                <a:lnTo>
                  <a:pt x="494" y="108"/>
                </a:lnTo>
                <a:lnTo>
                  <a:pt x="494" y="111"/>
                </a:lnTo>
                <a:lnTo>
                  <a:pt x="496" y="108"/>
                </a:lnTo>
                <a:lnTo>
                  <a:pt x="509" y="111"/>
                </a:lnTo>
                <a:lnTo>
                  <a:pt x="520" y="115"/>
                </a:lnTo>
                <a:lnTo>
                  <a:pt x="520" y="119"/>
                </a:lnTo>
                <a:lnTo>
                  <a:pt x="516" y="126"/>
                </a:lnTo>
                <a:lnTo>
                  <a:pt x="520" y="130"/>
                </a:lnTo>
                <a:lnTo>
                  <a:pt x="516" y="134"/>
                </a:lnTo>
                <a:lnTo>
                  <a:pt x="520" y="136"/>
                </a:lnTo>
                <a:lnTo>
                  <a:pt x="516" y="141"/>
                </a:lnTo>
                <a:lnTo>
                  <a:pt x="507" y="141"/>
                </a:lnTo>
                <a:lnTo>
                  <a:pt x="498" y="130"/>
                </a:lnTo>
                <a:lnTo>
                  <a:pt x="494" y="130"/>
                </a:lnTo>
                <a:lnTo>
                  <a:pt x="481" y="121"/>
                </a:lnTo>
                <a:lnTo>
                  <a:pt x="479" y="121"/>
                </a:lnTo>
                <a:lnTo>
                  <a:pt x="488" y="130"/>
                </a:lnTo>
                <a:lnTo>
                  <a:pt x="492" y="134"/>
                </a:lnTo>
                <a:lnTo>
                  <a:pt x="500" y="143"/>
                </a:lnTo>
                <a:lnTo>
                  <a:pt x="522" y="147"/>
                </a:lnTo>
                <a:lnTo>
                  <a:pt x="520" y="152"/>
                </a:lnTo>
                <a:lnTo>
                  <a:pt x="507" y="152"/>
                </a:lnTo>
                <a:lnTo>
                  <a:pt x="513" y="154"/>
                </a:lnTo>
                <a:lnTo>
                  <a:pt x="520" y="152"/>
                </a:lnTo>
                <a:lnTo>
                  <a:pt x="529" y="160"/>
                </a:lnTo>
                <a:lnTo>
                  <a:pt x="529" y="169"/>
                </a:lnTo>
                <a:lnTo>
                  <a:pt x="526" y="169"/>
                </a:lnTo>
                <a:lnTo>
                  <a:pt x="522" y="162"/>
                </a:lnTo>
                <a:lnTo>
                  <a:pt x="513" y="158"/>
                </a:lnTo>
                <a:lnTo>
                  <a:pt x="513" y="160"/>
                </a:lnTo>
                <a:lnTo>
                  <a:pt x="516" y="160"/>
                </a:lnTo>
                <a:lnTo>
                  <a:pt x="520" y="165"/>
                </a:lnTo>
                <a:lnTo>
                  <a:pt x="513" y="165"/>
                </a:lnTo>
                <a:lnTo>
                  <a:pt x="522" y="173"/>
                </a:lnTo>
                <a:lnTo>
                  <a:pt x="516" y="175"/>
                </a:lnTo>
                <a:lnTo>
                  <a:pt x="498" y="165"/>
                </a:lnTo>
                <a:lnTo>
                  <a:pt x="496" y="165"/>
                </a:lnTo>
                <a:lnTo>
                  <a:pt x="498" y="169"/>
                </a:lnTo>
                <a:lnTo>
                  <a:pt x="507" y="175"/>
                </a:lnTo>
                <a:lnTo>
                  <a:pt x="520" y="180"/>
                </a:lnTo>
                <a:lnTo>
                  <a:pt x="522" y="186"/>
                </a:lnTo>
                <a:lnTo>
                  <a:pt x="522" y="184"/>
                </a:lnTo>
                <a:lnTo>
                  <a:pt x="526" y="186"/>
                </a:lnTo>
                <a:lnTo>
                  <a:pt x="526" y="184"/>
                </a:lnTo>
                <a:lnTo>
                  <a:pt x="531" y="186"/>
                </a:lnTo>
                <a:lnTo>
                  <a:pt x="524" y="188"/>
                </a:lnTo>
                <a:lnTo>
                  <a:pt x="533" y="190"/>
                </a:lnTo>
                <a:lnTo>
                  <a:pt x="533" y="195"/>
                </a:lnTo>
                <a:lnTo>
                  <a:pt x="526" y="201"/>
                </a:lnTo>
                <a:lnTo>
                  <a:pt x="524" y="203"/>
                </a:lnTo>
                <a:lnTo>
                  <a:pt x="513" y="195"/>
                </a:lnTo>
                <a:lnTo>
                  <a:pt x="516" y="193"/>
                </a:lnTo>
                <a:lnTo>
                  <a:pt x="511" y="190"/>
                </a:lnTo>
                <a:lnTo>
                  <a:pt x="511" y="195"/>
                </a:lnTo>
                <a:lnTo>
                  <a:pt x="507" y="190"/>
                </a:lnTo>
                <a:lnTo>
                  <a:pt x="507" y="186"/>
                </a:lnTo>
                <a:lnTo>
                  <a:pt x="505" y="184"/>
                </a:lnTo>
                <a:lnTo>
                  <a:pt x="498" y="184"/>
                </a:lnTo>
                <a:lnTo>
                  <a:pt x="496" y="186"/>
                </a:lnTo>
                <a:lnTo>
                  <a:pt x="492" y="184"/>
                </a:lnTo>
                <a:lnTo>
                  <a:pt x="490" y="184"/>
                </a:lnTo>
                <a:lnTo>
                  <a:pt x="483" y="175"/>
                </a:lnTo>
                <a:lnTo>
                  <a:pt x="488" y="184"/>
                </a:lnTo>
                <a:lnTo>
                  <a:pt x="481" y="186"/>
                </a:lnTo>
                <a:lnTo>
                  <a:pt x="488" y="188"/>
                </a:lnTo>
                <a:lnTo>
                  <a:pt x="494" y="186"/>
                </a:lnTo>
                <a:lnTo>
                  <a:pt x="498" y="190"/>
                </a:lnTo>
                <a:lnTo>
                  <a:pt x="500" y="186"/>
                </a:lnTo>
                <a:lnTo>
                  <a:pt x="505" y="190"/>
                </a:lnTo>
                <a:lnTo>
                  <a:pt x="507" y="197"/>
                </a:lnTo>
                <a:lnTo>
                  <a:pt x="511" y="201"/>
                </a:lnTo>
                <a:lnTo>
                  <a:pt x="511" y="203"/>
                </a:lnTo>
                <a:lnTo>
                  <a:pt x="513" y="201"/>
                </a:lnTo>
                <a:lnTo>
                  <a:pt x="520" y="203"/>
                </a:lnTo>
                <a:lnTo>
                  <a:pt x="520" y="208"/>
                </a:lnTo>
                <a:lnTo>
                  <a:pt x="522" y="208"/>
                </a:lnTo>
                <a:lnTo>
                  <a:pt x="522" y="210"/>
                </a:lnTo>
                <a:lnTo>
                  <a:pt x="516" y="216"/>
                </a:lnTo>
                <a:lnTo>
                  <a:pt x="520" y="221"/>
                </a:lnTo>
                <a:lnTo>
                  <a:pt x="522" y="212"/>
                </a:lnTo>
                <a:lnTo>
                  <a:pt x="526" y="208"/>
                </a:lnTo>
                <a:lnTo>
                  <a:pt x="531" y="206"/>
                </a:lnTo>
                <a:lnTo>
                  <a:pt x="533" y="210"/>
                </a:lnTo>
                <a:lnTo>
                  <a:pt x="529" y="212"/>
                </a:lnTo>
                <a:lnTo>
                  <a:pt x="529" y="216"/>
                </a:lnTo>
                <a:lnTo>
                  <a:pt x="533" y="212"/>
                </a:lnTo>
                <a:lnTo>
                  <a:pt x="537" y="212"/>
                </a:lnTo>
                <a:lnTo>
                  <a:pt x="533" y="203"/>
                </a:lnTo>
                <a:lnTo>
                  <a:pt x="533" y="201"/>
                </a:lnTo>
                <a:lnTo>
                  <a:pt x="542" y="203"/>
                </a:lnTo>
                <a:lnTo>
                  <a:pt x="544" y="206"/>
                </a:lnTo>
                <a:lnTo>
                  <a:pt x="546" y="201"/>
                </a:lnTo>
                <a:lnTo>
                  <a:pt x="557" y="201"/>
                </a:lnTo>
                <a:lnTo>
                  <a:pt x="572" y="229"/>
                </a:lnTo>
                <a:lnTo>
                  <a:pt x="572" y="234"/>
                </a:lnTo>
                <a:lnTo>
                  <a:pt x="572" y="227"/>
                </a:lnTo>
                <a:lnTo>
                  <a:pt x="563" y="218"/>
                </a:lnTo>
                <a:lnTo>
                  <a:pt x="563" y="234"/>
                </a:lnTo>
                <a:lnTo>
                  <a:pt x="561" y="234"/>
                </a:lnTo>
                <a:lnTo>
                  <a:pt x="559" y="229"/>
                </a:lnTo>
                <a:lnTo>
                  <a:pt x="561" y="236"/>
                </a:lnTo>
                <a:lnTo>
                  <a:pt x="554" y="236"/>
                </a:lnTo>
                <a:lnTo>
                  <a:pt x="539" y="238"/>
                </a:lnTo>
                <a:lnTo>
                  <a:pt x="526" y="240"/>
                </a:lnTo>
                <a:lnTo>
                  <a:pt x="522" y="242"/>
                </a:lnTo>
                <a:lnTo>
                  <a:pt x="496" y="247"/>
                </a:lnTo>
                <a:lnTo>
                  <a:pt x="477" y="251"/>
                </a:lnTo>
                <a:lnTo>
                  <a:pt x="466" y="253"/>
                </a:lnTo>
                <a:lnTo>
                  <a:pt x="434" y="260"/>
                </a:lnTo>
                <a:lnTo>
                  <a:pt x="425" y="262"/>
                </a:lnTo>
                <a:lnTo>
                  <a:pt x="414" y="266"/>
                </a:lnTo>
                <a:lnTo>
                  <a:pt x="395" y="268"/>
                </a:lnTo>
                <a:lnTo>
                  <a:pt x="384" y="270"/>
                </a:lnTo>
                <a:lnTo>
                  <a:pt x="362" y="275"/>
                </a:lnTo>
                <a:lnTo>
                  <a:pt x="360" y="275"/>
                </a:lnTo>
                <a:lnTo>
                  <a:pt x="332" y="279"/>
                </a:lnTo>
              </a:path>
            </a:pathLst>
          </a:custGeom>
          <a:solidFill>
            <a:srgbClr val="00B050"/>
          </a:solidFill>
          <a:ln w="9525">
            <a:solidFill>
              <a:schemeClr val="tx1"/>
            </a:solidFill>
            <a:headEnd/>
            <a:tailEnd/>
          </a:ln>
        </p:spPr>
        <p:style>
          <a:lnRef idx="2">
            <a:schemeClr val="accent2"/>
          </a:lnRef>
          <a:fillRef idx="0">
            <a:schemeClr val="accent2"/>
          </a:fillRef>
          <a:effectRef idx="1">
            <a:schemeClr val="accent2"/>
          </a:effectRef>
          <a:fontRef idx="minor">
            <a:schemeClr val="tx1"/>
          </a:fontRef>
        </p:style>
        <p:txBody>
          <a:bodyPr/>
          <a:lstStyle/>
          <a:p>
            <a:endParaRPr lang="en-US" dirty="0">
              <a:solidFill>
                <a:prstClr val="black"/>
              </a:solidFill>
            </a:endParaRPr>
          </a:p>
        </p:txBody>
      </p:sp>
      <p:sp>
        <p:nvSpPr>
          <p:cNvPr id="251" name="Freeform 84">
            <a:extLst>
              <a:ext uri="{FF2B5EF4-FFF2-40B4-BE49-F238E27FC236}">
                <a16:creationId xmlns:a16="http://schemas.microsoft.com/office/drawing/2014/main" id="{C5BB92A6-7E7C-4BD3-AEC5-F262E9BFE11A}"/>
              </a:ext>
            </a:extLst>
          </p:cNvPr>
          <p:cNvSpPr>
            <a:spLocks/>
          </p:cNvSpPr>
          <p:nvPr>
            <p:custDataLst>
              <p:tags r:id="rId75"/>
            </p:custDataLst>
          </p:nvPr>
        </p:nvSpPr>
        <p:spPr bwMode="auto">
          <a:xfrm>
            <a:off x="9070901" y="3711833"/>
            <a:ext cx="63568" cy="192391"/>
          </a:xfrm>
          <a:custGeom>
            <a:avLst/>
            <a:gdLst>
              <a:gd name="T0" fmla="*/ 2147483647 w 32"/>
              <a:gd name="T1" fmla="*/ 2147483647 h 89"/>
              <a:gd name="T2" fmla="*/ 2147483647 w 32"/>
              <a:gd name="T3" fmla="*/ 2147483647 h 89"/>
              <a:gd name="T4" fmla="*/ 2147483647 w 32"/>
              <a:gd name="T5" fmla="*/ 2147483647 h 89"/>
              <a:gd name="T6" fmla="*/ 2147483647 w 32"/>
              <a:gd name="T7" fmla="*/ 2147483647 h 89"/>
              <a:gd name="T8" fmla="*/ 2147483647 w 32"/>
              <a:gd name="T9" fmla="*/ 2147483647 h 89"/>
              <a:gd name="T10" fmla="*/ 2147483647 w 32"/>
              <a:gd name="T11" fmla="*/ 2147483647 h 89"/>
              <a:gd name="T12" fmla="*/ 2147483647 w 32"/>
              <a:gd name="T13" fmla="*/ 2147483647 h 89"/>
              <a:gd name="T14" fmla="*/ 2147483647 w 32"/>
              <a:gd name="T15" fmla="*/ 2147483647 h 89"/>
              <a:gd name="T16" fmla="*/ 2147483647 w 32"/>
              <a:gd name="T17" fmla="*/ 2147483647 h 89"/>
              <a:gd name="T18" fmla="*/ 2147483647 w 32"/>
              <a:gd name="T19" fmla="*/ 2147483647 h 89"/>
              <a:gd name="T20" fmla="*/ 2147483647 w 32"/>
              <a:gd name="T21" fmla="*/ 2147483647 h 89"/>
              <a:gd name="T22" fmla="*/ 2147483647 w 32"/>
              <a:gd name="T23" fmla="*/ 2147483647 h 89"/>
              <a:gd name="T24" fmla="*/ 2147483647 w 32"/>
              <a:gd name="T25" fmla="*/ 2147483647 h 89"/>
              <a:gd name="T26" fmla="*/ 2147483647 w 32"/>
              <a:gd name="T27" fmla="*/ 0 h 89"/>
              <a:gd name="T28" fmla="*/ 2147483647 w 32"/>
              <a:gd name="T29" fmla="*/ 2147483647 h 89"/>
              <a:gd name="T30" fmla="*/ 2147483647 w 32"/>
              <a:gd name="T31" fmla="*/ 2147483647 h 89"/>
              <a:gd name="T32" fmla="*/ 2147483647 w 32"/>
              <a:gd name="T33" fmla="*/ 2147483647 h 89"/>
              <a:gd name="T34" fmla="*/ 2147483647 w 32"/>
              <a:gd name="T35" fmla="*/ 2147483647 h 89"/>
              <a:gd name="T36" fmla="*/ 2147483647 w 32"/>
              <a:gd name="T37" fmla="*/ 2147483647 h 89"/>
              <a:gd name="T38" fmla="*/ 2147483647 w 32"/>
              <a:gd name="T39" fmla="*/ 2147483647 h 89"/>
              <a:gd name="T40" fmla="*/ 2147483647 w 32"/>
              <a:gd name="T41" fmla="*/ 2147483647 h 89"/>
              <a:gd name="T42" fmla="*/ 2147483647 w 32"/>
              <a:gd name="T43" fmla="*/ 2147483647 h 89"/>
              <a:gd name="T44" fmla="*/ 2147483647 w 32"/>
              <a:gd name="T45" fmla="*/ 2147483647 h 89"/>
              <a:gd name="T46" fmla="*/ 2147483647 w 32"/>
              <a:gd name="T47" fmla="*/ 2147483647 h 89"/>
              <a:gd name="T48" fmla="*/ 2147483647 w 32"/>
              <a:gd name="T49" fmla="*/ 2147483647 h 89"/>
              <a:gd name="T50" fmla="*/ 2147483647 w 32"/>
              <a:gd name="T51" fmla="*/ 2147483647 h 89"/>
              <a:gd name="T52" fmla="*/ 2147483647 w 32"/>
              <a:gd name="T53" fmla="*/ 2147483647 h 89"/>
              <a:gd name="T54" fmla="*/ 2147483647 w 32"/>
              <a:gd name="T55" fmla="*/ 2147483647 h 89"/>
              <a:gd name="T56" fmla="*/ 0 w 32"/>
              <a:gd name="T57" fmla="*/ 2147483647 h 89"/>
              <a:gd name="T58" fmla="*/ 2147483647 w 32"/>
              <a:gd name="T59" fmla="*/ 2147483647 h 89"/>
              <a:gd name="T60" fmla="*/ 2147483647 w 32"/>
              <a:gd name="T61" fmla="*/ 2147483647 h 89"/>
              <a:gd name="T62" fmla="*/ 2147483647 w 32"/>
              <a:gd name="T63" fmla="*/ 2147483647 h 89"/>
              <a:gd name="T64" fmla="*/ 2147483647 w 32"/>
              <a:gd name="T65" fmla="*/ 2147483647 h 8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
              <a:gd name="T100" fmla="*/ 0 h 89"/>
              <a:gd name="T101" fmla="*/ 32 w 32"/>
              <a:gd name="T102" fmla="*/ 89 h 8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 h="89">
                <a:moveTo>
                  <a:pt x="8" y="50"/>
                </a:moveTo>
                <a:lnTo>
                  <a:pt x="2" y="50"/>
                </a:lnTo>
                <a:lnTo>
                  <a:pt x="2" y="48"/>
                </a:lnTo>
                <a:lnTo>
                  <a:pt x="4" y="48"/>
                </a:lnTo>
                <a:lnTo>
                  <a:pt x="2" y="48"/>
                </a:lnTo>
                <a:lnTo>
                  <a:pt x="11" y="35"/>
                </a:lnTo>
                <a:lnTo>
                  <a:pt x="8" y="28"/>
                </a:lnTo>
                <a:lnTo>
                  <a:pt x="15" y="22"/>
                </a:lnTo>
                <a:lnTo>
                  <a:pt x="15" y="17"/>
                </a:lnTo>
                <a:lnTo>
                  <a:pt x="11" y="13"/>
                </a:lnTo>
                <a:lnTo>
                  <a:pt x="15" y="11"/>
                </a:lnTo>
                <a:lnTo>
                  <a:pt x="15" y="7"/>
                </a:lnTo>
                <a:lnTo>
                  <a:pt x="15" y="4"/>
                </a:lnTo>
                <a:lnTo>
                  <a:pt x="32" y="0"/>
                </a:lnTo>
                <a:lnTo>
                  <a:pt x="24" y="33"/>
                </a:lnTo>
                <a:lnTo>
                  <a:pt x="26" y="33"/>
                </a:lnTo>
                <a:lnTo>
                  <a:pt x="17" y="43"/>
                </a:lnTo>
                <a:lnTo>
                  <a:pt x="24" y="45"/>
                </a:lnTo>
                <a:lnTo>
                  <a:pt x="17" y="48"/>
                </a:lnTo>
                <a:lnTo>
                  <a:pt x="15" y="52"/>
                </a:lnTo>
                <a:lnTo>
                  <a:pt x="19" y="52"/>
                </a:lnTo>
                <a:lnTo>
                  <a:pt x="13" y="56"/>
                </a:lnTo>
                <a:lnTo>
                  <a:pt x="13" y="61"/>
                </a:lnTo>
                <a:lnTo>
                  <a:pt x="15" y="63"/>
                </a:lnTo>
                <a:lnTo>
                  <a:pt x="13" y="61"/>
                </a:lnTo>
                <a:lnTo>
                  <a:pt x="8" y="67"/>
                </a:lnTo>
                <a:lnTo>
                  <a:pt x="11" y="86"/>
                </a:lnTo>
                <a:lnTo>
                  <a:pt x="8" y="89"/>
                </a:lnTo>
                <a:lnTo>
                  <a:pt x="0" y="74"/>
                </a:lnTo>
                <a:lnTo>
                  <a:pt x="2" y="56"/>
                </a:lnTo>
                <a:lnTo>
                  <a:pt x="2" y="52"/>
                </a:lnTo>
                <a:lnTo>
                  <a:pt x="2" y="50"/>
                </a:lnTo>
                <a:lnTo>
                  <a:pt x="8" y="50"/>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52" name="Freeform 85">
            <a:extLst>
              <a:ext uri="{FF2B5EF4-FFF2-40B4-BE49-F238E27FC236}">
                <a16:creationId xmlns:a16="http://schemas.microsoft.com/office/drawing/2014/main" id="{7169F039-5DD9-43EA-BEBD-589127D477AD}"/>
              </a:ext>
            </a:extLst>
          </p:cNvPr>
          <p:cNvSpPr>
            <a:spLocks/>
          </p:cNvSpPr>
          <p:nvPr>
            <p:custDataLst>
              <p:tags r:id="rId76"/>
            </p:custDataLst>
          </p:nvPr>
        </p:nvSpPr>
        <p:spPr bwMode="auto">
          <a:xfrm>
            <a:off x="6138002" y="3530223"/>
            <a:ext cx="1006128" cy="918723"/>
          </a:xfrm>
          <a:custGeom>
            <a:avLst/>
            <a:gdLst>
              <a:gd name="T0" fmla="*/ 2147483647 w 497"/>
              <a:gd name="T1" fmla="*/ 2147483647 h 425"/>
              <a:gd name="T2" fmla="*/ 2147483647 w 497"/>
              <a:gd name="T3" fmla="*/ 2147483647 h 425"/>
              <a:gd name="T4" fmla="*/ 2147483647 w 497"/>
              <a:gd name="T5" fmla="*/ 2147483647 h 425"/>
              <a:gd name="T6" fmla="*/ 2147483647 w 497"/>
              <a:gd name="T7" fmla="*/ 2147483647 h 425"/>
              <a:gd name="T8" fmla="*/ 2147483647 w 497"/>
              <a:gd name="T9" fmla="*/ 2147483647 h 425"/>
              <a:gd name="T10" fmla="*/ 2147483647 w 497"/>
              <a:gd name="T11" fmla="*/ 2147483647 h 425"/>
              <a:gd name="T12" fmla="*/ 2147483647 w 497"/>
              <a:gd name="T13" fmla="*/ 2147483647 h 425"/>
              <a:gd name="T14" fmla="*/ 2147483647 w 497"/>
              <a:gd name="T15" fmla="*/ 2147483647 h 425"/>
              <a:gd name="T16" fmla="*/ 2147483647 w 497"/>
              <a:gd name="T17" fmla="*/ 2147483647 h 425"/>
              <a:gd name="T18" fmla="*/ 2147483647 w 497"/>
              <a:gd name="T19" fmla="*/ 2147483647 h 425"/>
              <a:gd name="T20" fmla="*/ 2147483647 w 497"/>
              <a:gd name="T21" fmla="*/ 2147483647 h 425"/>
              <a:gd name="T22" fmla="*/ 2147483647 w 497"/>
              <a:gd name="T23" fmla="*/ 2147483647 h 425"/>
              <a:gd name="T24" fmla="*/ 2147483647 w 497"/>
              <a:gd name="T25" fmla="*/ 2147483647 h 425"/>
              <a:gd name="T26" fmla="*/ 2147483647 w 497"/>
              <a:gd name="T27" fmla="*/ 2147483647 h 425"/>
              <a:gd name="T28" fmla="*/ 2147483647 w 497"/>
              <a:gd name="T29" fmla="*/ 2147483647 h 425"/>
              <a:gd name="T30" fmla="*/ 2147483647 w 497"/>
              <a:gd name="T31" fmla="*/ 2147483647 h 425"/>
              <a:gd name="T32" fmla="*/ 2147483647 w 497"/>
              <a:gd name="T33" fmla="*/ 2147483647 h 425"/>
              <a:gd name="T34" fmla="*/ 2147483647 w 497"/>
              <a:gd name="T35" fmla="*/ 2147483647 h 425"/>
              <a:gd name="T36" fmla="*/ 2147483647 w 497"/>
              <a:gd name="T37" fmla="*/ 2147483647 h 425"/>
              <a:gd name="T38" fmla="*/ 2147483647 w 497"/>
              <a:gd name="T39" fmla="*/ 2147483647 h 425"/>
              <a:gd name="T40" fmla="*/ 2147483647 w 497"/>
              <a:gd name="T41" fmla="*/ 2147483647 h 425"/>
              <a:gd name="T42" fmla="*/ 2147483647 w 497"/>
              <a:gd name="T43" fmla="*/ 2147483647 h 425"/>
              <a:gd name="T44" fmla="*/ 2147483647 w 497"/>
              <a:gd name="T45" fmla="*/ 2147483647 h 425"/>
              <a:gd name="T46" fmla="*/ 2147483647 w 497"/>
              <a:gd name="T47" fmla="*/ 2147483647 h 425"/>
              <a:gd name="T48" fmla="*/ 2147483647 w 497"/>
              <a:gd name="T49" fmla="*/ 2147483647 h 425"/>
              <a:gd name="T50" fmla="*/ 2147483647 w 497"/>
              <a:gd name="T51" fmla="*/ 2147483647 h 425"/>
              <a:gd name="T52" fmla="*/ 2147483647 w 497"/>
              <a:gd name="T53" fmla="*/ 2147483647 h 425"/>
              <a:gd name="T54" fmla="*/ 2147483647 w 497"/>
              <a:gd name="T55" fmla="*/ 2147483647 h 425"/>
              <a:gd name="T56" fmla="*/ 2147483647 w 497"/>
              <a:gd name="T57" fmla="*/ 2147483647 h 425"/>
              <a:gd name="T58" fmla="*/ 2147483647 w 497"/>
              <a:gd name="T59" fmla="*/ 2147483647 h 425"/>
              <a:gd name="T60" fmla="*/ 2147483647 w 497"/>
              <a:gd name="T61" fmla="*/ 2147483647 h 425"/>
              <a:gd name="T62" fmla="*/ 2147483647 w 497"/>
              <a:gd name="T63" fmla="*/ 2147483647 h 425"/>
              <a:gd name="T64" fmla="*/ 2147483647 w 497"/>
              <a:gd name="T65" fmla="*/ 2147483647 h 425"/>
              <a:gd name="T66" fmla="*/ 2147483647 w 497"/>
              <a:gd name="T67" fmla="*/ 2147483647 h 425"/>
              <a:gd name="T68" fmla="*/ 2147483647 w 497"/>
              <a:gd name="T69" fmla="*/ 2147483647 h 425"/>
              <a:gd name="T70" fmla="*/ 2147483647 w 497"/>
              <a:gd name="T71" fmla="*/ 2147483647 h 425"/>
              <a:gd name="T72" fmla="*/ 2147483647 w 497"/>
              <a:gd name="T73" fmla="*/ 0 h 425"/>
              <a:gd name="T74" fmla="*/ 2147483647 w 497"/>
              <a:gd name="T75" fmla="*/ 2147483647 h 425"/>
              <a:gd name="T76" fmla="*/ 2147483647 w 497"/>
              <a:gd name="T77" fmla="*/ 2147483647 h 425"/>
              <a:gd name="T78" fmla="*/ 2147483647 w 497"/>
              <a:gd name="T79" fmla="*/ 2147483647 h 425"/>
              <a:gd name="T80" fmla="*/ 2147483647 w 497"/>
              <a:gd name="T81" fmla="*/ 2147483647 h 425"/>
              <a:gd name="T82" fmla="*/ 2147483647 w 497"/>
              <a:gd name="T83" fmla="*/ 2147483647 h 425"/>
              <a:gd name="T84" fmla="*/ 2147483647 w 497"/>
              <a:gd name="T85" fmla="*/ 2147483647 h 425"/>
              <a:gd name="T86" fmla="*/ 2147483647 w 497"/>
              <a:gd name="T87" fmla="*/ 2147483647 h 425"/>
              <a:gd name="T88" fmla="*/ 2147483647 w 497"/>
              <a:gd name="T89" fmla="*/ 2147483647 h 425"/>
              <a:gd name="T90" fmla="*/ 2147483647 w 497"/>
              <a:gd name="T91" fmla="*/ 2147483647 h 425"/>
              <a:gd name="T92" fmla="*/ 2147483647 w 497"/>
              <a:gd name="T93" fmla="*/ 2147483647 h 425"/>
              <a:gd name="T94" fmla="*/ 2147483647 w 497"/>
              <a:gd name="T95" fmla="*/ 2147483647 h 425"/>
              <a:gd name="T96" fmla="*/ 2147483647 w 497"/>
              <a:gd name="T97" fmla="*/ 2147483647 h 425"/>
              <a:gd name="T98" fmla="*/ 2147483647 w 497"/>
              <a:gd name="T99" fmla="*/ 2147483647 h 425"/>
              <a:gd name="T100" fmla="*/ 2147483647 w 497"/>
              <a:gd name="T101" fmla="*/ 2147483647 h 425"/>
              <a:gd name="T102" fmla="*/ 2147483647 w 497"/>
              <a:gd name="T103" fmla="*/ 2147483647 h 425"/>
              <a:gd name="T104" fmla="*/ 2147483647 w 497"/>
              <a:gd name="T105" fmla="*/ 2147483647 h 425"/>
              <a:gd name="T106" fmla="*/ 2147483647 w 497"/>
              <a:gd name="T107" fmla="*/ 2147483647 h 425"/>
              <a:gd name="T108" fmla="*/ 2147483647 w 497"/>
              <a:gd name="T109" fmla="*/ 2147483647 h 425"/>
              <a:gd name="T110" fmla="*/ 2147483647 w 497"/>
              <a:gd name="T111" fmla="*/ 2147483647 h 425"/>
              <a:gd name="T112" fmla="*/ 2147483647 w 497"/>
              <a:gd name="T113" fmla="*/ 2147483647 h 425"/>
              <a:gd name="T114" fmla="*/ 2147483647 w 497"/>
              <a:gd name="T115" fmla="*/ 2147483647 h 425"/>
              <a:gd name="T116" fmla="*/ 2147483647 w 497"/>
              <a:gd name="T117" fmla="*/ 2147483647 h 425"/>
              <a:gd name="T118" fmla="*/ 2147483647 w 497"/>
              <a:gd name="T119" fmla="*/ 2147483647 h 42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7"/>
              <a:gd name="T181" fmla="*/ 0 h 425"/>
              <a:gd name="T182" fmla="*/ 497 w 497"/>
              <a:gd name="T183" fmla="*/ 425 h 42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7" h="425">
                <a:moveTo>
                  <a:pt x="497" y="328"/>
                </a:moveTo>
                <a:lnTo>
                  <a:pt x="494" y="337"/>
                </a:lnTo>
                <a:lnTo>
                  <a:pt x="492" y="337"/>
                </a:lnTo>
                <a:lnTo>
                  <a:pt x="492" y="341"/>
                </a:lnTo>
                <a:lnTo>
                  <a:pt x="492" y="343"/>
                </a:lnTo>
                <a:lnTo>
                  <a:pt x="494" y="343"/>
                </a:lnTo>
                <a:lnTo>
                  <a:pt x="494" y="345"/>
                </a:lnTo>
                <a:lnTo>
                  <a:pt x="494" y="347"/>
                </a:lnTo>
                <a:lnTo>
                  <a:pt x="492" y="347"/>
                </a:lnTo>
                <a:lnTo>
                  <a:pt x="490" y="350"/>
                </a:lnTo>
                <a:lnTo>
                  <a:pt x="492" y="354"/>
                </a:lnTo>
                <a:lnTo>
                  <a:pt x="492" y="358"/>
                </a:lnTo>
                <a:lnTo>
                  <a:pt x="490" y="363"/>
                </a:lnTo>
                <a:lnTo>
                  <a:pt x="490" y="365"/>
                </a:lnTo>
                <a:lnTo>
                  <a:pt x="484" y="365"/>
                </a:lnTo>
                <a:lnTo>
                  <a:pt x="482" y="360"/>
                </a:lnTo>
                <a:lnTo>
                  <a:pt x="479" y="360"/>
                </a:lnTo>
                <a:lnTo>
                  <a:pt x="477" y="360"/>
                </a:lnTo>
                <a:lnTo>
                  <a:pt x="475" y="369"/>
                </a:lnTo>
                <a:lnTo>
                  <a:pt x="475" y="373"/>
                </a:lnTo>
                <a:lnTo>
                  <a:pt x="475" y="378"/>
                </a:lnTo>
                <a:lnTo>
                  <a:pt x="471" y="378"/>
                </a:lnTo>
                <a:lnTo>
                  <a:pt x="469" y="376"/>
                </a:lnTo>
                <a:lnTo>
                  <a:pt x="471" y="373"/>
                </a:lnTo>
                <a:lnTo>
                  <a:pt x="469" y="373"/>
                </a:lnTo>
                <a:lnTo>
                  <a:pt x="471" y="369"/>
                </a:lnTo>
                <a:lnTo>
                  <a:pt x="469" y="367"/>
                </a:lnTo>
                <a:lnTo>
                  <a:pt x="466" y="367"/>
                </a:lnTo>
                <a:lnTo>
                  <a:pt x="464" y="367"/>
                </a:lnTo>
                <a:lnTo>
                  <a:pt x="464" y="369"/>
                </a:lnTo>
                <a:lnTo>
                  <a:pt x="466" y="373"/>
                </a:lnTo>
                <a:lnTo>
                  <a:pt x="469" y="376"/>
                </a:lnTo>
                <a:lnTo>
                  <a:pt x="466" y="378"/>
                </a:lnTo>
                <a:lnTo>
                  <a:pt x="469" y="382"/>
                </a:lnTo>
                <a:lnTo>
                  <a:pt x="469" y="384"/>
                </a:lnTo>
                <a:lnTo>
                  <a:pt x="466" y="386"/>
                </a:lnTo>
                <a:lnTo>
                  <a:pt x="462" y="386"/>
                </a:lnTo>
                <a:lnTo>
                  <a:pt x="462" y="391"/>
                </a:lnTo>
                <a:lnTo>
                  <a:pt x="466" y="393"/>
                </a:lnTo>
                <a:lnTo>
                  <a:pt x="466" y="395"/>
                </a:lnTo>
                <a:lnTo>
                  <a:pt x="462" y="397"/>
                </a:lnTo>
                <a:lnTo>
                  <a:pt x="458" y="397"/>
                </a:lnTo>
                <a:lnTo>
                  <a:pt x="458" y="399"/>
                </a:lnTo>
                <a:lnTo>
                  <a:pt x="462" y="401"/>
                </a:lnTo>
                <a:lnTo>
                  <a:pt x="464" y="406"/>
                </a:lnTo>
                <a:lnTo>
                  <a:pt x="464" y="408"/>
                </a:lnTo>
                <a:lnTo>
                  <a:pt x="460" y="410"/>
                </a:lnTo>
                <a:lnTo>
                  <a:pt x="460" y="412"/>
                </a:lnTo>
                <a:lnTo>
                  <a:pt x="458" y="417"/>
                </a:lnTo>
                <a:lnTo>
                  <a:pt x="458" y="419"/>
                </a:lnTo>
                <a:lnTo>
                  <a:pt x="436" y="423"/>
                </a:lnTo>
                <a:lnTo>
                  <a:pt x="415" y="425"/>
                </a:lnTo>
                <a:lnTo>
                  <a:pt x="406" y="425"/>
                </a:lnTo>
                <a:lnTo>
                  <a:pt x="410" y="414"/>
                </a:lnTo>
                <a:lnTo>
                  <a:pt x="412" y="412"/>
                </a:lnTo>
                <a:lnTo>
                  <a:pt x="415" y="412"/>
                </a:lnTo>
                <a:lnTo>
                  <a:pt x="417" y="410"/>
                </a:lnTo>
                <a:lnTo>
                  <a:pt x="417" y="408"/>
                </a:lnTo>
                <a:lnTo>
                  <a:pt x="421" y="406"/>
                </a:lnTo>
                <a:lnTo>
                  <a:pt x="425" y="401"/>
                </a:lnTo>
                <a:lnTo>
                  <a:pt x="425" y="397"/>
                </a:lnTo>
                <a:lnTo>
                  <a:pt x="430" y="397"/>
                </a:lnTo>
                <a:lnTo>
                  <a:pt x="430" y="395"/>
                </a:lnTo>
                <a:lnTo>
                  <a:pt x="428" y="393"/>
                </a:lnTo>
                <a:lnTo>
                  <a:pt x="430" y="386"/>
                </a:lnTo>
                <a:lnTo>
                  <a:pt x="428" y="384"/>
                </a:lnTo>
                <a:lnTo>
                  <a:pt x="425" y="384"/>
                </a:lnTo>
                <a:lnTo>
                  <a:pt x="421" y="382"/>
                </a:lnTo>
                <a:lnTo>
                  <a:pt x="425" y="380"/>
                </a:lnTo>
                <a:lnTo>
                  <a:pt x="421" y="380"/>
                </a:lnTo>
                <a:lnTo>
                  <a:pt x="419" y="378"/>
                </a:lnTo>
                <a:lnTo>
                  <a:pt x="415" y="378"/>
                </a:lnTo>
                <a:lnTo>
                  <a:pt x="389" y="378"/>
                </a:lnTo>
                <a:lnTo>
                  <a:pt x="371" y="380"/>
                </a:lnTo>
                <a:lnTo>
                  <a:pt x="348" y="380"/>
                </a:lnTo>
                <a:lnTo>
                  <a:pt x="328" y="382"/>
                </a:lnTo>
                <a:lnTo>
                  <a:pt x="322" y="382"/>
                </a:lnTo>
                <a:lnTo>
                  <a:pt x="304" y="382"/>
                </a:lnTo>
                <a:lnTo>
                  <a:pt x="272" y="384"/>
                </a:lnTo>
                <a:lnTo>
                  <a:pt x="242" y="384"/>
                </a:lnTo>
                <a:lnTo>
                  <a:pt x="225" y="384"/>
                </a:lnTo>
                <a:lnTo>
                  <a:pt x="218" y="386"/>
                </a:lnTo>
                <a:lnTo>
                  <a:pt x="186" y="386"/>
                </a:lnTo>
                <a:lnTo>
                  <a:pt x="184" y="386"/>
                </a:lnTo>
                <a:lnTo>
                  <a:pt x="164" y="386"/>
                </a:lnTo>
                <a:lnTo>
                  <a:pt x="143" y="386"/>
                </a:lnTo>
                <a:lnTo>
                  <a:pt x="125" y="391"/>
                </a:lnTo>
                <a:lnTo>
                  <a:pt x="86" y="391"/>
                </a:lnTo>
                <a:lnTo>
                  <a:pt x="86" y="373"/>
                </a:lnTo>
                <a:lnTo>
                  <a:pt x="86" y="365"/>
                </a:lnTo>
                <a:lnTo>
                  <a:pt x="86" y="343"/>
                </a:lnTo>
                <a:lnTo>
                  <a:pt x="86" y="335"/>
                </a:lnTo>
                <a:lnTo>
                  <a:pt x="86" y="311"/>
                </a:lnTo>
                <a:lnTo>
                  <a:pt x="86" y="309"/>
                </a:lnTo>
                <a:lnTo>
                  <a:pt x="86" y="281"/>
                </a:lnTo>
                <a:lnTo>
                  <a:pt x="86" y="278"/>
                </a:lnTo>
                <a:lnTo>
                  <a:pt x="84" y="246"/>
                </a:lnTo>
                <a:lnTo>
                  <a:pt x="84" y="244"/>
                </a:lnTo>
                <a:lnTo>
                  <a:pt x="84" y="211"/>
                </a:lnTo>
                <a:lnTo>
                  <a:pt x="84" y="203"/>
                </a:lnTo>
                <a:lnTo>
                  <a:pt x="84" y="179"/>
                </a:lnTo>
                <a:lnTo>
                  <a:pt x="84" y="170"/>
                </a:lnTo>
                <a:lnTo>
                  <a:pt x="84" y="151"/>
                </a:lnTo>
                <a:lnTo>
                  <a:pt x="84" y="145"/>
                </a:lnTo>
                <a:lnTo>
                  <a:pt x="84" y="140"/>
                </a:lnTo>
                <a:lnTo>
                  <a:pt x="82" y="140"/>
                </a:lnTo>
                <a:lnTo>
                  <a:pt x="78" y="138"/>
                </a:lnTo>
                <a:lnTo>
                  <a:pt x="76" y="138"/>
                </a:lnTo>
                <a:lnTo>
                  <a:pt x="71" y="136"/>
                </a:lnTo>
                <a:lnTo>
                  <a:pt x="69" y="136"/>
                </a:lnTo>
                <a:lnTo>
                  <a:pt x="69" y="132"/>
                </a:lnTo>
                <a:lnTo>
                  <a:pt x="65" y="129"/>
                </a:lnTo>
                <a:lnTo>
                  <a:pt x="61" y="123"/>
                </a:lnTo>
                <a:lnTo>
                  <a:pt x="65" y="119"/>
                </a:lnTo>
                <a:lnTo>
                  <a:pt x="61" y="119"/>
                </a:lnTo>
                <a:lnTo>
                  <a:pt x="58" y="117"/>
                </a:lnTo>
                <a:lnTo>
                  <a:pt x="56" y="114"/>
                </a:lnTo>
                <a:lnTo>
                  <a:pt x="52" y="112"/>
                </a:lnTo>
                <a:lnTo>
                  <a:pt x="52" y="108"/>
                </a:lnTo>
                <a:lnTo>
                  <a:pt x="50" y="106"/>
                </a:lnTo>
                <a:lnTo>
                  <a:pt x="45" y="104"/>
                </a:lnTo>
                <a:lnTo>
                  <a:pt x="52" y="101"/>
                </a:lnTo>
                <a:lnTo>
                  <a:pt x="52" y="97"/>
                </a:lnTo>
                <a:lnTo>
                  <a:pt x="54" y="95"/>
                </a:lnTo>
                <a:lnTo>
                  <a:pt x="56" y="91"/>
                </a:lnTo>
                <a:lnTo>
                  <a:pt x="58" y="86"/>
                </a:lnTo>
                <a:lnTo>
                  <a:pt x="61" y="86"/>
                </a:lnTo>
                <a:lnTo>
                  <a:pt x="65" y="86"/>
                </a:lnTo>
                <a:lnTo>
                  <a:pt x="65" y="84"/>
                </a:lnTo>
                <a:lnTo>
                  <a:pt x="61" y="84"/>
                </a:lnTo>
                <a:lnTo>
                  <a:pt x="58" y="82"/>
                </a:lnTo>
                <a:lnTo>
                  <a:pt x="61" y="82"/>
                </a:lnTo>
                <a:lnTo>
                  <a:pt x="65" y="80"/>
                </a:lnTo>
                <a:lnTo>
                  <a:pt x="61" y="75"/>
                </a:lnTo>
                <a:lnTo>
                  <a:pt x="58" y="75"/>
                </a:lnTo>
                <a:lnTo>
                  <a:pt x="58" y="71"/>
                </a:lnTo>
                <a:lnTo>
                  <a:pt x="56" y="71"/>
                </a:lnTo>
                <a:lnTo>
                  <a:pt x="54" y="71"/>
                </a:lnTo>
                <a:lnTo>
                  <a:pt x="52" y="73"/>
                </a:lnTo>
                <a:lnTo>
                  <a:pt x="50" y="73"/>
                </a:lnTo>
                <a:lnTo>
                  <a:pt x="43" y="71"/>
                </a:lnTo>
                <a:lnTo>
                  <a:pt x="41" y="69"/>
                </a:lnTo>
                <a:lnTo>
                  <a:pt x="39" y="67"/>
                </a:lnTo>
                <a:lnTo>
                  <a:pt x="35" y="63"/>
                </a:lnTo>
                <a:lnTo>
                  <a:pt x="32" y="58"/>
                </a:lnTo>
                <a:lnTo>
                  <a:pt x="28" y="58"/>
                </a:lnTo>
                <a:lnTo>
                  <a:pt x="26" y="56"/>
                </a:lnTo>
                <a:lnTo>
                  <a:pt x="26" y="54"/>
                </a:lnTo>
                <a:lnTo>
                  <a:pt x="26" y="52"/>
                </a:lnTo>
                <a:lnTo>
                  <a:pt x="24" y="50"/>
                </a:lnTo>
                <a:lnTo>
                  <a:pt x="22" y="47"/>
                </a:lnTo>
                <a:lnTo>
                  <a:pt x="22" y="41"/>
                </a:lnTo>
                <a:lnTo>
                  <a:pt x="17" y="37"/>
                </a:lnTo>
                <a:lnTo>
                  <a:pt x="11" y="34"/>
                </a:lnTo>
                <a:lnTo>
                  <a:pt x="9" y="34"/>
                </a:lnTo>
                <a:lnTo>
                  <a:pt x="9" y="32"/>
                </a:lnTo>
                <a:lnTo>
                  <a:pt x="11" y="32"/>
                </a:lnTo>
                <a:lnTo>
                  <a:pt x="11" y="30"/>
                </a:lnTo>
                <a:lnTo>
                  <a:pt x="9" y="30"/>
                </a:lnTo>
                <a:lnTo>
                  <a:pt x="9" y="24"/>
                </a:lnTo>
                <a:lnTo>
                  <a:pt x="4" y="17"/>
                </a:lnTo>
                <a:lnTo>
                  <a:pt x="7" y="15"/>
                </a:lnTo>
                <a:lnTo>
                  <a:pt x="7" y="13"/>
                </a:lnTo>
                <a:lnTo>
                  <a:pt x="7" y="9"/>
                </a:lnTo>
                <a:lnTo>
                  <a:pt x="7" y="13"/>
                </a:lnTo>
                <a:lnTo>
                  <a:pt x="2" y="13"/>
                </a:lnTo>
                <a:lnTo>
                  <a:pt x="0" y="13"/>
                </a:lnTo>
                <a:lnTo>
                  <a:pt x="0" y="6"/>
                </a:lnTo>
                <a:lnTo>
                  <a:pt x="26" y="6"/>
                </a:lnTo>
                <a:lnTo>
                  <a:pt x="39" y="6"/>
                </a:lnTo>
                <a:lnTo>
                  <a:pt x="58" y="6"/>
                </a:lnTo>
                <a:lnTo>
                  <a:pt x="78" y="6"/>
                </a:lnTo>
                <a:lnTo>
                  <a:pt x="91" y="6"/>
                </a:lnTo>
                <a:lnTo>
                  <a:pt x="108" y="6"/>
                </a:lnTo>
                <a:lnTo>
                  <a:pt x="123" y="6"/>
                </a:lnTo>
                <a:lnTo>
                  <a:pt x="140" y="6"/>
                </a:lnTo>
                <a:lnTo>
                  <a:pt x="156" y="4"/>
                </a:lnTo>
                <a:lnTo>
                  <a:pt x="168" y="4"/>
                </a:lnTo>
                <a:lnTo>
                  <a:pt x="188" y="4"/>
                </a:lnTo>
                <a:lnTo>
                  <a:pt x="216" y="2"/>
                </a:lnTo>
                <a:lnTo>
                  <a:pt x="220" y="2"/>
                </a:lnTo>
                <a:lnTo>
                  <a:pt x="240" y="2"/>
                </a:lnTo>
                <a:lnTo>
                  <a:pt x="253" y="0"/>
                </a:lnTo>
                <a:lnTo>
                  <a:pt x="270" y="0"/>
                </a:lnTo>
                <a:lnTo>
                  <a:pt x="285" y="0"/>
                </a:lnTo>
                <a:lnTo>
                  <a:pt x="287" y="2"/>
                </a:lnTo>
                <a:lnTo>
                  <a:pt x="287" y="4"/>
                </a:lnTo>
                <a:lnTo>
                  <a:pt x="292" y="4"/>
                </a:lnTo>
                <a:lnTo>
                  <a:pt x="292" y="6"/>
                </a:lnTo>
                <a:lnTo>
                  <a:pt x="296" y="9"/>
                </a:lnTo>
                <a:lnTo>
                  <a:pt x="298" y="13"/>
                </a:lnTo>
                <a:lnTo>
                  <a:pt x="300" y="13"/>
                </a:lnTo>
                <a:lnTo>
                  <a:pt x="300" y="15"/>
                </a:lnTo>
                <a:lnTo>
                  <a:pt x="300" y="17"/>
                </a:lnTo>
                <a:lnTo>
                  <a:pt x="302" y="17"/>
                </a:lnTo>
                <a:lnTo>
                  <a:pt x="304" y="17"/>
                </a:lnTo>
                <a:lnTo>
                  <a:pt x="304" y="19"/>
                </a:lnTo>
                <a:lnTo>
                  <a:pt x="302" y="24"/>
                </a:lnTo>
                <a:lnTo>
                  <a:pt x="302" y="32"/>
                </a:lnTo>
                <a:lnTo>
                  <a:pt x="302" y="37"/>
                </a:lnTo>
                <a:lnTo>
                  <a:pt x="302" y="41"/>
                </a:lnTo>
                <a:lnTo>
                  <a:pt x="302" y="50"/>
                </a:lnTo>
                <a:lnTo>
                  <a:pt x="304" y="54"/>
                </a:lnTo>
                <a:lnTo>
                  <a:pt x="307" y="58"/>
                </a:lnTo>
                <a:lnTo>
                  <a:pt x="311" y="63"/>
                </a:lnTo>
                <a:lnTo>
                  <a:pt x="311" y="65"/>
                </a:lnTo>
                <a:lnTo>
                  <a:pt x="307" y="65"/>
                </a:lnTo>
                <a:lnTo>
                  <a:pt x="307" y="67"/>
                </a:lnTo>
                <a:lnTo>
                  <a:pt x="313" y="71"/>
                </a:lnTo>
                <a:lnTo>
                  <a:pt x="315" y="75"/>
                </a:lnTo>
                <a:lnTo>
                  <a:pt x="315" y="80"/>
                </a:lnTo>
                <a:lnTo>
                  <a:pt x="317" y="84"/>
                </a:lnTo>
                <a:lnTo>
                  <a:pt x="328" y="91"/>
                </a:lnTo>
                <a:lnTo>
                  <a:pt x="330" y="95"/>
                </a:lnTo>
                <a:lnTo>
                  <a:pt x="335" y="97"/>
                </a:lnTo>
                <a:lnTo>
                  <a:pt x="337" y="101"/>
                </a:lnTo>
                <a:lnTo>
                  <a:pt x="339" y="104"/>
                </a:lnTo>
                <a:lnTo>
                  <a:pt x="348" y="108"/>
                </a:lnTo>
                <a:lnTo>
                  <a:pt x="354" y="114"/>
                </a:lnTo>
                <a:lnTo>
                  <a:pt x="361" y="117"/>
                </a:lnTo>
                <a:lnTo>
                  <a:pt x="363" y="121"/>
                </a:lnTo>
                <a:lnTo>
                  <a:pt x="363" y="123"/>
                </a:lnTo>
                <a:lnTo>
                  <a:pt x="365" y="127"/>
                </a:lnTo>
                <a:lnTo>
                  <a:pt x="365" y="132"/>
                </a:lnTo>
                <a:lnTo>
                  <a:pt x="367" y="136"/>
                </a:lnTo>
                <a:lnTo>
                  <a:pt x="365" y="138"/>
                </a:lnTo>
                <a:lnTo>
                  <a:pt x="365" y="140"/>
                </a:lnTo>
                <a:lnTo>
                  <a:pt x="369" y="151"/>
                </a:lnTo>
                <a:lnTo>
                  <a:pt x="371" y="155"/>
                </a:lnTo>
                <a:lnTo>
                  <a:pt x="378" y="155"/>
                </a:lnTo>
                <a:lnTo>
                  <a:pt x="380" y="153"/>
                </a:lnTo>
                <a:lnTo>
                  <a:pt x="382" y="149"/>
                </a:lnTo>
                <a:lnTo>
                  <a:pt x="387" y="147"/>
                </a:lnTo>
                <a:lnTo>
                  <a:pt x="395" y="151"/>
                </a:lnTo>
                <a:lnTo>
                  <a:pt x="397" y="151"/>
                </a:lnTo>
                <a:lnTo>
                  <a:pt x="399" y="151"/>
                </a:lnTo>
                <a:lnTo>
                  <a:pt x="406" y="155"/>
                </a:lnTo>
                <a:lnTo>
                  <a:pt x="410" y="158"/>
                </a:lnTo>
                <a:lnTo>
                  <a:pt x="410" y="162"/>
                </a:lnTo>
                <a:lnTo>
                  <a:pt x="410" y="164"/>
                </a:lnTo>
                <a:lnTo>
                  <a:pt x="406" y="164"/>
                </a:lnTo>
                <a:lnTo>
                  <a:pt x="404" y="168"/>
                </a:lnTo>
                <a:lnTo>
                  <a:pt x="404" y="170"/>
                </a:lnTo>
                <a:lnTo>
                  <a:pt x="404" y="173"/>
                </a:lnTo>
                <a:lnTo>
                  <a:pt x="406" y="179"/>
                </a:lnTo>
                <a:lnTo>
                  <a:pt x="402" y="183"/>
                </a:lnTo>
                <a:lnTo>
                  <a:pt x="399" y="186"/>
                </a:lnTo>
                <a:lnTo>
                  <a:pt x="399" y="188"/>
                </a:lnTo>
                <a:lnTo>
                  <a:pt x="399" y="196"/>
                </a:lnTo>
                <a:lnTo>
                  <a:pt x="397" y="201"/>
                </a:lnTo>
                <a:lnTo>
                  <a:pt x="395" y="203"/>
                </a:lnTo>
                <a:lnTo>
                  <a:pt x="395" y="205"/>
                </a:lnTo>
                <a:lnTo>
                  <a:pt x="395" y="216"/>
                </a:lnTo>
                <a:lnTo>
                  <a:pt x="397" y="218"/>
                </a:lnTo>
                <a:lnTo>
                  <a:pt x="399" y="220"/>
                </a:lnTo>
                <a:lnTo>
                  <a:pt x="404" y="227"/>
                </a:lnTo>
                <a:lnTo>
                  <a:pt x="406" y="229"/>
                </a:lnTo>
                <a:lnTo>
                  <a:pt x="412" y="231"/>
                </a:lnTo>
                <a:lnTo>
                  <a:pt x="415" y="233"/>
                </a:lnTo>
                <a:lnTo>
                  <a:pt x="419" y="235"/>
                </a:lnTo>
                <a:lnTo>
                  <a:pt x="421" y="237"/>
                </a:lnTo>
                <a:lnTo>
                  <a:pt x="428" y="237"/>
                </a:lnTo>
                <a:lnTo>
                  <a:pt x="425" y="244"/>
                </a:lnTo>
                <a:lnTo>
                  <a:pt x="428" y="246"/>
                </a:lnTo>
                <a:lnTo>
                  <a:pt x="432" y="246"/>
                </a:lnTo>
                <a:lnTo>
                  <a:pt x="434" y="246"/>
                </a:lnTo>
                <a:lnTo>
                  <a:pt x="434" y="244"/>
                </a:lnTo>
                <a:lnTo>
                  <a:pt x="445" y="248"/>
                </a:lnTo>
                <a:lnTo>
                  <a:pt x="447" y="250"/>
                </a:lnTo>
                <a:lnTo>
                  <a:pt x="447" y="253"/>
                </a:lnTo>
                <a:lnTo>
                  <a:pt x="449" y="259"/>
                </a:lnTo>
                <a:lnTo>
                  <a:pt x="453" y="261"/>
                </a:lnTo>
                <a:lnTo>
                  <a:pt x="460" y="261"/>
                </a:lnTo>
                <a:lnTo>
                  <a:pt x="460" y="263"/>
                </a:lnTo>
                <a:lnTo>
                  <a:pt x="460" y="265"/>
                </a:lnTo>
                <a:lnTo>
                  <a:pt x="462" y="268"/>
                </a:lnTo>
                <a:lnTo>
                  <a:pt x="460" y="272"/>
                </a:lnTo>
                <a:lnTo>
                  <a:pt x="464" y="281"/>
                </a:lnTo>
                <a:lnTo>
                  <a:pt x="466" y="283"/>
                </a:lnTo>
                <a:lnTo>
                  <a:pt x="469" y="287"/>
                </a:lnTo>
                <a:lnTo>
                  <a:pt x="469" y="294"/>
                </a:lnTo>
                <a:lnTo>
                  <a:pt x="466" y="294"/>
                </a:lnTo>
                <a:lnTo>
                  <a:pt x="464" y="296"/>
                </a:lnTo>
                <a:lnTo>
                  <a:pt x="462" y="298"/>
                </a:lnTo>
                <a:lnTo>
                  <a:pt x="464" y="300"/>
                </a:lnTo>
                <a:lnTo>
                  <a:pt x="464" y="302"/>
                </a:lnTo>
                <a:lnTo>
                  <a:pt x="466" y="302"/>
                </a:lnTo>
                <a:lnTo>
                  <a:pt x="466" y="304"/>
                </a:lnTo>
                <a:lnTo>
                  <a:pt x="469" y="311"/>
                </a:lnTo>
                <a:lnTo>
                  <a:pt x="471" y="313"/>
                </a:lnTo>
                <a:lnTo>
                  <a:pt x="475" y="315"/>
                </a:lnTo>
                <a:lnTo>
                  <a:pt x="475" y="319"/>
                </a:lnTo>
                <a:lnTo>
                  <a:pt x="479" y="326"/>
                </a:lnTo>
                <a:lnTo>
                  <a:pt x="482" y="326"/>
                </a:lnTo>
                <a:lnTo>
                  <a:pt x="484" y="324"/>
                </a:lnTo>
                <a:lnTo>
                  <a:pt x="479" y="319"/>
                </a:lnTo>
                <a:lnTo>
                  <a:pt x="479" y="317"/>
                </a:lnTo>
                <a:lnTo>
                  <a:pt x="482" y="315"/>
                </a:lnTo>
                <a:lnTo>
                  <a:pt x="482" y="317"/>
                </a:lnTo>
                <a:lnTo>
                  <a:pt x="484" y="319"/>
                </a:lnTo>
                <a:lnTo>
                  <a:pt x="486" y="324"/>
                </a:lnTo>
                <a:lnTo>
                  <a:pt x="490" y="326"/>
                </a:lnTo>
                <a:lnTo>
                  <a:pt x="494" y="326"/>
                </a:lnTo>
                <a:lnTo>
                  <a:pt x="497" y="328"/>
                </a:lnTo>
                <a:close/>
              </a:path>
            </a:pathLst>
          </a:custGeom>
          <a:noFill/>
          <a:ln w="9525">
            <a:noFill/>
            <a:round/>
            <a:headEnd/>
            <a:tailEnd/>
          </a:ln>
        </p:spPr>
        <p:txBody>
          <a:bodyPr/>
          <a:lstStyle/>
          <a:p>
            <a:endParaRPr lang="en-US" dirty="0">
              <a:solidFill>
                <a:prstClr val="black"/>
              </a:solidFill>
            </a:endParaRPr>
          </a:p>
        </p:txBody>
      </p:sp>
      <p:sp>
        <p:nvSpPr>
          <p:cNvPr id="253" name="Freeform 86">
            <a:extLst>
              <a:ext uri="{FF2B5EF4-FFF2-40B4-BE49-F238E27FC236}">
                <a16:creationId xmlns:a16="http://schemas.microsoft.com/office/drawing/2014/main" id="{67A0905E-5CC0-415B-8EDE-298EEA4D7970}"/>
              </a:ext>
            </a:extLst>
          </p:cNvPr>
          <p:cNvSpPr>
            <a:spLocks/>
          </p:cNvSpPr>
          <p:nvPr>
            <p:custDataLst>
              <p:tags r:id="rId77"/>
            </p:custDataLst>
          </p:nvPr>
        </p:nvSpPr>
        <p:spPr bwMode="auto">
          <a:xfrm>
            <a:off x="6138002" y="3530223"/>
            <a:ext cx="1006128" cy="918723"/>
          </a:xfrm>
          <a:custGeom>
            <a:avLst/>
            <a:gdLst>
              <a:gd name="T0" fmla="*/ 2147483647 w 497"/>
              <a:gd name="T1" fmla="*/ 2147483647 h 425"/>
              <a:gd name="T2" fmla="*/ 2147483647 w 497"/>
              <a:gd name="T3" fmla="*/ 2147483647 h 425"/>
              <a:gd name="T4" fmla="*/ 2147483647 w 497"/>
              <a:gd name="T5" fmla="*/ 2147483647 h 425"/>
              <a:gd name="T6" fmla="*/ 2147483647 w 497"/>
              <a:gd name="T7" fmla="*/ 2147483647 h 425"/>
              <a:gd name="T8" fmla="*/ 2147483647 w 497"/>
              <a:gd name="T9" fmla="*/ 2147483647 h 425"/>
              <a:gd name="T10" fmla="*/ 2147483647 w 497"/>
              <a:gd name="T11" fmla="*/ 2147483647 h 425"/>
              <a:gd name="T12" fmla="*/ 2147483647 w 497"/>
              <a:gd name="T13" fmla="*/ 2147483647 h 425"/>
              <a:gd name="T14" fmla="*/ 2147483647 w 497"/>
              <a:gd name="T15" fmla="*/ 2147483647 h 425"/>
              <a:gd name="T16" fmla="*/ 2147483647 w 497"/>
              <a:gd name="T17" fmla="*/ 2147483647 h 425"/>
              <a:gd name="T18" fmla="*/ 2147483647 w 497"/>
              <a:gd name="T19" fmla="*/ 2147483647 h 425"/>
              <a:gd name="T20" fmla="*/ 2147483647 w 497"/>
              <a:gd name="T21" fmla="*/ 2147483647 h 425"/>
              <a:gd name="T22" fmla="*/ 2147483647 w 497"/>
              <a:gd name="T23" fmla="*/ 2147483647 h 425"/>
              <a:gd name="T24" fmla="*/ 2147483647 w 497"/>
              <a:gd name="T25" fmla="*/ 2147483647 h 425"/>
              <a:gd name="T26" fmla="*/ 2147483647 w 497"/>
              <a:gd name="T27" fmla="*/ 2147483647 h 425"/>
              <a:gd name="T28" fmla="*/ 2147483647 w 497"/>
              <a:gd name="T29" fmla="*/ 2147483647 h 425"/>
              <a:gd name="T30" fmla="*/ 2147483647 w 497"/>
              <a:gd name="T31" fmla="*/ 2147483647 h 425"/>
              <a:gd name="T32" fmla="*/ 2147483647 w 497"/>
              <a:gd name="T33" fmla="*/ 2147483647 h 425"/>
              <a:gd name="T34" fmla="*/ 2147483647 w 497"/>
              <a:gd name="T35" fmla="*/ 2147483647 h 425"/>
              <a:gd name="T36" fmla="*/ 2147483647 w 497"/>
              <a:gd name="T37" fmla="*/ 2147483647 h 425"/>
              <a:gd name="T38" fmla="*/ 2147483647 w 497"/>
              <a:gd name="T39" fmla="*/ 2147483647 h 425"/>
              <a:gd name="T40" fmla="*/ 2147483647 w 497"/>
              <a:gd name="T41" fmla="*/ 2147483647 h 425"/>
              <a:gd name="T42" fmla="*/ 2147483647 w 497"/>
              <a:gd name="T43" fmla="*/ 2147483647 h 425"/>
              <a:gd name="T44" fmla="*/ 2147483647 w 497"/>
              <a:gd name="T45" fmla="*/ 2147483647 h 425"/>
              <a:gd name="T46" fmla="*/ 2147483647 w 497"/>
              <a:gd name="T47" fmla="*/ 2147483647 h 425"/>
              <a:gd name="T48" fmla="*/ 2147483647 w 497"/>
              <a:gd name="T49" fmla="*/ 2147483647 h 425"/>
              <a:gd name="T50" fmla="*/ 2147483647 w 497"/>
              <a:gd name="T51" fmla="*/ 2147483647 h 425"/>
              <a:gd name="T52" fmla="*/ 2147483647 w 497"/>
              <a:gd name="T53" fmla="*/ 2147483647 h 425"/>
              <a:gd name="T54" fmla="*/ 2147483647 w 497"/>
              <a:gd name="T55" fmla="*/ 2147483647 h 425"/>
              <a:gd name="T56" fmla="*/ 2147483647 w 497"/>
              <a:gd name="T57" fmla="*/ 2147483647 h 425"/>
              <a:gd name="T58" fmla="*/ 2147483647 w 497"/>
              <a:gd name="T59" fmla="*/ 2147483647 h 425"/>
              <a:gd name="T60" fmla="*/ 2147483647 w 497"/>
              <a:gd name="T61" fmla="*/ 2147483647 h 425"/>
              <a:gd name="T62" fmla="*/ 2147483647 w 497"/>
              <a:gd name="T63" fmla="*/ 2147483647 h 425"/>
              <a:gd name="T64" fmla="*/ 2147483647 w 497"/>
              <a:gd name="T65" fmla="*/ 2147483647 h 425"/>
              <a:gd name="T66" fmla="*/ 2147483647 w 497"/>
              <a:gd name="T67" fmla="*/ 2147483647 h 425"/>
              <a:gd name="T68" fmla="*/ 2147483647 w 497"/>
              <a:gd name="T69" fmla="*/ 2147483647 h 425"/>
              <a:gd name="T70" fmla="*/ 2147483647 w 497"/>
              <a:gd name="T71" fmla="*/ 2147483647 h 425"/>
              <a:gd name="T72" fmla="*/ 2147483647 w 497"/>
              <a:gd name="T73" fmla="*/ 0 h 425"/>
              <a:gd name="T74" fmla="*/ 2147483647 w 497"/>
              <a:gd name="T75" fmla="*/ 2147483647 h 425"/>
              <a:gd name="T76" fmla="*/ 2147483647 w 497"/>
              <a:gd name="T77" fmla="*/ 2147483647 h 425"/>
              <a:gd name="T78" fmla="*/ 2147483647 w 497"/>
              <a:gd name="T79" fmla="*/ 2147483647 h 425"/>
              <a:gd name="T80" fmla="*/ 2147483647 w 497"/>
              <a:gd name="T81" fmla="*/ 2147483647 h 425"/>
              <a:gd name="T82" fmla="*/ 2147483647 w 497"/>
              <a:gd name="T83" fmla="*/ 2147483647 h 425"/>
              <a:gd name="T84" fmla="*/ 2147483647 w 497"/>
              <a:gd name="T85" fmla="*/ 2147483647 h 425"/>
              <a:gd name="T86" fmla="*/ 2147483647 w 497"/>
              <a:gd name="T87" fmla="*/ 2147483647 h 425"/>
              <a:gd name="T88" fmla="*/ 2147483647 w 497"/>
              <a:gd name="T89" fmla="*/ 2147483647 h 425"/>
              <a:gd name="T90" fmla="*/ 2147483647 w 497"/>
              <a:gd name="T91" fmla="*/ 2147483647 h 425"/>
              <a:gd name="T92" fmla="*/ 2147483647 w 497"/>
              <a:gd name="T93" fmla="*/ 2147483647 h 425"/>
              <a:gd name="T94" fmla="*/ 2147483647 w 497"/>
              <a:gd name="T95" fmla="*/ 2147483647 h 425"/>
              <a:gd name="T96" fmla="*/ 2147483647 w 497"/>
              <a:gd name="T97" fmla="*/ 2147483647 h 425"/>
              <a:gd name="T98" fmla="*/ 2147483647 w 497"/>
              <a:gd name="T99" fmla="*/ 2147483647 h 425"/>
              <a:gd name="T100" fmla="*/ 2147483647 w 497"/>
              <a:gd name="T101" fmla="*/ 2147483647 h 425"/>
              <a:gd name="T102" fmla="*/ 2147483647 w 497"/>
              <a:gd name="T103" fmla="*/ 2147483647 h 425"/>
              <a:gd name="T104" fmla="*/ 2147483647 w 497"/>
              <a:gd name="T105" fmla="*/ 2147483647 h 425"/>
              <a:gd name="T106" fmla="*/ 2147483647 w 497"/>
              <a:gd name="T107" fmla="*/ 2147483647 h 425"/>
              <a:gd name="T108" fmla="*/ 2147483647 w 497"/>
              <a:gd name="T109" fmla="*/ 2147483647 h 425"/>
              <a:gd name="T110" fmla="*/ 2147483647 w 497"/>
              <a:gd name="T111" fmla="*/ 2147483647 h 425"/>
              <a:gd name="T112" fmla="*/ 2147483647 w 497"/>
              <a:gd name="T113" fmla="*/ 2147483647 h 425"/>
              <a:gd name="T114" fmla="*/ 2147483647 w 497"/>
              <a:gd name="T115" fmla="*/ 2147483647 h 425"/>
              <a:gd name="T116" fmla="*/ 2147483647 w 497"/>
              <a:gd name="T117" fmla="*/ 2147483647 h 425"/>
              <a:gd name="T118" fmla="*/ 2147483647 w 497"/>
              <a:gd name="T119" fmla="*/ 2147483647 h 42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7"/>
              <a:gd name="T181" fmla="*/ 0 h 425"/>
              <a:gd name="T182" fmla="*/ 497 w 497"/>
              <a:gd name="T183" fmla="*/ 425 h 42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7" h="425">
                <a:moveTo>
                  <a:pt x="497" y="328"/>
                </a:moveTo>
                <a:lnTo>
                  <a:pt x="494" y="337"/>
                </a:lnTo>
                <a:lnTo>
                  <a:pt x="492" y="337"/>
                </a:lnTo>
                <a:lnTo>
                  <a:pt x="492" y="341"/>
                </a:lnTo>
                <a:lnTo>
                  <a:pt x="492" y="343"/>
                </a:lnTo>
                <a:lnTo>
                  <a:pt x="494" y="343"/>
                </a:lnTo>
                <a:lnTo>
                  <a:pt x="494" y="345"/>
                </a:lnTo>
                <a:lnTo>
                  <a:pt x="494" y="347"/>
                </a:lnTo>
                <a:lnTo>
                  <a:pt x="492" y="347"/>
                </a:lnTo>
                <a:lnTo>
                  <a:pt x="490" y="350"/>
                </a:lnTo>
                <a:lnTo>
                  <a:pt x="492" y="354"/>
                </a:lnTo>
                <a:lnTo>
                  <a:pt x="492" y="358"/>
                </a:lnTo>
                <a:lnTo>
                  <a:pt x="490" y="363"/>
                </a:lnTo>
                <a:lnTo>
                  <a:pt x="490" y="365"/>
                </a:lnTo>
                <a:lnTo>
                  <a:pt x="484" y="365"/>
                </a:lnTo>
                <a:lnTo>
                  <a:pt x="482" y="360"/>
                </a:lnTo>
                <a:lnTo>
                  <a:pt x="479" y="360"/>
                </a:lnTo>
                <a:lnTo>
                  <a:pt x="477" y="360"/>
                </a:lnTo>
                <a:lnTo>
                  <a:pt x="475" y="369"/>
                </a:lnTo>
                <a:lnTo>
                  <a:pt x="475" y="373"/>
                </a:lnTo>
                <a:lnTo>
                  <a:pt x="475" y="378"/>
                </a:lnTo>
                <a:lnTo>
                  <a:pt x="471" y="378"/>
                </a:lnTo>
                <a:lnTo>
                  <a:pt x="469" y="376"/>
                </a:lnTo>
                <a:lnTo>
                  <a:pt x="471" y="373"/>
                </a:lnTo>
                <a:lnTo>
                  <a:pt x="469" y="373"/>
                </a:lnTo>
                <a:lnTo>
                  <a:pt x="471" y="369"/>
                </a:lnTo>
                <a:lnTo>
                  <a:pt x="469" y="367"/>
                </a:lnTo>
                <a:lnTo>
                  <a:pt x="466" y="367"/>
                </a:lnTo>
                <a:lnTo>
                  <a:pt x="464" y="367"/>
                </a:lnTo>
                <a:lnTo>
                  <a:pt x="464" y="369"/>
                </a:lnTo>
                <a:lnTo>
                  <a:pt x="466" y="373"/>
                </a:lnTo>
                <a:lnTo>
                  <a:pt x="469" y="376"/>
                </a:lnTo>
                <a:lnTo>
                  <a:pt x="466" y="378"/>
                </a:lnTo>
                <a:lnTo>
                  <a:pt x="469" y="382"/>
                </a:lnTo>
                <a:lnTo>
                  <a:pt x="469" y="384"/>
                </a:lnTo>
                <a:lnTo>
                  <a:pt x="466" y="386"/>
                </a:lnTo>
                <a:lnTo>
                  <a:pt x="462" y="386"/>
                </a:lnTo>
                <a:lnTo>
                  <a:pt x="462" y="391"/>
                </a:lnTo>
                <a:lnTo>
                  <a:pt x="466" y="393"/>
                </a:lnTo>
                <a:lnTo>
                  <a:pt x="466" y="395"/>
                </a:lnTo>
                <a:lnTo>
                  <a:pt x="462" y="397"/>
                </a:lnTo>
                <a:lnTo>
                  <a:pt x="458" y="397"/>
                </a:lnTo>
                <a:lnTo>
                  <a:pt x="458" y="399"/>
                </a:lnTo>
                <a:lnTo>
                  <a:pt x="462" y="401"/>
                </a:lnTo>
                <a:lnTo>
                  <a:pt x="464" y="406"/>
                </a:lnTo>
                <a:lnTo>
                  <a:pt x="464" y="408"/>
                </a:lnTo>
                <a:lnTo>
                  <a:pt x="460" y="410"/>
                </a:lnTo>
                <a:lnTo>
                  <a:pt x="460" y="412"/>
                </a:lnTo>
                <a:lnTo>
                  <a:pt x="458" y="417"/>
                </a:lnTo>
                <a:lnTo>
                  <a:pt x="458" y="419"/>
                </a:lnTo>
                <a:lnTo>
                  <a:pt x="436" y="423"/>
                </a:lnTo>
                <a:lnTo>
                  <a:pt x="415" y="425"/>
                </a:lnTo>
                <a:lnTo>
                  <a:pt x="406" y="425"/>
                </a:lnTo>
                <a:lnTo>
                  <a:pt x="410" y="414"/>
                </a:lnTo>
                <a:lnTo>
                  <a:pt x="412" y="412"/>
                </a:lnTo>
                <a:lnTo>
                  <a:pt x="415" y="412"/>
                </a:lnTo>
                <a:lnTo>
                  <a:pt x="417" y="410"/>
                </a:lnTo>
                <a:lnTo>
                  <a:pt x="417" y="408"/>
                </a:lnTo>
                <a:lnTo>
                  <a:pt x="421" y="406"/>
                </a:lnTo>
                <a:lnTo>
                  <a:pt x="425" y="401"/>
                </a:lnTo>
                <a:lnTo>
                  <a:pt x="425" y="397"/>
                </a:lnTo>
                <a:lnTo>
                  <a:pt x="430" y="397"/>
                </a:lnTo>
                <a:lnTo>
                  <a:pt x="430" y="395"/>
                </a:lnTo>
                <a:lnTo>
                  <a:pt x="428" y="393"/>
                </a:lnTo>
                <a:lnTo>
                  <a:pt x="430" y="386"/>
                </a:lnTo>
                <a:lnTo>
                  <a:pt x="428" y="384"/>
                </a:lnTo>
                <a:lnTo>
                  <a:pt x="425" y="384"/>
                </a:lnTo>
                <a:lnTo>
                  <a:pt x="421" y="382"/>
                </a:lnTo>
                <a:lnTo>
                  <a:pt x="425" y="380"/>
                </a:lnTo>
                <a:lnTo>
                  <a:pt x="421" y="380"/>
                </a:lnTo>
                <a:lnTo>
                  <a:pt x="419" y="378"/>
                </a:lnTo>
                <a:lnTo>
                  <a:pt x="415" y="378"/>
                </a:lnTo>
                <a:lnTo>
                  <a:pt x="389" y="378"/>
                </a:lnTo>
                <a:lnTo>
                  <a:pt x="371" y="380"/>
                </a:lnTo>
                <a:lnTo>
                  <a:pt x="348" y="380"/>
                </a:lnTo>
                <a:lnTo>
                  <a:pt x="328" y="382"/>
                </a:lnTo>
                <a:lnTo>
                  <a:pt x="322" y="382"/>
                </a:lnTo>
                <a:lnTo>
                  <a:pt x="304" y="382"/>
                </a:lnTo>
                <a:lnTo>
                  <a:pt x="272" y="384"/>
                </a:lnTo>
                <a:lnTo>
                  <a:pt x="242" y="384"/>
                </a:lnTo>
                <a:lnTo>
                  <a:pt x="225" y="384"/>
                </a:lnTo>
                <a:lnTo>
                  <a:pt x="218" y="386"/>
                </a:lnTo>
                <a:lnTo>
                  <a:pt x="186" y="386"/>
                </a:lnTo>
                <a:lnTo>
                  <a:pt x="184" y="386"/>
                </a:lnTo>
                <a:lnTo>
                  <a:pt x="164" y="386"/>
                </a:lnTo>
                <a:lnTo>
                  <a:pt x="143" y="386"/>
                </a:lnTo>
                <a:lnTo>
                  <a:pt x="125" y="391"/>
                </a:lnTo>
                <a:lnTo>
                  <a:pt x="86" y="391"/>
                </a:lnTo>
                <a:lnTo>
                  <a:pt x="86" y="373"/>
                </a:lnTo>
                <a:lnTo>
                  <a:pt x="86" y="365"/>
                </a:lnTo>
                <a:lnTo>
                  <a:pt x="86" y="343"/>
                </a:lnTo>
                <a:lnTo>
                  <a:pt x="86" y="335"/>
                </a:lnTo>
                <a:lnTo>
                  <a:pt x="86" y="311"/>
                </a:lnTo>
                <a:lnTo>
                  <a:pt x="86" y="309"/>
                </a:lnTo>
                <a:lnTo>
                  <a:pt x="86" y="281"/>
                </a:lnTo>
                <a:lnTo>
                  <a:pt x="86" y="278"/>
                </a:lnTo>
                <a:lnTo>
                  <a:pt x="84" y="246"/>
                </a:lnTo>
                <a:lnTo>
                  <a:pt x="84" y="244"/>
                </a:lnTo>
                <a:lnTo>
                  <a:pt x="84" y="211"/>
                </a:lnTo>
                <a:lnTo>
                  <a:pt x="84" y="203"/>
                </a:lnTo>
                <a:lnTo>
                  <a:pt x="84" y="179"/>
                </a:lnTo>
                <a:lnTo>
                  <a:pt x="84" y="170"/>
                </a:lnTo>
                <a:lnTo>
                  <a:pt x="84" y="151"/>
                </a:lnTo>
                <a:lnTo>
                  <a:pt x="84" y="145"/>
                </a:lnTo>
                <a:lnTo>
                  <a:pt x="84" y="140"/>
                </a:lnTo>
                <a:lnTo>
                  <a:pt x="82" y="140"/>
                </a:lnTo>
                <a:lnTo>
                  <a:pt x="78" y="138"/>
                </a:lnTo>
                <a:lnTo>
                  <a:pt x="76" y="138"/>
                </a:lnTo>
                <a:lnTo>
                  <a:pt x="71" y="136"/>
                </a:lnTo>
                <a:lnTo>
                  <a:pt x="69" y="136"/>
                </a:lnTo>
                <a:lnTo>
                  <a:pt x="69" y="132"/>
                </a:lnTo>
                <a:lnTo>
                  <a:pt x="65" y="129"/>
                </a:lnTo>
                <a:lnTo>
                  <a:pt x="61" y="123"/>
                </a:lnTo>
                <a:lnTo>
                  <a:pt x="65" y="119"/>
                </a:lnTo>
                <a:lnTo>
                  <a:pt x="61" y="119"/>
                </a:lnTo>
                <a:lnTo>
                  <a:pt x="58" y="117"/>
                </a:lnTo>
                <a:lnTo>
                  <a:pt x="56" y="114"/>
                </a:lnTo>
                <a:lnTo>
                  <a:pt x="52" y="112"/>
                </a:lnTo>
                <a:lnTo>
                  <a:pt x="52" y="108"/>
                </a:lnTo>
                <a:lnTo>
                  <a:pt x="50" y="106"/>
                </a:lnTo>
                <a:lnTo>
                  <a:pt x="45" y="104"/>
                </a:lnTo>
                <a:lnTo>
                  <a:pt x="52" y="101"/>
                </a:lnTo>
                <a:lnTo>
                  <a:pt x="52" y="97"/>
                </a:lnTo>
                <a:lnTo>
                  <a:pt x="54" y="95"/>
                </a:lnTo>
                <a:lnTo>
                  <a:pt x="56" y="91"/>
                </a:lnTo>
                <a:lnTo>
                  <a:pt x="58" y="86"/>
                </a:lnTo>
                <a:lnTo>
                  <a:pt x="61" y="86"/>
                </a:lnTo>
                <a:lnTo>
                  <a:pt x="65" y="86"/>
                </a:lnTo>
                <a:lnTo>
                  <a:pt x="65" y="84"/>
                </a:lnTo>
                <a:lnTo>
                  <a:pt x="61" y="84"/>
                </a:lnTo>
                <a:lnTo>
                  <a:pt x="58" y="82"/>
                </a:lnTo>
                <a:lnTo>
                  <a:pt x="61" y="82"/>
                </a:lnTo>
                <a:lnTo>
                  <a:pt x="65" y="80"/>
                </a:lnTo>
                <a:lnTo>
                  <a:pt x="61" y="75"/>
                </a:lnTo>
                <a:lnTo>
                  <a:pt x="58" y="75"/>
                </a:lnTo>
                <a:lnTo>
                  <a:pt x="58" y="71"/>
                </a:lnTo>
                <a:lnTo>
                  <a:pt x="56" y="71"/>
                </a:lnTo>
                <a:lnTo>
                  <a:pt x="54" y="71"/>
                </a:lnTo>
                <a:lnTo>
                  <a:pt x="52" y="73"/>
                </a:lnTo>
                <a:lnTo>
                  <a:pt x="50" y="73"/>
                </a:lnTo>
                <a:lnTo>
                  <a:pt x="43" y="71"/>
                </a:lnTo>
                <a:lnTo>
                  <a:pt x="41" y="69"/>
                </a:lnTo>
                <a:lnTo>
                  <a:pt x="39" y="67"/>
                </a:lnTo>
                <a:lnTo>
                  <a:pt x="35" y="63"/>
                </a:lnTo>
                <a:lnTo>
                  <a:pt x="32" y="58"/>
                </a:lnTo>
                <a:lnTo>
                  <a:pt x="28" y="58"/>
                </a:lnTo>
                <a:lnTo>
                  <a:pt x="26" y="56"/>
                </a:lnTo>
                <a:lnTo>
                  <a:pt x="26" y="54"/>
                </a:lnTo>
                <a:lnTo>
                  <a:pt x="26" y="52"/>
                </a:lnTo>
                <a:lnTo>
                  <a:pt x="24" y="50"/>
                </a:lnTo>
                <a:lnTo>
                  <a:pt x="22" y="47"/>
                </a:lnTo>
                <a:lnTo>
                  <a:pt x="22" y="41"/>
                </a:lnTo>
                <a:lnTo>
                  <a:pt x="17" y="37"/>
                </a:lnTo>
                <a:lnTo>
                  <a:pt x="11" y="34"/>
                </a:lnTo>
                <a:lnTo>
                  <a:pt x="9" y="34"/>
                </a:lnTo>
                <a:lnTo>
                  <a:pt x="9" y="32"/>
                </a:lnTo>
                <a:lnTo>
                  <a:pt x="11" y="32"/>
                </a:lnTo>
                <a:lnTo>
                  <a:pt x="11" y="30"/>
                </a:lnTo>
                <a:lnTo>
                  <a:pt x="9" y="30"/>
                </a:lnTo>
                <a:lnTo>
                  <a:pt x="9" y="24"/>
                </a:lnTo>
                <a:lnTo>
                  <a:pt x="4" y="17"/>
                </a:lnTo>
                <a:lnTo>
                  <a:pt x="7" y="15"/>
                </a:lnTo>
                <a:lnTo>
                  <a:pt x="7" y="13"/>
                </a:lnTo>
                <a:lnTo>
                  <a:pt x="7" y="9"/>
                </a:lnTo>
                <a:lnTo>
                  <a:pt x="7" y="13"/>
                </a:lnTo>
                <a:lnTo>
                  <a:pt x="2" y="13"/>
                </a:lnTo>
                <a:lnTo>
                  <a:pt x="0" y="13"/>
                </a:lnTo>
                <a:lnTo>
                  <a:pt x="0" y="6"/>
                </a:lnTo>
                <a:lnTo>
                  <a:pt x="26" y="6"/>
                </a:lnTo>
                <a:lnTo>
                  <a:pt x="39" y="6"/>
                </a:lnTo>
                <a:lnTo>
                  <a:pt x="58" y="6"/>
                </a:lnTo>
                <a:lnTo>
                  <a:pt x="78" y="6"/>
                </a:lnTo>
                <a:lnTo>
                  <a:pt x="91" y="6"/>
                </a:lnTo>
                <a:lnTo>
                  <a:pt x="108" y="6"/>
                </a:lnTo>
                <a:lnTo>
                  <a:pt x="123" y="6"/>
                </a:lnTo>
                <a:lnTo>
                  <a:pt x="140" y="6"/>
                </a:lnTo>
                <a:lnTo>
                  <a:pt x="156" y="4"/>
                </a:lnTo>
                <a:lnTo>
                  <a:pt x="168" y="4"/>
                </a:lnTo>
                <a:lnTo>
                  <a:pt x="188" y="4"/>
                </a:lnTo>
                <a:lnTo>
                  <a:pt x="216" y="2"/>
                </a:lnTo>
                <a:lnTo>
                  <a:pt x="220" y="2"/>
                </a:lnTo>
                <a:lnTo>
                  <a:pt x="240" y="2"/>
                </a:lnTo>
                <a:lnTo>
                  <a:pt x="253" y="0"/>
                </a:lnTo>
                <a:lnTo>
                  <a:pt x="270" y="0"/>
                </a:lnTo>
                <a:lnTo>
                  <a:pt x="285" y="0"/>
                </a:lnTo>
                <a:lnTo>
                  <a:pt x="287" y="2"/>
                </a:lnTo>
                <a:lnTo>
                  <a:pt x="287" y="4"/>
                </a:lnTo>
                <a:lnTo>
                  <a:pt x="292" y="4"/>
                </a:lnTo>
                <a:lnTo>
                  <a:pt x="292" y="6"/>
                </a:lnTo>
                <a:lnTo>
                  <a:pt x="296" y="9"/>
                </a:lnTo>
                <a:lnTo>
                  <a:pt x="298" y="13"/>
                </a:lnTo>
                <a:lnTo>
                  <a:pt x="300" y="13"/>
                </a:lnTo>
                <a:lnTo>
                  <a:pt x="300" y="15"/>
                </a:lnTo>
                <a:lnTo>
                  <a:pt x="300" y="17"/>
                </a:lnTo>
                <a:lnTo>
                  <a:pt x="302" y="17"/>
                </a:lnTo>
                <a:lnTo>
                  <a:pt x="304" y="17"/>
                </a:lnTo>
                <a:lnTo>
                  <a:pt x="304" y="19"/>
                </a:lnTo>
                <a:lnTo>
                  <a:pt x="302" y="24"/>
                </a:lnTo>
                <a:lnTo>
                  <a:pt x="302" y="32"/>
                </a:lnTo>
                <a:lnTo>
                  <a:pt x="302" y="37"/>
                </a:lnTo>
                <a:lnTo>
                  <a:pt x="302" y="41"/>
                </a:lnTo>
                <a:lnTo>
                  <a:pt x="302" y="50"/>
                </a:lnTo>
                <a:lnTo>
                  <a:pt x="304" y="54"/>
                </a:lnTo>
                <a:lnTo>
                  <a:pt x="307" y="58"/>
                </a:lnTo>
                <a:lnTo>
                  <a:pt x="311" y="63"/>
                </a:lnTo>
                <a:lnTo>
                  <a:pt x="311" y="65"/>
                </a:lnTo>
                <a:lnTo>
                  <a:pt x="307" y="65"/>
                </a:lnTo>
                <a:lnTo>
                  <a:pt x="307" y="67"/>
                </a:lnTo>
                <a:lnTo>
                  <a:pt x="313" y="71"/>
                </a:lnTo>
                <a:lnTo>
                  <a:pt x="315" y="75"/>
                </a:lnTo>
                <a:lnTo>
                  <a:pt x="315" y="80"/>
                </a:lnTo>
                <a:lnTo>
                  <a:pt x="317" y="84"/>
                </a:lnTo>
                <a:lnTo>
                  <a:pt x="328" y="91"/>
                </a:lnTo>
                <a:lnTo>
                  <a:pt x="330" y="95"/>
                </a:lnTo>
                <a:lnTo>
                  <a:pt x="335" y="97"/>
                </a:lnTo>
                <a:lnTo>
                  <a:pt x="337" y="101"/>
                </a:lnTo>
                <a:lnTo>
                  <a:pt x="339" y="104"/>
                </a:lnTo>
                <a:lnTo>
                  <a:pt x="348" y="108"/>
                </a:lnTo>
                <a:lnTo>
                  <a:pt x="354" y="114"/>
                </a:lnTo>
                <a:lnTo>
                  <a:pt x="361" y="117"/>
                </a:lnTo>
                <a:lnTo>
                  <a:pt x="363" y="121"/>
                </a:lnTo>
                <a:lnTo>
                  <a:pt x="363" y="123"/>
                </a:lnTo>
                <a:lnTo>
                  <a:pt x="365" y="127"/>
                </a:lnTo>
                <a:lnTo>
                  <a:pt x="365" y="132"/>
                </a:lnTo>
                <a:lnTo>
                  <a:pt x="367" y="136"/>
                </a:lnTo>
                <a:lnTo>
                  <a:pt x="365" y="138"/>
                </a:lnTo>
                <a:lnTo>
                  <a:pt x="365" y="140"/>
                </a:lnTo>
                <a:lnTo>
                  <a:pt x="369" y="151"/>
                </a:lnTo>
                <a:lnTo>
                  <a:pt x="371" y="155"/>
                </a:lnTo>
                <a:lnTo>
                  <a:pt x="378" y="155"/>
                </a:lnTo>
                <a:lnTo>
                  <a:pt x="380" y="153"/>
                </a:lnTo>
                <a:lnTo>
                  <a:pt x="382" y="149"/>
                </a:lnTo>
                <a:lnTo>
                  <a:pt x="387" y="147"/>
                </a:lnTo>
                <a:lnTo>
                  <a:pt x="395" y="151"/>
                </a:lnTo>
                <a:lnTo>
                  <a:pt x="397" y="151"/>
                </a:lnTo>
                <a:lnTo>
                  <a:pt x="399" y="151"/>
                </a:lnTo>
                <a:lnTo>
                  <a:pt x="406" y="155"/>
                </a:lnTo>
                <a:lnTo>
                  <a:pt x="410" y="158"/>
                </a:lnTo>
                <a:lnTo>
                  <a:pt x="410" y="162"/>
                </a:lnTo>
                <a:lnTo>
                  <a:pt x="410" y="164"/>
                </a:lnTo>
                <a:lnTo>
                  <a:pt x="406" y="164"/>
                </a:lnTo>
                <a:lnTo>
                  <a:pt x="404" y="168"/>
                </a:lnTo>
                <a:lnTo>
                  <a:pt x="404" y="170"/>
                </a:lnTo>
                <a:lnTo>
                  <a:pt x="404" y="173"/>
                </a:lnTo>
                <a:lnTo>
                  <a:pt x="406" y="179"/>
                </a:lnTo>
                <a:lnTo>
                  <a:pt x="402" y="183"/>
                </a:lnTo>
                <a:lnTo>
                  <a:pt x="399" y="186"/>
                </a:lnTo>
                <a:lnTo>
                  <a:pt x="399" y="188"/>
                </a:lnTo>
                <a:lnTo>
                  <a:pt x="399" y="196"/>
                </a:lnTo>
                <a:lnTo>
                  <a:pt x="397" y="201"/>
                </a:lnTo>
                <a:lnTo>
                  <a:pt x="395" y="203"/>
                </a:lnTo>
                <a:lnTo>
                  <a:pt x="395" y="205"/>
                </a:lnTo>
                <a:lnTo>
                  <a:pt x="395" y="216"/>
                </a:lnTo>
                <a:lnTo>
                  <a:pt x="397" y="218"/>
                </a:lnTo>
                <a:lnTo>
                  <a:pt x="399" y="220"/>
                </a:lnTo>
                <a:lnTo>
                  <a:pt x="404" y="227"/>
                </a:lnTo>
                <a:lnTo>
                  <a:pt x="406" y="229"/>
                </a:lnTo>
                <a:lnTo>
                  <a:pt x="412" y="231"/>
                </a:lnTo>
                <a:lnTo>
                  <a:pt x="415" y="233"/>
                </a:lnTo>
                <a:lnTo>
                  <a:pt x="419" y="235"/>
                </a:lnTo>
                <a:lnTo>
                  <a:pt x="421" y="237"/>
                </a:lnTo>
                <a:lnTo>
                  <a:pt x="428" y="237"/>
                </a:lnTo>
                <a:lnTo>
                  <a:pt x="425" y="244"/>
                </a:lnTo>
                <a:lnTo>
                  <a:pt x="428" y="246"/>
                </a:lnTo>
                <a:lnTo>
                  <a:pt x="432" y="246"/>
                </a:lnTo>
                <a:lnTo>
                  <a:pt x="434" y="246"/>
                </a:lnTo>
                <a:lnTo>
                  <a:pt x="434" y="244"/>
                </a:lnTo>
                <a:lnTo>
                  <a:pt x="445" y="248"/>
                </a:lnTo>
                <a:lnTo>
                  <a:pt x="447" y="250"/>
                </a:lnTo>
                <a:lnTo>
                  <a:pt x="447" y="253"/>
                </a:lnTo>
                <a:lnTo>
                  <a:pt x="449" y="259"/>
                </a:lnTo>
                <a:lnTo>
                  <a:pt x="453" y="261"/>
                </a:lnTo>
                <a:lnTo>
                  <a:pt x="460" y="261"/>
                </a:lnTo>
                <a:lnTo>
                  <a:pt x="460" y="263"/>
                </a:lnTo>
                <a:lnTo>
                  <a:pt x="460" y="265"/>
                </a:lnTo>
                <a:lnTo>
                  <a:pt x="462" y="268"/>
                </a:lnTo>
                <a:lnTo>
                  <a:pt x="460" y="272"/>
                </a:lnTo>
                <a:lnTo>
                  <a:pt x="464" y="281"/>
                </a:lnTo>
                <a:lnTo>
                  <a:pt x="466" y="283"/>
                </a:lnTo>
                <a:lnTo>
                  <a:pt x="469" y="287"/>
                </a:lnTo>
                <a:lnTo>
                  <a:pt x="469" y="294"/>
                </a:lnTo>
                <a:lnTo>
                  <a:pt x="466" y="294"/>
                </a:lnTo>
                <a:lnTo>
                  <a:pt x="464" y="296"/>
                </a:lnTo>
                <a:lnTo>
                  <a:pt x="462" y="298"/>
                </a:lnTo>
                <a:lnTo>
                  <a:pt x="464" y="300"/>
                </a:lnTo>
                <a:lnTo>
                  <a:pt x="464" y="302"/>
                </a:lnTo>
                <a:lnTo>
                  <a:pt x="466" y="302"/>
                </a:lnTo>
                <a:lnTo>
                  <a:pt x="466" y="304"/>
                </a:lnTo>
                <a:lnTo>
                  <a:pt x="469" y="311"/>
                </a:lnTo>
                <a:lnTo>
                  <a:pt x="471" y="313"/>
                </a:lnTo>
                <a:lnTo>
                  <a:pt x="475" y="315"/>
                </a:lnTo>
                <a:lnTo>
                  <a:pt x="475" y="319"/>
                </a:lnTo>
                <a:lnTo>
                  <a:pt x="479" y="326"/>
                </a:lnTo>
                <a:lnTo>
                  <a:pt x="482" y="326"/>
                </a:lnTo>
                <a:lnTo>
                  <a:pt x="484" y="324"/>
                </a:lnTo>
                <a:lnTo>
                  <a:pt x="479" y="319"/>
                </a:lnTo>
                <a:lnTo>
                  <a:pt x="479" y="317"/>
                </a:lnTo>
                <a:lnTo>
                  <a:pt x="482" y="315"/>
                </a:lnTo>
                <a:lnTo>
                  <a:pt x="482" y="317"/>
                </a:lnTo>
                <a:lnTo>
                  <a:pt x="484" y="319"/>
                </a:lnTo>
                <a:lnTo>
                  <a:pt x="486" y="324"/>
                </a:lnTo>
                <a:lnTo>
                  <a:pt x="490" y="326"/>
                </a:lnTo>
                <a:lnTo>
                  <a:pt x="494" y="326"/>
                </a:lnTo>
                <a:lnTo>
                  <a:pt x="497" y="328"/>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54" name="Freeform 87">
            <a:extLst>
              <a:ext uri="{FF2B5EF4-FFF2-40B4-BE49-F238E27FC236}">
                <a16:creationId xmlns:a16="http://schemas.microsoft.com/office/drawing/2014/main" id="{8927D200-52EC-4195-9799-FA4D3260A74C}"/>
              </a:ext>
            </a:extLst>
          </p:cNvPr>
          <p:cNvSpPr>
            <a:spLocks/>
          </p:cNvSpPr>
          <p:nvPr>
            <p:custDataLst>
              <p:tags r:id="rId78"/>
            </p:custDataLst>
          </p:nvPr>
        </p:nvSpPr>
        <p:spPr bwMode="auto">
          <a:xfrm>
            <a:off x="3128383" y="3997155"/>
            <a:ext cx="1023666" cy="1264595"/>
          </a:xfrm>
          <a:custGeom>
            <a:avLst/>
            <a:gdLst>
              <a:gd name="T0" fmla="*/ 2147483647 w 506"/>
              <a:gd name="T1" fmla="*/ 2147483647 h 585"/>
              <a:gd name="T2" fmla="*/ 2147483647 w 506"/>
              <a:gd name="T3" fmla="*/ 2147483647 h 585"/>
              <a:gd name="T4" fmla="*/ 2147483647 w 506"/>
              <a:gd name="T5" fmla="*/ 2147483647 h 585"/>
              <a:gd name="T6" fmla="*/ 2147483647 w 506"/>
              <a:gd name="T7" fmla="*/ 2147483647 h 585"/>
              <a:gd name="T8" fmla="*/ 2147483647 w 506"/>
              <a:gd name="T9" fmla="*/ 2147483647 h 585"/>
              <a:gd name="T10" fmla="*/ 2147483647 w 506"/>
              <a:gd name="T11" fmla="*/ 2147483647 h 585"/>
              <a:gd name="T12" fmla="*/ 2147483647 w 506"/>
              <a:gd name="T13" fmla="*/ 2147483647 h 585"/>
              <a:gd name="T14" fmla="*/ 2147483647 w 506"/>
              <a:gd name="T15" fmla="*/ 2147483647 h 585"/>
              <a:gd name="T16" fmla="*/ 2147483647 w 506"/>
              <a:gd name="T17" fmla="*/ 2147483647 h 585"/>
              <a:gd name="T18" fmla="*/ 2147483647 w 506"/>
              <a:gd name="T19" fmla="*/ 2147483647 h 585"/>
              <a:gd name="T20" fmla="*/ 2147483647 w 506"/>
              <a:gd name="T21" fmla="*/ 2147483647 h 585"/>
              <a:gd name="T22" fmla="*/ 2147483647 w 506"/>
              <a:gd name="T23" fmla="*/ 2147483647 h 585"/>
              <a:gd name="T24" fmla="*/ 2147483647 w 506"/>
              <a:gd name="T25" fmla="*/ 2147483647 h 585"/>
              <a:gd name="T26" fmla="*/ 2147483647 w 506"/>
              <a:gd name="T27" fmla="*/ 2147483647 h 585"/>
              <a:gd name="T28" fmla="*/ 2147483647 w 506"/>
              <a:gd name="T29" fmla="*/ 2147483647 h 585"/>
              <a:gd name="T30" fmla="*/ 2147483647 w 506"/>
              <a:gd name="T31" fmla="*/ 2147483647 h 585"/>
              <a:gd name="T32" fmla="*/ 2147483647 w 506"/>
              <a:gd name="T33" fmla="*/ 2147483647 h 585"/>
              <a:gd name="T34" fmla="*/ 2147483647 w 506"/>
              <a:gd name="T35" fmla="*/ 2147483647 h 585"/>
              <a:gd name="T36" fmla="*/ 2147483647 w 506"/>
              <a:gd name="T37" fmla="*/ 2147483647 h 585"/>
              <a:gd name="T38" fmla="*/ 2147483647 w 506"/>
              <a:gd name="T39" fmla="*/ 2147483647 h 585"/>
              <a:gd name="T40" fmla="*/ 2147483647 w 506"/>
              <a:gd name="T41" fmla="*/ 2147483647 h 585"/>
              <a:gd name="T42" fmla="*/ 2147483647 w 506"/>
              <a:gd name="T43" fmla="*/ 2147483647 h 585"/>
              <a:gd name="T44" fmla="*/ 2147483647 w 506"/>
              <a:gd name="T45" fmla="*/ 2147483647 h 585"/>
              <a:gd name="T46" fmla="*/ 2147483647 w 506"/>
              <a:gd name="T47" fmla="*/ 2147483647 h 585"/>
              <a:gd name="T48" fmla="*/ 2147483647 w 506"/>
              <a:gd name="T49" fmla="*/ 2147483647 h 585"/>
              <a:gd name="T50" fmla="*/ 2147483647 w 506"/>
              <a:gd name="T51" fmla="*/ 2147483647 h 585"/>
              <a:gd name="T52" fmla="*/ 2147483647 w 506"/>
              <a:gd name="T53" fmla="*/ 2147483647 h 585"/>
              <a:gd name="T54" fmla="*/ 2147483647 w 506"/>
              <a:gd name="T55" fmla="*/ 2147483647 h 585"/>
              <a:gd name="T56" fmla="*/ 2147483647 w 506"/>
              <a:gd name="T57" fmla="*/ 2147483647 h 585"/>
              <a:gd name="T58" fmla="*/ 2147483647 w 506"/>
              <a:gd name="T59" fmla="*/ 2147483647 h 585"/>
              <a:gd name="T60" fmla="*/ 2147483647 w 506"/>
              <a:gd name="T61" fmla="*/ 2147483647 h 585"/>
              <a:gd name="T62" fmla="*/ 2147483647 w 506"/>
              <a:gd name="T63" fmla="*/ 2147483647 h 585"/>
              <a:gd name="T64" fmla="*/ 2147483647 w 506"/>
              <a:gd name="T65" fmla="*/ 2147483647 h 585"/>
              <a:gd name="T66" fmla="*/ 2147483647 w 506"/>
              <a:gd name="T67" fmla="*/ 0 h 585"/>
              <a:gd name="T68" fmla="*/ 2147483647 w 506"/>
              <a:gd name="T69" fmla="*/ 2147483647 h 585"/>
              <a:gd name="T70" fmla="*/ 2147483647 w 506"/>
              <a:gd name="T71" fmla="*/ 2147483647 h 585"/>
              <a:gd name="T72" fmla="*/ 2147483647 w 506"/>
              <a:gd name="T73" fmla="*/ 2147483647 h 585"/>
              <a:gd name="T74" fmla="*/ 2147483647 w 506"/>
              <a:gd name="T75" fmla="*/ 2147483647 h 585"/>
              <a:gd name="T76" fmla="*/ 2147483647 w 506"/>
              <a:gd name="T77" fmla="*/ 2147483647 h 585"/>
              <a:gd name="T78" fmla="*/ 2147483647 w 506"/>
              <a:gd name="T79" fmla="*/ 2147483647 h 585"/>
              <a:gd name="T80" fmla="*/ 2147483647 w 506"/>
              <a:gd name="T81" fmla="*/ 2147483647 h 585"/>
              <a:gd name="T82" fmla="*/ 2147483647 w 506"/>
              <a:gd name="T83" fmla="*/ 2147483647 h 585"/>
              <a:gd name="T84" fmla="*/ 2147483647 w 506"/>
              <a:gd name="T85" fmla="*/ 2147483647 h 585"/>
              <a:gd name="T86" fmla="*/ 2147483647 w 506"/>
              <a:gd name="T87" fmla="*/ 2147483647 h 585"/>
              <a:gd name="T88" fmla="*/ 2147483647 w 506"/>
              <a:gd name="T89" fmla="*/ 2147483647 h 585"/>
              <a:gd name="T90" fmla="*/ 2147483647 w 506"/>
              <a:gd name="T91" fmla="*/ 2147483647 h 5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06"/>
              <a:gd name="T139" fmla="*/ 0 h 585"/>
              <a:gd name="T140" fmla="*/ 506 w 506"/>
              <a:gd name="T141" fmla="*/ 585 h 5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06" h="585">
                <a:moveTo>
                  <a:pt x="33" y="356"/>
                </a:moveTo>
                <a:lnTo>
                  <a:pt x="28" y="356"/>
                </a:lnTo>
                <a:lnTo>
                  <a:pt x="26" y="356"/>
                </a:lnTo>
                <a:lnTo>
                  <a:pt x="24" y="354"/>
                </a:lnTo>
                <a:lnTo>
                  <a:pt x="22" y="354"/>
                </a:lnTo>
                <a:lnTo>
                  <a:pt x="20" y="347"/>
                </a:lnTo>
                <a:lnTo>
                  <a:pt x="20" y="345"/>
                </a:lnTo>
                <a:lnTo>
                  <a:pt x="22" y="341"/>
                </a:lnTo>
                <a:lnTo>
                  <a:pt x="24" y="334"/>
                </a:lnTo>
                <a:lnTo>
                  <a:pt x="24" y="332"/>
                </a:lnTo>
                <a:lnTo>
                  <a:pt x="24" y="330"/>
                </a:lnTo>
                <a:lnTo>
                  <a:pt x="22" y="328"/>
                </a:lnTo>
                <a:lnTo>
                  <a:pt x="24" y="324"/>
                </a:lnTo>
                <a:lnTo>
                  <a:pt x="24" y="317"/>
                </a:lnTo>
                <a:lnTo>
                  <a:pt x="28" y="317"/>
                </a:lnTo>
                <a:lnTo>
                  <a:pt x="33" y="315"/>
                </a:lnTo>
                <a:lnTo>
                  <a:pt x="33" y="313"/>
                </a:lnTo>
                <a:lnTo>
                  <a:pt x="35" y="313"/>
                </a:lnTo>
                <a:lnTo>
                  <a:pt x="37" y="311"/>
                </a:lnTo>
                <a:lnTo>
                  <a:pt x="41" y="309"/>
                </a:lnTo>
                <a:lnTo>
                  <a:pt x="41" y="306"/>
                </a:lnTo>
                <a:lnTo>
                  <a:pt x="41" y="300"/>
                </a:lnTo>
                <a:lnTo>
                  <a:pt x="44" y="298"/>
                </a:lnTo>
                <a:lnTo>
                  <a:pt x="44" y="296"/>
                </a:lnTo>
                <a:lnTo>
                  <a:pt x="48" y="293"/>
                </a:lnTo>
                <a:lnTo>
                  <a:pt x="48" y="291"/>
                </a:lnTo>
                <a:lnTo>
                  <a:pt x="48" y="289"/>
                </a:lnTo>
                <a:lnTo>
                  <a:pt x="48" y="283"/>
                </a:lnTo>
                <a:lnTo>
                  <a:pt x="50" y="280"/>
                </a:lnTo>
                <a:lnTo>
                  <a:pt x="48" y="280"/>
                </a:lnTo>
                <a:lnTo>
                  <a:pt x="52" y="274"/>
                </a:lnTo>
                <a:lnTo>
                  <a:pt x="50" y="272"/>
                </a:lnTo>
                <a:lnTo>
                  <a:pt x="57" y="265"/>
                </a:lnTo>
                <a:lnTo>
                  <a:pt x="59" y="261"/>
                </a:lnTo>
                <a:lnTo>
                  <a:pt x="59" y="259"/>
                </a:lnTo>
                <a:lnTo>
                  <a:pt x="67" y="257"/>
                </a:lnTo>
                <a:lnTo>
                  <a:pt x="72" y="257"/>
                </a:lnTo>
                <a:lnTo>
                  <a:pt x="74" y="252"/>
                </a:lnTo>
                <a:lnTo>
                  <a:pt x="85" y="248"/>
                </a:lnTo>
                <a:lnTo>
                  <a:pt x="85" y="244"/>
                </a:lnTo>
                <a:lnTo>
                  <a:pt x="85" y="242"/>
                </a:lnTo>
                <a:lnTo>
                  <a:pt x="82" y="239"/>
                </a:lnTo>
                <a:lnTo>
                  <a:pt x="76" y="233"/>
                </a:lnTo>
                <a:lnTo>
                  <a:pt x="74" y="231"/>
                </a:lnTo>
                <a:lnTo>
                  <a:pt x="72" y="229"/>
                </a:lnTo>
                <a:lnTo>
                  <a:pt x="69" y="226"/>
                </a:lnTo>
                <a:lnTo>
                  <a:pt x="72" y="222"/>
                </a:lnTo>
                <a:lnTo>
                  <a:pt x="69" y="216"/>
                </a:lnTo>
                <a:lnTo>
                  <a:pt x="67" y="214"/>
                </a:lnTo>
                <a:lnTo>
                  <a:pt x="69" y="214"/>
                </a:lnTo>
                <a:lnTo>
                  <a:pt x="67" y="203"/>
                </a:lnTo>
                <a:lnTo>
                  <a:pt x="67" y="198"/>
                </a:lnTo>
                <a:lnTo>
                  <a:pt x="65" y="198"/>
                </a:lnTo>
                <a:lnTo>
                  <a:pt x="61" y="196"/>
                </a:lnTo>
                <a:lnTo>
                  <a:pt x="61" y="192"/>
                </a:lnTo>
                <a:lnTo>
                  <a:pt x="59" y="185"/>
                </a:lnTo>
                <a:lnTo>
                  <a:pt x="59" y="181"/>
                </a:lnTo>
                <a:lnTo>
                  <a:pt x="59" y="179"/>
                </a:lnTo>
                <a:lnTo>
                  <a:pt x="59" y="175"/>
                </a:lnTo>
                <a:lnTo>
                  <a:pt x="61" y="175"/>
                </a:lnTo>
                <a:lnTo>
                  <a:pt x="61" y="168"/>
                </a:lnTo>
                <a:lnTo>
                  <a:pt x="65" y="166"/>
                </a:lnTo>
                <a:lnTo>
                  <a:pt x="61" y="164"/>
                </a:lnTo>
                <a:lnTo>
                  <a:pt x="65" y="162"/>
                </a:lnTo>
                <a:lnTo>
                  <a:pt x="67" y="162"/>
                </a:lnTo>
                <a:lnTo>
                  <a:pt x="69" y="160"/>
                </a:lnTo>
                <a:lnTo>
                  <a:pt x="69" y="153"/>
                </a:lnTo>
                <a:lnTo>
                  <a:pt x="69" y="147"/>
                </a:lnTo>
                <a:lnTo>
                  <a:pt x="69" y="142"/>
                </a:lnTo>
                <a:lnTo>
                  <a:pt x="67" y="131"/>
                </a:lnTo>
                <a:lnTo>
                  <a:pt x="67" y="127"/>
                </a:lnTo>
                <a:lnTo>
                  <a:pt x="69" y="125"/>
                </a:lnTo>
                <a:lnTo>
                  <a:pt x="69" y="119"/>
                </a:lnTo>
                <a:lnTo>
                  <a:pt x="72" y="116"/>
                </a:lnTo>
                <a:lnTo>
                  <a:pt x="69" y="114"/>
                </a:lnTo>
                <a:lnTo>
                  <a:pt x="69" y="110"/>
                </a:lnTo>
                <a:lnTo>
                  <a:pt x="69" y="108"/>
                </a:lnTo>
                <a:lnTo>
                  <a:pt x="69" y="101"/>
                </a:lnTo>
                <a:lnTo>
                  <a:pt x="72" y="95"/>
                </a:lnTo>
                <a:lnTo>
                  <a:pt x="74" y="95"/>
                </a:lnTo>
                <a:lnTo>
                  <a:pt x="74" y="93"/>
                </a:lnTo>
                <a:lnTo>
                  <a:pt x="72" y="88"/>
                </a:lnTo>
                <a:lnTo>
                  <a:pt x="72" y="82"/>
                </a:lnTo>
                <a:lnTo>
                  <a:pt x="72" y="78"/>
                </a:lnTo>
                <a:lnTo>
                  <a:pt x="72" y="75"/>
                </a:lnTo>
                <a:lnTo>
                  <a:pt x="74" y="71"/>
                </a:lnTo>
                <a:lnTo>
                  <a:pt x="82" y="69"/>
                </a:lnTo>
                <a:lnTo>
                  <a:pt x="85" y="69"/>
                </a:lnTo>
                <a:lnTo>
                  <a:pt x="89" y="69"/>
                </a:lnTo>
                <a:lnTo>
                  <a:pt x="93" y="71"/>
                </a:lnTo>
                <a:lnTo>
                  <a:pt x="93" y="75"/>
                </a:lnTo>
                <a:lnTo>
                  <a:pt x="100" y="71"/>
                </a:lnTo>
                <a:lnTo>
                  <a:pt x="102" y="75"/>
                </a:lnTo>
                <a:lnTo>
                  <a:pt x="104" y="78"/>
                </a:lnTo>
                <a:lnTo>
                  <a:pt x="104" y="80"/>
                </a:lnTo>
                <a:lnTo>
                  <a:pt x="104" y="82"/>
                </a:lnTo>
                <a:lnTo>
                  <a:pt x="108" y="86"/>
                </a:lnTo>
                <a:lnTo>
                  <a:pt x="117" y="86"/>
                </a:lnTo>
                <a:lnTo>
                  <a:pt x="119" y="80"/>
                </a:lnTo>
                <a:lnTo>
                  <a:pt x="126" y="71"/>
                </a:lnTo>
                <a:lnTo>
                  <a:pt x="136" y="13"/>
                </a:lnTo>
                <a:lnTo>
                  <a:pt x="139" y="0"/>
                </a:lnTo>
                <a:lnTo>
                  <a:pt x="223" y="15"/>
                </a:lnTo>
                <a:lnTo>
                  <a:pt x="249" y="19"/>
                </a:lnTo>
                <a:lnTo>
                  <a:pt x="270" y="24"/>
                </a:lnTo>
                <a:lnTo>
                  <a:pt x="335" y="34"/>
                </a:lnTo>
                <a:lnTo>
                  <a:pt x="380" y="43"/>
                </a:lnTo>
                <a:lnTo>
                  <a:pt x="400" y="45"/>
                </a:lnTo>
                <a:lnTo>
                  <a:pt x="402" y="45"/>
                </a:lnTo>
                <a:lnTo>
                  <a:pt x="434" y="49"/>
                </a:lnTo>
                <a:lnTo>
                  <a:pt x="506" y="60"/>
                </a:lnTo>
                <a:lnTo>
                  <a:pt x="493" y="151"/>
                </a:lnTo>
                <a:lnTo>
                  <a:pt x="480" y="248"/>
                </a:lnTo>
                <a:lnTo>
                  <a:pt x="475" y="283"/>
                </a:lnTo>
                <a:lnTo>
                  <a:pt x="465" y="358"/>
                </a:lnTo>
                <a:lnTo>
                  <a:pt x="458" y="410"/>
                </a:lnTo>
                <a:lnTo>
                  <a:pt x="449" y="449"/>
                </a:lnTo>
                <a:lnTo>
                  <a:pt x="447" y="481"/>
                </a:lnTo>
                <a:lnTo>
                  <a:pt x="432" y="585"/>
                </a:lnTo>
                <a:lnTo>
                  <a:pt x="322" y="568"/>
                </a:lnTo>
                <a:lnTo>
                  <a:pt x="272" y="559"/>
                </a:lnTo>
                <a:lnTo>
                  <a:pt x="251" y="546"/>
                </a:lnTo>
                <a:lnTo>
                  <a:pt x="180" y="507"/>
                </a:lnTo>
                <a:lnTo>
                  <a:pt x="106" y="464"/>
                </a:lnTo>
                <a:lnTo>
                  <a:pt x="0" y="399"/>
                </a:lnTo>
                <a:lnTo>
                  <a:pt x="3" y="391"/>
                </a:lnTo>
                <a:lnTo>
                  <a:pt x="11" y="380"/>
                </a:lnTo>
                <a:lnTo>
                  <a:pt x="16" y="380"/>
                </a:lnTo>
                <a:lnTo>
                  <a:pt x="20" y="382"/>
                </a:lnTo>
                <a:lnTo>
                  <a:pt x="22" y="382"/>
                </a:lnTo>
                <a:lnTo>
                  <a:pt x="24" y="382"/>
                </a:lnTo>
                <a:lnTo>
                  <a:pt x="24" y="380"/>
                </a:lnTo>
                <a:lnTo>
                  <a:pt x="26" y="380"/>
                </a:lnTo>
                <a:lnTo>
                  <a:pt x="26" y="378"/>
                </a:lnTo>
                <a:lnTo>
                  <a:pt x="28" y="375"/>
                </a:lnTo>
                <a:lnTo>
                  <a:pt x="35" y="373"/>
                </a:lnTo>
                <a:lnTo>
                  <a:pt x="35" y="365"/>
                </a:lnTo>
                <a:lnTo>
                  <a:pt x="37" y="360"/>
                </a:lnTo>
                <a:lnTo>
                  <a:pt x="33" y="356"/>
                </a:lnTo>
                <a:close/>
              </a:path>
            </a:pathLst>
          </a:custGeom>
          <a:solidFill>
            <a:srgbClr val="FFC000"/>
          </a:solidFill>
          <a:ln w="9525">
            <a:noFill/>
            <a:round/>
            <a:headEnd/>
            <a:tailEnd/>
          </a:ln>
        </p:spPr>
        <p:txBody>
          <a:bodyPr/>
          <a:lstStyle/>
          <a:p>
            <a:endParaRPr lang="en-US" dirty="0">
              <a:solidFill>
                <a:prstClr val="black"/>
              </a:solidFill>
            </a:endParaRPr>
          </a:p>
        </p:txBody>
      </p:sp>
      <p:sp>
        <p:nvSpPr>
          <p:cNvPr id="255" name="Freeform 88">
            <a:extLst>
              <a:ext uri="{FF2B5EF4-FFF2-40B4-BE49-F238E27FC236}">
                <a16:creationId xmlns:a16="http://schemas.microsoft.com/office/drawing/2014/main" id="{23FD441F-AF4C-460C-839B-691606CA6C84}"/>
              </a:ext>
            </a:extLst>
          </p:cNvPr>
          <p:cNvSpPr>
            <a:spLocks/>
          </p:cNvSpPr>
          <p:nvPr>
            <p:custDataLst>
              <p:tags r:id="rId79"/>
            </p:custDataLst>
          </p:nvPr>
        </p:nvSpPr>
        <p:spPr bwMode="auto">
          <a:xfrm>
            <a:off x="3128383" y="3997155"/>
            <a:ext cx="1023666" cy="1264595"/>
          </a:xfrm>
          <a:custGeom>
            <a:avLst/>
            <a:gdLst>
              <a:gd name="T0" fmla="*/ 2147483647 w 506"/>
              <a:gd name="T1" fmla="*/ 2147483647 h 585"/>
              <a:gd name="T2" fmla="*/ 2147483647 w 506"/>
              <a:gd name="T3" fmla="*/ 2147483647 h 585"/>
              <a:gd name="T4" fmla="*/ 2147483647 w 506"/>
              <a:gd name="T5" fmla="*/ 2147483647 h 585"/>
              <a:gd name="T6" fmla="*/ 2147483647 w 506"/>
              <a:gd name="T7" fmla="*/ 2147483647 h 585"/>
              <a:gd name="T8" fmla="*/ 2147483647 w 506"/>
              <a:gd name="T9" fmla="*/ 2147483647 h 585"/>
              <a:gd name="T10" fmla="*/ 2147483647 w 506"/>
              <a:gd name="T11" fmla="*/ 2147483647 h 585"/>
              <a:gd name="T12" fmla="*/ 2147483647 w 506"/>
              <a:gd name="T13" fmla="*/ 2147483647 h 585"/>
              <a:gd name="T14" fmla="*/ 2147483647 w 506"/>
              <a:gd name="T15" fmla="*/ 2147483647 h 585"/>
              <a:gd name="T16" fmla="*/ 2147483647 w 506"/>
              <a:gd name="T17" fmla="*/ 2147483647 h 585"/>
              <a:gd name="T18" fmla="*/ 2147483647 w 506"/>
              <a:gd name="T19" fmla="*/ 2147483647 h 585"/>
              <a:gd name="T20" fmla="*/ 2147483647 w 506"/>
              <a:gd name="T21" fmla="*/ 2147483647 h 585"/>
              <a:gd name="T22" fmla="*/ 2147483647 w 506"/>
              <a:gd name="T23" fmla="*/ 2147483647 h 585"/>
              <a:gd name="T24" fmla="*/ 2147483647 w 506"/>
              <a:gd name="T25" fmla="*/ 2147483647 h 585"/>
              <a:gd name="T26" fmla="*/ 2147483647 w 506"/>
              <a:gd name="T27" fmla="*/ 2147483647 h 585"/>
              <a:gd name="T28" fmla="*/ 2147483647 w 506"/>
              <a:gd name="T29" fmla="*/ 2147483647 h 585"/>
              <a:gd name="T30" fmla="*/ 2147483647 w 506"/>
              <a:gd name="T31" fmla="*/ 2147483647 h 585"/>
              <a:gd name="T32" fmla="*/ 2147483647 w 506"/>
              <a:gd name="T33" fmla="*/ 2147483647 h 585"/>
              <a:gd name="T34" fmla="*/ 2147483647 w 506"/>
              <a:gd name="T35" fmla="*/ 2147483647 h 585"/>
              <a:gd name="T36" fmla="*/ 2147483647 w 506"/>
              <a:gd name="T37" fmla="*/ 2147483647 h 585"/>
              <a:gd name="T38" fmla="*/ 2147483647 w 506"/>
              <a:gd name="T39" fmla="*/ 2147483647 h 585"/>
              <a:gd name="T40" fmla="*/ 2147483647 w 506"/>
              <a:gd name="T41" fmla="*/ 2147483647 h 585"/>
              <a:gd name="T42" fmla="*/ 2147483647 w 506"/>
              <a:gd name="T43" fmla="*/ 2147483647 h 585"/>
              <a:gd name="T44" fmla="*/ 2147483647 w 506"/>
              <a:gd name="T45" fmla="*/ 2147483647 h 585"/>
              <a:gd name="T46" fmla="*/ 2147483647 w 506"/>
              <a:gd name="T47" fmla="*/ 2147483647 h 585"/>
              <a:gd name="T48" fmla="*/ 2147483647 w 506"/>
              <a:gd name="T49" fmla="*/ 2147483647 h 585"/>
              <a:gd name="T50" fmla="*/ 2147483647 w 506"/>
              <a:gd name="T51" fmla="*/ 2147483647 h 585"/>
              <a:gd name="T52" fmla="*/ 2147483647 w 506"/>
              <a:gd name="T53" fmla="*/ 2147483647 h 585"/>
              <a:gd name="T54" fmla="*/ 2147483647 w 506"/>
              <a:gd name="T55" fmla="*/ 2147483647 h 585"/>
              <a:gd name="T56" fmla="*/ 2147483647 w 506"/>
              <a:gd name="T57" fmla="*/ 2147483647 h 585"/>
              <a:gd name="T58" fmla="*/ 2147483647 w 506"/>
              <a:gd name="T59" fmla="*/ 2147483647 h 585"/>
              <a:gd name="T60" fmla="*/ 2147483647 w 506"/>
              <a:gd name="T61" fmla="*/ 2147483647 h 585"/>
              <a:gd name="T62" fmla="*/ 2147483647 w 506"/>
              <a:gd name="T63" fmla="*/ 2147483647 h 585"/>
              <a:gd name="T64" fmla="*/ 2147483647 w 506"/>
              <a:gd name="T65" fmla="*/ 2147483647 h 585"/>
              <a:gd name="T66" fmla="*/ 2147483647 w 506"/>
              <a:gd name="T67" fmla="*/ 0 h 585"/>
              <a:gd name="T68" fmla="*/ 2147483647 w 506"/>
              <a:gd name="T69" fmla="*/ 2147483647 h 585"/>
              <a:gd name="T70" fmla="*/ 2147483647 w 506"/>
              <a:gd name="T71" fmla="*/ 2147483647 h 585"/>
              <a:gd name="T72" fmla="*/ 2147483647 w 506"/>
              <a:gd name="T73" fmla="*/ 2147483647 h 585"/>
              <a:gd name="T74" fmla="*/ 2147483647 w 506"/>
              <a:gd name="T75" fmla="*/ 2147483647 h 585"/>
              <a:gd name="T76" fmla="*/ 2147483647 w 506"/>
              <a:gd name="T77" fmla="*/ 2147483647 h 585"/>
              <a:gd name="T78" fmla="*/ 2147483647 w 506"/>
              <a:gd name="T79" fmla="*/ 2147483647 h 585"/>
              <a:gd name="T80" fmla="*/ 2147483647 w 506"/>
              <a:gd name="T81" fmla="*/ 2147483647 h 585"/>
              <a:gd name="T82" fmla="*/ 2147483647 w 506"/>
              <a:gd name="T83" fmla="*/ 2147483647 h 585"/>
              <a:gd name="T84" fmla="*/ 2147483647 w 506"/>
              <a:gd name="T85" fmla="*/ 2147483647 h 585"/>
              <a:gd name="T86" fmla="*/ 2147483647 w 506"/>
              <a:gd name="T87" fmla="*/ 2147483647 h 585"/>
              <a:gd name="T88" fmla="*/ 2147483647 w 506"/>
              <a:gd name="T89" fmla="*/ 2147483647 h 585"/>
              <a:gd name="T90" fmla="*/ 2147483647 w 506"/>
              <a:gd name="T91" fmla="*/ 2147483647 h 5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06"/>
              <a:gd name="T139" fmla="*/ 0 h 585"/>
              <a:gd name="T140" fmla="*/ 506 w 506"/>
              <a:gd name="T141" fmla="*/ 585 h 5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06" h="585">
                <a:moveTo>
                  <a:pt x="33" y="356"/>
                </a:moveTo>
                <a:lnTo>
                  <a:pt x="28" y="356"/>
                </a:lnTo>
                <a:lnTo>
                  <a:pt x="26" y="356"/>
                </a:lnTo>
                <a:lnTo>
                  <a:pt x="24" y="354"/>
                </a:lnTo>
                <a:lnTo>
                  <a:pt x="22" y="354"/>
                </a:lnTo>
                <a:lnTo>
                  <a:pt x="20" y="347"/>
                </a:lnTo>
                <a:lnTo>
                  <a:pt x="20" y="345"/>
                </a:lnTo>
                <a:lnTo>
                  <a:pt x="22" y="341"/>
                </a:lnTo>
                <a:lnTo>
                  <a:pt x="24" y="334"/>
                </a:lnTo>
                <a:lnTo>
                  <a:pt x="24" y="332"/>
                </a:lnTo>
                <a:lnTo>
                  <a:pt x="24" y="330"/>
                </a:lnTo>
                <a:lnTo>
                  <a:pt x="22" y="328"/>
                </a:lnTo>
                <a:lnTo>
                  <a:pt x="24" y="324"/>
                </a:lnTo>
                <a:lnTo>
                  <a:pt x="24" y="317"/>
                </a:lnTo>
                <a:lnTo>
                  <a:pt x="28" y="317"/>
                </a:lnTo>
                <a:lnTo>
                  <a:pt x="33" y="315"/>
                </a:lnTo>
                <a:lnTo>
                  <a:pt x="33" y="313"/>
                </a:lnTo>
                <a:lnTo>
                  <a:pt x="35" y="313"/>
                </a:lnTo>
                <a:lnTo>
                  <a:pt x="37" y="311"/>
                </a:lnTo>
                <a:lnTo>
                  <a:pt x="41" y="309"/>
                </a:lnTo>
                <a:lnTo>
                  <a:pt x="41" y="306"/>
                </a:lnTo>
                <a:lnTo>
                  <a:pt x="41" y="300"/>
                </a:lnTo>
                <a:lnTo>
                  <a:pt x="44" y="298"/>
                </a:lnTo>
                <a:lnTo>
                  <a:pt x="44" y="296"/>
                </a:lnTo>
                <a:lnTo>
                  <a:pt x="48" y="293"/>
                </a:lnTo>
                <a:lnTo>
                  <a:pt x="48" y="291"/>
                </a:lnTo>
                <a:lnTo>
                  <a:pt x="48" y="289"/>
                </a:lnTo>
                <a:lnTo>
                  <a:pt x="48" y="283"/>
                </a:lnTo>
                <a:lnTo>
                  <a:pt x="50" y="280"/>
                </a:lnTo>
                <a:lnTo>
                  <a:pt x="48" y="280"/>
                </a:lnTo>
                <a:lnTo>
                  <a:pt x="52" y="274"/>
                </a:lnTo>
                <a:lnTo>
                  <a:pt x="50" y="272"/>
                </a:lnTo>
                <a:lnTo>
                  <a:pt x="57" y="265"/>
                </a:lnTo>
                <a:lnTo>
                  <a:pt x="59" y="261"/>
                </a:lnTo>
                <a:lnTo>
                  <a:pt x="59" y="259"/>
                </a:lnTo>
                <a:lnTo>
                  <a:pt x="67" y="257"/>
                </a:lnTo>
                <a:lnTo>
                  <a:pt x="72" y="257"/>
                </a:lnTo>
                <a:lnTo>
                  <a:pt x="74" y="252"/>
                </a:lnTo>
                <a:lnTo>
                  <a:pt x="85" y="248"/>
                </a:lnTo>
                <a:lnTo>
                  <a:pt x="85" y="244"/>
                </a:lnTo>
                <a:lnTo>
                  <a:pt x="85" y="242"/>
                </a:lnTo>
                <a:lnTo>
                  <a:pt x="82" y="239"/>
                </a:lnTo>
                <a:lnTo>
                  <a:pt x="76" y="233"/>
                </a:lnTo>
                <a:lnTo>
                  <a:pt x="74" y="231"/>
                </a:lnTo>
                <a:lnTo>
                  <a:pt x="72" y="229"/>
                </a:lnTo>
                <a:lnTo>
                  <a:pt x="69" y="226"/>
                </a:lnTo>
                <a:lnTo>
                  <a:pt x="72" y="222"/>
                </a:lnTo>
                <a:lnTo>
                  <a:pt x="69" y="216"/>
                </a:lnTo>
                <a:lnTo>
                  <a:pt x="67" y="214"/>
                </a:lnTo>
                <a:lnTo>
                  <a:pt x="69" y="214"/>
                </a:lnTo>
                <a:lnTo>
                  <a:pt x="67" y="203"/>
                </a:lnTo>
                <a:lnTo>
                  <a:pt x="67" y="198"/>
                </a:lnTo>
                <a:lnTo>
                  <a:pt x="65" y="198"/>
                </a:lnTo>
                <a:lnTo>
                  <a:pt x="61" y="196"/>
                </a:lnTo>
                <a:lnTo>
                  <a:pt x="61" y="192"/>
                </a:lnTo>
                <a:lnTo>
                  <a:pt x="59" y="185"/>
                </a:lnTo>
                <a:lnTo>
                  <a:pt x="59" y="181"/>
                </a:lnTo>
                <a:lnTo>
                  <a:pt x="59" y="179"/>
                </a:lnTo>
                <a:lnTo>
                  <a:pt x="59" y="175"/>
                </a:lnTo>
                <a:lnTo>
                  <a:pt x="61" y="175"/>
                </a:lnTo>
                <a:lnTo>
                  <a:pt x="61" y="168"/>
                </a:lnTo>
                <a:lnTo>
                  <a:pt x="65" y="166"/>
                </a:lnTo>
                <a:lnTo>
                  <a:pt x="61" y="164"/>
                </a:lnTo>
                <a:lnTo>
                  <a:pt x="65" y="162"/>
                </a:lnTo>
                <a:lnTo>
                  <a:pt x="67" y="162"/>
                </a:lnTo>
                <a:lnTo>
                  <a:pt x="69" y="160"/>
                </a:lnTo>
                <a:lnTo>
                  <a:pt x="69" y="153"/>
                </a:lnTo>
                <a:lnTo>
                  <a:pt x="69" y="147"/>
                </a:lnTo>
                <a:lnTo>
                  <a:pt x="69" y="142"/>
                </a:lnTo>
                <a:lnTo>
                  <a:pt x="67" y="131"/>
                </a:lnTo>
                <a:lnTo>
                  <a:pt x="67" y="127"/>
                </a:lnTo>
                <a:lnTo>
                  <a:pt x="69" y="125"/>
                </a:lnTo>
                <a:lnTo>
                  <a:pt x="69" y="119"/>
                </a:lnTo>
                <a:lnTo>
                  <a:pt x="72" y="116"/>
                </a:lnTo>
                <a:lnTo>
                  <a:pt x="69" y="114"/>
                </a:lnTo>
                <a:lnTo>
                  <a:pt x="69" y="110"/>
                </a:lnTo>
                <a:lnTo>
                  <a:pt x="69" y="108"/>
                </a:lnTo>
                <a:lnTo>
                  <a:pt x="69" y="101"/>
                </a:lnTo>
                <a:lnTo>
                  <a:pt x="72" y="95"/>
                </a:lnTo>
                <a:lnTo>
                  <a:pt x="74" y="95"/>
                </a:lnTo>
                <a:lnTo>
                  <a:pt x="74" y="93"/>
                </a:lnTo>
                <a:lnTo>
                  <a:pt x="72" y="88"/>
                </a:lnTo>
                <a:lnTo>
                  <a:pt x="72" y="82"/>
                </a:lnTo>
                <a:lnTo>
                  <a:pt x="72" y="78"/>
                </a:lnTo>
                <a:lnTo>
                  <a:pt x="72" y="75"/>
                </a:lnTo>
                <a:lnTo>
                  <a:pt x="74" y="71"/>
                </a:lnTo>
                <a:lnTo>
                  <a:pt x="82" y="69"/>
                </a:lnTo>
                <a:lnTo>
                  <a:pt x="85" y="69"/>
                </a:lnTo>
                <a:lnTo>
                  <a:pt x="89" y="69"/>
                </a:lnTo>
                <a:lnTo>
                  <a:pt x="93" y="71"/>
                </a:lnTo>
                <a:lnTo>
                  <a:pt x="93" y="75"/>
                </a:lnTo>
                <a:lnTo>
                  <a:pt x="100" y="71"/>
                </a:lnTo>
                <a:lnTo>
                  <a:pt x="102" y="75"/>
                </a:lnTo>
                <a:lnTo>
                  <a:pt x="104" y="78"/>
                </a:lnTo>
                <a:lnTo>
                  <a:pt x="104" y="80"/>
                </a:lnTo>
                <a:lnTo>
                  <a:pt x="104" y="82"/>
                </a:lnTo>
                <a:lnTo>
                  <a:pt x="108" y="86"/>
                </a:lnTo>
                <a:lnTo>
                  <a:pt x="117" y="86"/>
                </a:lnTo>
                <a:lnTo>
                  <a:pt x="119" y="80"/>
                </a:lnTo>
                <a:lnTo>
                  <a:pt x="126" y="71"/>
                </a:lnTo>
                <a:lnTo>
                  <a:pt x="136" y="13"/>
                </a:lnTo>
                <a:lnTo>
                  <a:pt x="139" y="0"/>
                </a:lnTo>
                <a:lnTo>
                  <a:pt x="223" y="15"/>
                </a:lnTo>
                <a:lnTo>
                  <a:pt x="249" y="19"/>
                </a:lnTo>
                <a:lnTo>
                  <a:pt x="270" y="24"/>
                </a:lnTo>
                <a:lnTo>
                  <a:pt x="335" y="34"/>
                </a:lnTo>
                <a:lnTo>
                  <a:pt x="380" y="43"/>
                </a:lnTo>
                <a:lnTo>
                  <a:pt x="400" y="45"/>
                </a:lnTo>
                <a:lnTo>
                  <a:pt x="402" y="45"/>
                </a:lnTo>
                <a:lnTo>
                  <a:pt x="434" y="49"/>
                </a:lnTo>
                <a:lnTo>
                  <a:pt x="506" y="60"/>
                </a:lnTo>
                <a:lnTo>
                  <a:pt x="493" y="151"/>
                </a:lnTo>
                <a:lnTo>
                  <a:pt x="480" y="248"/>
                </a:lnTo>
                <a:lnTo>
                  <a:pt x="475" y="283"/>
                </a:lnTo>
                <a:lnTo>
                  <a:pt x="465" y="358"/>
                </a:lnTo>
                <a:lnTo>
                  <a:pt x="458" y="410"/>
                </a:lnTo>
                <a:lnTo>
                  <a:pt x="449" y="449"/>
                </a:lnTo>
                <a:lnTo>
                  <a:pt x="447" y="481"/>
                </a:lnTo>
                <a:lnTo>
                  <a:pt x="432" y="585"/>
                </a:lnTo>
                <a:lnTo>
                  <a:pt x="322" y="568"/>
                </a:lnTo>
                <a:lnTo>
                  <a:pt x="272" y="559"/>
                </a:lnTo>
                <a:lnTo>
                  <a:pt x="251" y="546"/>
                </a:lnTo>
                <a:lnTo>
                  <a:pt x="180" y="507"/>
                </a:lnTo>
                <a:lnTo>
                  <a:pt x="106" y="464"/>
                </a:lnTo>
                <a:lnTo>
                  <a:pt x="0" y="399"/>
                </a:lnTo>
                <a:lnTo>
                  <a:pt x="3" y="391"/>
                </a:lnTo>
                <a:lnTo>
                  <a:pt x="11" y="380"/>
                </a:lnTo>
                <a:lnTo>
                  <a:pt x="16" y="380"/>
                </a:lnTo>
                <a:lnTo>
                  <a:pt x="20" y="382"/>
                </a:lnTo>
                <a:lnTo>
                  <a:pt x="22" y="382"/>
                </a:lnTo>
                <a:lnTo>
                  <a:pt x="24" y="382"/>
                </a:lnTo>
                <a:lnTo>
                  <a:pt x="24" y="380"/>
                </a:lnTo>
                <a:lnTo>
                  <a:pt x="26" y="380"/>
                </a:lnTo>
                <a:lnTo>
                  <a:pt x="26" y="378"/>
                </a:lnTo>
                <a:lnTo>
                  <a:pt x="28" y="375"/>
                </a:lnTo>
                <a:lnTo>
                  <a:pt x="35" y="373"/>
                </a:lnTo>
                <a:lnTo>
                  <a:pt x="35" y="365"/>
                </a:lnTo>
                <a:lnTo>
                  <a:pt x="37" y="360"/>
                </a:lnTo>
                <a:lnTo>
                  <a:pt x="33" y="356"/>
                </a:lnTo>
              </a:path>
            </a:pathLst>
          </a:custGeom>
          <a:ln w="6350">
            <a:solidFill>
              <a:schemeClr val="tx1"/>
            </a:solidFill>
            <a:headEnd/>
            <a:tailEnd/>
          </a:ln>
        </p:spPr>
        <p:style>
          <a:lnRef idx="2">
            <a:schemeClr val="accent2"/>
          </a:lnRef>
          <a:fillRef idx="0">
            <a:schemeClr val="accent2"/>
          </a:fillRef>
          <a:effectRef idx="1">
            <a:schemeClr val="accent2"/>
          </a:effectRef>
          <a:fontRef idx="minor">
            <a:schemeClr val="tx1"/>
          </a:fontRef>
        </p:style>
        <p:txBody>
          <a:bodyPr/>
          <a:lstStyle/>
          <a:p>
            <a:endParaRPr lang="en-US" dirty="0">
              <a:solidFill>
                <a:prstClr val="black"/>
              </a:solidFill>
            </a:endParaRPr>
          </a:p>
        </p:txBody>
      </p:sp>
      <p:sp>
        <p:nvSpPr>
          <p:cNvPr id="256" name="Freeform 89">
            <a:extLst>
              <a:ext uri="{FF2B5EF4-FFF2-40B4-BE49-F238E27FC236}">
                <a16:creationId xmlns:a16="http://schemas.microsoft.com/office/drawing/2014/main" id="{6A8B23F1-CABC-418B-A505-98A1B46A519C}"/>
              </a:ext>
            </a:extLst>
          </p:cNvPr>
          <p:cNvSpPr>
            <a:spLocks/>
          </p:cNvSpPr>
          <p:nvPr>
            <p:custDataLst>
              <p:tags r:id="rId80"/>
            </p:custDataLst>
          </p:nvPr>
        </p:nvSpPr>
        <p:spPr bwMode="auto">
          <a:xfrm>
            <a:off x="5050771" y="4230609"/>
            <a:ext cx="1297666" cy="722008"/>
          </a:xfrm>
          <a:custGeom>
            <a:avLst/>
            <a:gdLst>
              <a:gd name="T0" fmla="*/ 2147483647 w 642"/>
              <a:gd name="T1" fmla="*/ 2147483647 h 334"/>
              <a:gd name="T2" fmla="*/ 2147483647 w 642"/>
              <a:gd name="T3" fmla="*/ 2147483647 h 334"/>
              <a:gd name="T4" fmla="*/ 2147483647 w 642"/>
              <a:gd name="T5" fmla="*/ 2147483647 h 334"/>
              <a:gd name="T6" fmla="*/ 2147483647 w 642"/>
              <a:gd name="T7" fmla="*/ 2147483647 h 334"/>
              <a:gd name="T8" fmla="*/ 2147483647 w 642"/>
              <a:gd name="T9" fmla="*/ 2147483647 h 334"/>
              <a:gd name="T10" fmla="*/ 2147483647 w 642"/>
              <a:gd name="T11" fmla="*/ 2147483647 h 334"/>
              <a:gd name="T12" fmla="*/ 2147483647 w 642"/>
              <a:gd name="T13" fmla="*/ 2147483647 h 334"/>
              <a:gd name="T14" fmla="*/ 2147483647 w 642"/>
              <a:gd name="T15" fmla="*/ 2147483647 h 334"/>
              <a:gd name="T16" fmla="*/ 2147483647 w 642"/>
              <a:gd name="T17" fmla="*/ 2147483647 h 334"/>
              <a:gd name="T18" fmla="*/ 2147483647 w 642"/>
              <a:gd name="T19" fmla="*/ 2147483647 h 334"/>
              <a:gd name="T20" fmla="*/ 2147483647 w 642"/>
              <a:gd name="T21" fmla="*/ 2147483647 h 334"/>
              <a:gd name="T22" fmla="*/ 2147483647 w 642"/>
              <a:gd name="T23" fmla="*/ 2147483647 h 334"/>
              <a:gd name="T24" fmla="*/ 2147483647 w 642"/>
              <a:gd name="T25" fmla="*/ 2147483647 h 334"/>
              <a:gd name="T26" fmla="*/ 2147483647 w 642"/>
              <a:gd name="T27" fmla="*/ 2147483647 h 334"/>
              <a:gd name="T28" fmla="*/ 2147483647 w 642"/>
              <a:gd name="T29" fmla="*/ 2147483647 h 334"/>
              <a:gd name="T30" fmla="*/ 2147483647 w 642"/>
              <a:gd name="T31" fmla="*/ 2147483647 h 334"/>
              <a:gd name="T32" fmla="*/ 2147483647 w 642"/>
              <a:gd name="T33" fmla="*/ 2147483647 h 334"/>
              <a:gd name="T34" fmla="*/ 2147483647 w 642"/>
              <a:gd name="T35" fmla="*/ 2147483647 h 334"/>
              <a:gd name="T36" fmla="*/ 2147483647 w 642"/>
              <a:gd name="T37" fmla="*/ 2147483647 h 334"/>
              <a:gd name="T38" fmla="*/ 2147483647 w 642"/>
              <a:gd name="T39" fmla="*/ 2147483647 h 334"/>
              <a:gd name="T40" fmla="*/ 2147483647 w 642"/>
              <a:gd name="T41" fmla="*/ 2147483647 h 334"/>
              <a:gd name="T42" fmla="*/ 2147483647 w 642"/>
              <a:gd name="T43" fmla="*/ 2147483647 h 334"/>
              <a:gd name="T44" fmla="*/ 2147483647 w 642"/>
              <a:gd name="T45" fmla="*/ 2147483647 h 334"/>
              <a:gd name="T46" fmla="*/ 2147483647 w 642"/>
              <a:gd name="T47" fmla="*/ 2147483647 h 334"/>
              <a:gd name="T48" fmla="*/ 2147483647 w 642"/>
              <a:gd name="T49" fmla="*/ 2147483647 h 334"/>
              <a:gd name="T50" fmla="*/ 2147483647 w 642"/>
              <a:gd name="T51" fmla="*/ 2147483647 h 334"/>
              <a:gd name="T52" fmla="*/ 2147483647 w 642"/>
              <a:gd name="T53" fmla="*/ 2147483647 h 334"/>
              <a:gd name="T54" fmla="*/ 2147483647 w 642"/>
              <a:gd name="T55" fmla="*/ 2147483647 h 334"/>
              <a:gd name="T56" fmla="*/ 2147483647 w 642"/>
              <a:gd name="T57" fmla="*/ 2147483647 h 334"/>
              <a:gd name="T58" fmla="*/ 2147483647 w 642"/>
              <a:gd name="T59" fmla="*/ 2147483647 h 334"/>
              <a:gd name="T60" fmla="*/ 2147483647 w 642"/>
              <a:gd name="T61" fmla="*/ 2147483647 h 334"/>
              <a:gd name="T62" fmla="*/ 2147483647 w 642"/>
              <a:gd name="T63" fmla="*/ 2147483647 h 334"/>
              <a:gd name="T64" fmla="*/ 2147483647 w 642"/>
              <a:gd name="T65" fmla="*/ 2147483647 h 334"/>
              <a:gd name="T66" fmla="*/ 2147483647 w 642"/>
              <a:gd name="T67" fmla="*/ 2147483647 h 334"/>
              <a:gd name="T68" fmla="*/ 2147483647 w 642"/>
              <a:gd name="T69" fmla="*/ 2147483647 h 334"/>
              <a:gd name="T70" fmla="*/ 2147483647 w 642"/>
              <a:gd name="T71" fmla="*/ 2147483647 h 334"/>
              <a:gd name="T72" fmla="*/ 2147483647 w 642"/>
              <a:gd name="T73" fmla="*/ 2147483647 h 334"/>
              <a:gd name="T74" fmla="*/ 2147483647 w 642"/>
              <a:gd name="T75" fmla="*/ 2147483647 h 334"/>
              <a:gd name="T76" fmla="*/ 2147483647 w 642"/>
              <a:gd name="T77" fmla="*/ 2147483647 h 334"/>
              <a:gd name="T78" fmla="*/ 2147483647 w 642"/>
              <a:gd name="T79" fmla="*/ 2147483647 h 334"/>
              <a:gd name="T80" fmla="*/ 2147483647 w 642"/>
              <a:gd name="T81" fmla="*/ 2147483647 h 334"/>
              <a:gd name="T82" fmla="*/ 2147483647 w 642"/>
              <a:gd name="T83" fmla="*/ 2147483647 h 334"/>
              <a:gd name="T84" fmla="*/ 2147483647 w 642"/>
              <a:gd name="T85" fmla="*/ 2147483647 h 334"/>
              <a:gd name="T86" fmla="*/ 2147483647 w 642"/>
              <a:gd name="T87" fmla="*/ 2147483647 h 334"/>
              <a:gd name="T88" fmla="*/ 2147483647 w 642"/>
              <a:gd name="T89" fmla="*/ 2147483647 h 334"/>
              <a:gd name="T90" fmla="*/ 2147483647 w 642"/>
              <a:gd name="T91" fmla="*/ 2147483647 h 334"/>
              <a:gd name="T92" fmla="*/ 2147483647 w 642"/>
              <a:gd name="T93" fmla="*/ 2147483647 h 334"/>
              <a:gd name="T94" fmla="*/ 2147483647 w 642"/>
              <a:gd name="T95" fmla="*/ 2147483647 h 334"/>
              <a:gd name="T96" fmla="*/ 2147483647 w 642"/>
              <a:gd name="T97" fmla="*/ 2147483647 h 334"/>
              <a:gd name="T98" fmla="*/ 2147483647 w 642"/>
              <a:gd name="T99" fmla="*/ 2147483647 h 334"/>
              <a:gd name="T100" fmla="*/ 2147483647 w 642"/>
              <a:gd name="T101" fmla="*/ 2147483647 h 334"/>
              <a:gd name="T102" fmla="*/ 2147483647 w 642"/>
              <a:gd name="T103" fmla="*/ 2147483647 h 334"/>
              <a:gd name="T104" fmla="*/ 2147483647 w 642"/>
              <a:gd name="T105" fmla="*/ 2147483647 h 334"/>
              <a:gd name="T106" fmla="*/ 2147483647 w 642"/>
              <a:gd name="T107" fmla="*/ 2147483647 h 3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2"/>
              <a:gd name="T163" fmla="*/ 0 h 334"/>
              <a:gd name="T164" fmla="*/ 642 w 642"/>
              <a:gd name="T165" fmla="*/ 334 h 3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2" h="334">
                <a:moveTo>
                  <a:pt x="642" y="209"/>
                </a:moveTo>
                <a:lnTo>
                  <a:pt x="642" y="231"/>
                </a:lnTo>
                <a:lnTo>
                  <a:pt x="640" y="250"/>
                </a:lnTo>
                <a:lnTo>
                  <a:pt x="640" y="280"/>
                </a:lnTo>
                <a:lnTo>
                  <a:pt x="640" y="304"/>
                </a:lnTo>
                <a:lnTo>
                  <a:pt x="640" y="332"/>
                </a:lnTo>
                <a:lnTo>
                  <a:pt x="637" y="332"/>
                </a:lnTo>
                <a:lnTo>
                  <a:pt x="637" y="334"/>
                </a:lnTo>
                <a:lnTo>
                  <a:pt x="637" y="332"/>
                </a:lnTo>
                <a:lnTo>
                  <a:pt x="633" y="332"/>
                </a:lnTo>
                <a:lnTo>
                  <a:pt x="633" y="330"/>
                </a:lnTo>
                <a:lnTo>
                  <a:pt x="631" y="330"/>
                </a:lnTo>
                <a:lnTo>
                  <a:pt x="633" y="330"/>
                </a:lnTo>
                <a:lnTo>
                  <a:pt x="631" y="330"/>
                </a:lnTo>
                <a:lnTo>
                  <a:pt x="631" y="328"/>
                </a:lnTo>
                <a:lnTo>
                  <a:pt x="629" y="330"/>
                </a:lnTo>
                <a:lnTo>
                  <a:pt x="627" y="328"/>
                </a:lnTo>
                <a:lnTo>
                  <a:pt x="627" y="330"/>
                </a:lnTo>
                <a:lnTo>
                  <a:pt x="624" y="330"/>
                </a:lnTo>
                <a:lnTo>
                  <a:pt x="627" y="328"/>
                </a:lnTo>
                <a:lnTo>
                  <a:pt x="624" y="328"/>
                </a:lnTo>
                <a:lnTo>
                  <a:pt x="620" y="328"/>
                </a:lnTo>
                <a:lnTo>
                  <a:pt x="620" y="324"/>
                </a:lnTo>
                <a:lnTo>
                  <a:pt x="616" y="324"/>
                </a:lnTo>
                <a:lnTo>
                  <a:pt x="620" y="321"/>
                </a:lnTo>
                <a:lnTo>
                  <a:pt x="616" y="321"/>
                </a:lnTo>
                <a:lnTo>
                  <a:pt x="614" y="321"/>
                </a:lnTo>
                <a:lnTo>
                  <a:pt x="609" y="321"/>
                </a:lnTo>
                <a:lnTo>
                  <a:pt x="609" y="319"/>
                </a:lnTo>
                <a:lnTo>
                  <a:pt x="607" y="317"/>
                </a:lnTo>
                <a:lnTo>
                  <a:pt x="605" y="315"/>
                </a:lnTo>
                <a:lnTo>
                  <a:pt x="605" y="313"/>
                </a:lnTo>
                <a:lnTo>
                  <a:pt x="603" y="313"/>
                </a:lnTo>
                <a:lnTo>
                  <a:pt x="599" y="313"/>
                </a:lnTo>
                <a:lnTo>
                  <a:pt x="596" y="311"/>
                </a:lnTo>
                <a:lnTo>
                  <a:pt x="596" y="313"/>
                </a:lnTo>
                <a:lnTo>
                  <a:pt x="596" y="311"/>
                </a:lnTo>
                <a:lnTo>
                  <a:pt x="594" y="306"/>
                </a:lnTo>
                <a:lnTo>
                  <a:pt x="592" y="311"/>
                </a:lnTo>
                <a:lnTo>
                  <a:pt x="592" y="306"/>
                </a:lnTo>
                <a:lnTo>
                  <a:pt x="592" y="304"/>
                </a:lnTo>
                <a:lnTo>
                  <a:pt x="590" y="306"/>
                </a:lnTo>
                <a:lnTo>
                  <a:pt x="590" y="304"/>
                </a:lnTo>
                <a:lnTo>
                  <a:pt x="588" y="304"/>
                </a:lnTo>
                <a:lnTo>
                  <a:pt x="581" y="302"/>
                </a:lnTo>
                <a:lnTo>
                  <a:pt x="579" y="304"/>
                </a:lnTo>
                <a:lnTo>
                  <a:pt x="579" y="306"/>
                </a:lnTo>
                <a:lnTo>
                  <a:pt x="577" y="306"/>
                </a:lnTo>
                <a:lnTo>
                  <a:pt x="577" y="311"/>
                </a:lnTo>
                <a:lnTo>
                  <a:pt x="575" y="311"/>
                </a:lnTo>
                <a:lnTo>
                  <a:pt x="573" y="306"/>
                </a:lnTo>
                <a:lnTo>
                  <a:pt x="575" y="311"/>
                </a:lnTo>
                <a:lnTo>
                  <a:pt x="564" y="313"/>
                </a:lnTo>
                <a:lnTo>
                  <a:pt x="562" y="311"/>
                </a:lnTo>
                <a:lnTo>
                  <a:pt x="560" y="311"/>
                </a:lnTo>
                <a:lnTo>
                  <a:pt x="560" y="306"/>
                </a:lnTo>
                <a:lnTo>
                  <a:pt x="557" y="311"/>
                </a:lnTo>
                <a:lnTo>
                  <a:pt x="557" y="306"/>
                </a:lnTo>
                <a:lnTo>
                  <a:pt x="560" y="306"/>
                </a:lnTo>
                <a:lnTo>
                  <a:pt x="557" y="306"/>
                </a:lnTo>
                <a:lnTo>
                  <a:pt x="555" y="304"/>
                </a:lnTo>
                <a:lnTo>
                  <a:pt x="551" y="304"/>
                </a:lnTo>
                <a:lnTo>
                  <a:pt x="551" y="306"/>
                </a:lnTo>
                <a:lnTo>
                  <a:pt x="549" y="306"/>
                </a:lnTo>
                <a:lnTo>
                  <a:pt x="545" y="311"/>
                </a:lnTo>
                <a:lnTo>
                  <a:pt x="542" y="306"/>
                </a:lnTo>
                <a:lnTo>
                  <a:pt x="540" y="311"/>
                </a:lnTo>
                <a:lnTo>
                  <a:pt x="540" y="313"/>
                </a:lnTo>
                <a:lnTo>
                  <a:pt x="538" y="313"/>
                </a:lnTo>
                <a:lnTo>
                  <a:pt x="534" y="315"/>
                </a:lnTo>
                <a:lnTo>
                  <a:pt x="527" y="311"/>
                </a:lnTo>
                <a:lnTo>
                  <a:pt x="525" y="313"/>
                </a:lnTo>
                <a:lnTo>
                  <a:pt x="523" y="313"/>
                </a:lnTo>
                <a:lnTo>
                  <a:pt x="523" y="311"/>
                </a:lnTo>
                <a:lnTo>
                  <a:pt x="523" y="313"/>
                </a:lnTo>
                <a:lnTo>
                  <a:pt x="519" y="315"/>
                </a:lnTo>
                <a:lnTo>
                  <a:pt x="519" y="313"/>
                </a:lnTo>
                <a:lnTo>
                  <a:pt x="516" y="315"/>
                </a:lnTo>
                <a:lnTo>
                  <a:pt x="514" y="315"/>
                </a:lnTo>
                <a:lnTo>
                  <a:pt x="512" y="315"/>
                </a:lnTo>
                <a:lnTo>
                  <a:pt x="510" y="315"/>
                </a:lnTo>
                <a:lnTo>
                  <a:pt x="508" y="315"/>
                </a:lnTo>
                <a:lnTo>
                  <a:pt x="508" y="317"/>
                </a:lnTo>
                <a:lnTo>
                  <a:pt x="510" y="315"/>
                </a:lnTo>
                <a:lnTo>
                  <a:pt x="510" y="317"/>
                </a:lnTo>
                <a:lnTo>
                  <a:pt x="508" y="319"/>
                </a:lnTo>
                <a:lnTo>
                  <a:pt x="508" y="321"/>
                </a:lnTo>
                <a:lnTo>
                  <a:pt x="506" y="321"/>
                </a:lnTo>
                <a:lnTo>
                  <a:pt x="499" y="319"/>
                </a:lnTo>
                <a:lnTo>
                  <a:pt x="499" y="321"/>
                </a:lnTo>
                <a:lnTo>
                  <a:pt x="497" y="324"/>
                </a:lnTo>
                <a:lnTo>
                  <a:pt x="497" y="328"/>
                </a:lnTo>
                <a:lnTo>
                  <a:pt x="495" y="328"/>
                </a:lnTo>
                <a:lnTo>
                  <a:pt x="493" y="321"/>
                </a:lnTo>
                <a:lnTo>
                  <a:pt x="491" y="319"/>
                </a:lnTo>
                <a:lnTo>
                  <a:pt x="484" y="319"/>
                </a:lnTo>
                <a:lnTo>
                  <a:pt x="482" y="319"/>
                </a:lnTo>
                <a:lnTo>
                  <a:pt x="482" y="317"/>
                </a:lnTo>
                <a:lnTo>
                  <a:pt x="478" y="315"/>
                </a:lnTo>
                <a:lnTo>
                  <a:pt x="475" y="315"/>
                </a:lnTo>
                <a:lnTo>
                  <a:pt x="475" y="313"/>
                </a:lnTo>
                <a:lnTo>
                  <a:pt x="478" y="311"/>
                </a:lnTo>
                <a:lnTo>
                  <a:pt x="469" y="306"/>
                </a:lnTo>
                <a:lnTo>
                  <a:pt x="467" y="313"/>
                </a:lnTo>
                <a:lnTo>
                  <a:pt x="467" y="315"/>
                </a:lnTo>
                <a:lnTo>
                  <a:pt x="462" y="315"/>
                </a:lnTo>
                <a:lnTo>
                  <a:pt x="460" y="311"/>
                </a:lnTo>
                <a:lnTo>
                  <a:pt x="458" y="311"/>
                </a:lnTo>
                <a:lnTo>
                  <a:pt x="456" y="313"/>
                </a:lnTo>
                <a:lnTo>
                  <a:pt x="452" y="311"/>
                </a:lnTo>
                <a:lnTo>
                  <a:pt x="452" y="304"/>
                </a:lnTo>
                <a:lnTo>
                  <a:pt x="452" y="302"/>
                </a:lnTo>
                <a:lnTo>
                  <a:pt x="450" y="302"/>
                </a:lnTo>
                <a:lnTo>
                  <a:pt x="447" y="304"/>
                </a:lnTo>
                <a:lnTo>
                  <a:pt x="445" y="304"/>
                </a:lnTo>
                <a:lnTo>
                  <a:pt x="445" y="311"/>
                </a:lnTo>
                <a:lnTo>
                  <a:pt x="443" y="313"/>
                </a:lnTo>
                <a:lnTo>
                  <a:pt x="437" y="313"/>
                </a:lnTo>
                <a:lnTo>
                  <a:pt x="437" y="315"/>
                </a:lnTo>
                <a:lnTo>
                  <a:pt x="441" y="315"/>
                </a:lnTo>
                <a:lnTo>
                  <a:pt x="437" y="317"/>
                </a:lnTo>
                <a:lnTo>
                  <a:pt x="437" y="321"/>
                </a:lnTo>
                <a:lnTo>
                  <a:pt x="437" y="324"/>
                </a:lnTo>
                <a:lnTo>
                  <a:pt x="434" y="324"/>
                </a:lnTo>
                <a:lnTo>
                  <a:pt x="432" y="324"/>
                </a:lnTo>
                <a:lnTo>
                  <a:pt x="430" y="321"/>
                </a:lnTo>
                <a:lnTo>
                  <a:pt x="428" y="315"/>
                </a:lnTo>
                <a:lnTo>
                  <a:pt x="430" y="315"/>
                </a:lnTo>
                <a:lnTo>
                  <a:pt x="430" y="313"/>
                </a:lnTo>
                <a:lnTo>
                  <a:pt x="432" y="313"/>
                </a:lnTo>
                <a:lnTo>
                  <a:pt x="430" y="306"/>
                </a:lnTo>
                <a:lnTo>
                  <a:pt x="428" y="306"/>
                </a:lnTo>
                <a:lnTo>
                  <a:pt x="426" y="306"/>
                </a:lnTo>
                <a:lnTo>
                  <a:pt x="426" y="311"/>
                </a:lnTo>
                <a:lnTo>
                  <a:pt x="424" y="313"/>
                </a:lnTo>
                <a:lnTo>
                  <a:pt x="424" y="311"/>
                </a:lnTo>
                <a:lnTo>
                  <a:pt x="419" y="306"/>
                </a:lnTo>
                <a:lnTo>
                  <a:pt x="419" y="311"/>
                </a:lnTo>
                <a:lnTo>
                  <a:pt x="417" y="313"/>
                </a:lnTo>
                <a:lnTo>
                  <a:pt x="415" y="315"/>
                </a:lnTo>
                <a:lnTo>
                  <a:pt x="413" y="315"/>
                </a:lnTo>
                <a:lnTo>
                  <a:pt x="411" y="313"/>
                </a:lnTo>
                <a:lnTo>
                  <a:pt x="408" y="306"/>
                </a:lnTo>
                <a:lnTo>
                  <a:pt x="406" y="304"/>
                </a:lnTo>
                <a:lnTo>
                  <a:pt x="400" y="306"/>
                </a:lnTo>
                <a:lnTo>
                  <a:pt x="398" y="304"/>
                </a:lnTo>
                <a:lnTo>
                  <a:pt x="398" y="300"/>
                </a:lnTo>
                <a:lnTo>
                  <a:pt x="393" y="300"/>
                </a:lnTo>
                <a:lnTo>
                  <a:pt x="391" y="300"/>
                </a:lnTo>
                <a:lnTo>
                  <a:pt x="387" y="302"/>
                </a:lnTo>
                <a:lnTo>
                  <a:pt x="385" y="304"/>
                </a:lnTo>
                <a:lnTo>
                  <a:pt x="383" y="306"/>
                </a:lnTo>
                <a:lnTo>
                  <a:pt x="378" y="311"/>
                </a:lnTo>
                <a:lnTo>
                  <a:pt x="378" y="313"/>
                </a:lnTo>
                <a:lnTo>
                  <a:pt x="374" y="311"/>
                </a:lnTo>
                <a:lnTo>
                  <a:pt x="370" y="306"/>
                </a:lnTo>
                <a:lnTo>
                  <a:pt x="367" y="306"/>
                </a:lnTo>
                <a:lnTo>
                  <a:pt x="367" y="304"/>
                </a:lnTo>
                <a:lnTo>
                  <a:pt x="370" y="304"/>
                </a:lnTo>
                <a:lnTo>
                  <a:pt x="370" y="302"/>
                </a:lnTo>
                <a:lnTo>
                  <a:pt x="370" y="300"/>
                </a:lnTo>
                <a:lnTo>
                  <a:pt x="367" y="298"/>
                </a:lnTo>
                <a:lnTo>
                  <a:pt x="365" y="298"/>
                </a:lnTo>
                <a:lnTo>
                  <a:pt x="363" y="298"/>
                </a:lnTo>
                <a:lnTo>
                  <a:pt x="361" y="298"/>
                </a:lnTo>
                <a:lnTo>
                  <a:pt x="359" y="289"/>
                </a:lnTo>
                <a:lnTo>
                  <a:pt x="361" y="285"/>
                </a:lnTo>
                <a:lnTo>
                  <a:pt x="359" y="283"/>
                </a:lnTo>
                <a:lnTo>
                  <a:pt x="359" y="285"/>
                </a:lnTo>
                <a:lnTo>
                  <a:pt x="352" y="287"/>
                </a:lnTo>
                <a:lnTo>
                  <a:pt x="346" y="285"/>
                </a:lnTo>
                <a:lnTo>
                  <a:pt x="344" y="285"/>
                </a:lnTo>
                <a:lnTo>
                  <a:pt x="342" y="283"/>
                </a:lnTo>
                <a:lnTo>
                  <a:pt x="337" y="285"/>
                </a:lnTo>
                <a:lnTo>
                  <a:pt x="337" y="287"/>
                </a:lnTo>
                <a:lnTo>
                  <a:pt x="335" y="289"/>
                </a:lnTo>
                <a:lnTo>
                  <a:pt x="333" y="291"/>
                </a:lnTo>
                <a:lnTo>
                  <a:pt x="329" y="289"/>
                </a:lnTo>
                <a:lnTo>
                  <a:pt x="322" y="287"/>
                </a:lnTo>
                <a:lnTo>
                  <a:pt x="322" y="283"/>
                </a:lnTo>
                <a:lnTo>
                  <a:pt x="320" y="283"/>
                </a:lnTo>
                <a:lnTo>
                  <a:pt x="318" y="283"/>
                </a:lnTo>
                <a:lnTo>
                  <a:pt x="316" y="283"/>
                </a:lnTo>
                <a:lnTo>
                  <a:pt x="313" y="285"/>
                </a:lnTo>
                <a:lnTo>
                  <a:pt x="309" y="283"/>
                </a:lnTo>
                <a:lnTo>
                  <a:pt x="305" y="283"/>
                </a:lnTo>
                <a:lnTo>
                  <a:pt x="298" y="280"/>
                </a:lnTo>
                <a:lnTo>
                  <a:pt x="294" y="278"/>
                </a:lnTo>
                <a:lnTo>
                  <a:pt x="292" y="274"/>
                </a:lnTo>
                <a:lnTo>
                  <a:pt x="288" y="278"/>
                </a:lnTo>
                <a:lnTo>
                  <a:pt x="283" y="274"/>
                </a:lnTo>
                <a:lnTo>
                  <a:pt x="281" y="278"/>
                </a:lnTo>
                <a:lnTo>
                  <a:pt x="277" y="274"/>
                </a:lnTo>
                <a:lnTo>
                  <a:pt x="277" y="270"/>
                </a:lnTo>
                <a:lnTo>
                  <a:pt x="277" y="267"/>
                </a:lnTo>
                <a:lnTo>
                  <a:pt x="277" y="265"/>
                </a:lnTo>
                <a:lnTo>
                  <a:pt x="270" y="259"/>
                </a:lnTo>
                <a:lnTo>
                  <a:pt x="270" y="257"/>
                </a:lnTo>
                <a:lnTo>
                  <a:pt x="266" y="254"/>
                </a:lnTo>
                <a:lnTo>
                  <a:pt x="264" y="252"/>
                </a:lnTo>
                <a:lnTo>
                  <a:pt x="262" y="254"/>
                </a:lnTo>
                <a:lnTo>
                  <a:pt x="262" y="257"/>
                </a:lnTo>
                <a:lnTo>
                  <a:pt x="260" y="259"/>
                </a:lnTo>
                <a:lnTo>
                  <a:pt x="253" y="257"/>
                </a:lnTo>
                <a:lnTo>
                  <a:pt x="253" y="254"/>
                </a:lnTo>
                <a:lnTo>
                  <a:pt x="249" y="254"/>
                </a:lnTo>
                <a:lnTo>
                  <a:pt x="247" y="254"/>
                </a:lnTo>
                <a:lnTo>
                  <a:pt x="247" y="257"/>
                </a:lnTo>
                <a:lnTo>
                  <a:pt x="244" y="259"/>
                </a:lnTo>
                <a:lnTo>
                  <a:pt x="238" y="257"/>
                </a:lnTo>
                <a:lnTo>
                  <a:pt x="231" y="252"/>
                </a:lnTo>
                <a:lnTo>
                  <a:pt x="229" y="246"/>
                </a:lnTo>
                <a:lnTo>
                  <a:pt x="227" y="246"/>
                </a:lnTo>
                <a:lnTo>
                  <a:pt x="223" y="242"/>
                </a:lnTo>
                <a:lnTo>
                  <a:pt x="221" y="237"/>
                </a:lnTo>
                <a:lnTo>
                  <a:pt x="218" y="237"/>
                </a:lnTo>
                <a:lnTo>
                  <a:pt x="216" y="239"/>
                </a:lnTo>
                <a:lnTo>
                  <a:pt x="216" y="222"/>
                </a:lnTo>
                <a:lnTo>
                  <a:pt x="216" y="196"/>
                </a:lnTo>
                <a:lnTo>
                  <a:pt x="218" y="183"/>
                </a:lnTo>
                <a:lnTo>
                  <a:pt x="218" y="159"/>
                </a:lnTo>
                <a:lnTo>
                  <a:pt x="218" y="140"/>
                </a:lnTo>
                <a:lnTo>
                  <a:pt x="221" y="116"/>
                </a:lnTo>
                <a:lnTo>
                  <a:pt x="221" y="101"/>
                </a:lnTo>
                <a:lnTo>
                  <a:pt x="223" y="58"/>
                </a:lnTo>
                <a:lnTo>
                  <a:pt x="221" y="58"/>
                </a:lnTo>
                <a:lnTo>
                  <a:pt x="182" y="58"/>
                </a:lnTo>
                <a:lnTo>
                  <a:pt x="152" y="56"/>
                </a:lnTo>
                <a:lnTo>
                  <a:pt x="141" y="56"/>
                </a:lnTo>
                <a:lnTo>
                  <a:pt x="102" y="54"/>
                </a:lnTo>
                <a:lnTo>
                  <a:pt x="70" y="52"/>
                </a:lnTo>
                <a:lnTo>
                  <a:pt x="63" y="52"/>
                </a:lnTo>
                <a:lnTo>
                  <a:pt x="0" y="45"/>
                </a:lnTo>
                <a:lnTo>
                  <a:pt x="3" y="0"/>
                </a:lnTo>
                <a:lnTo>
                  <a:pt x="74" y="6"/>
                </a:lnTo>
                <a:lnTo>
                  <a:pt x="108" y="6"/>
                </a:lnTo>
                <a:lnTo>
                  <a:pt x="145" y="8"/>
                </a:lnTo>
                <a:lnTo>
                  <a:pt x="154" y="8"/>
                </a:lnTo>
                <a:lnTo>
                  <a:pt x="177" y="11"/>
                </a:lnTo>
                <a:lnTo>
                  <a:pt x="218" y="11"/>
                </a:lnTo>
                <a:lnTo>
                  <a:pt x="223" y="13"/>
                </a:lnTo>
                <a:lnTo>
                  <a:pt x="260" y="13"/>
                </a:lnTo>
                <a:lnTo>
                  <a:pt x="266" y="13"/>
                </a:lnTo>
                <a:lnTo>
                  <a:pt x="298" y="17"/>
                </a:lnTo>
                <a:lnTo>
                  <a:pt x="333" y="17"/>
                </a:lnTo>
                <a:lnTo>
                  <a:pt x="348" y="17"/>
                </a:lnTo>
                <a:lnTo>
                  <a:pt x="365" y="17"/>
                </a:lnTo>
                <a:lnTo>
                  <a:pt x="387" y="17"/>
                </a:lnTo>
                <a:lnTo>
                  <a:pt x="413" y="19"/>
                </a:lnTo>
                <a:lnTo>
                  <a:pt x="437" y="19"/>
                </a:lnTo>
                <a:lnTo>
                  <a:pt x="465" y="19"/>
                </a:lnTo>
                <a:lnTo>
                  <a:pt x="482" y="19"/>
                </a:lnTo>
                <a:lnTo>
                  <a:pt x="523" y="19"/>
                </a:lnTo>
                <a:lnTo>
                  <a:pt x="525" y="19"/>
                </a:lnTo>
                <a:lnTo>
                  <a:pt x="538" y="19"/>
                </a:lnTo>
                <a:lnTo>
                  <a:pt x="557" y="19"/>
                </a:lnTo>
                <a:lnTo>
                  <a:pt x="564" y="19"/>
                </a:lnTo>
                <a:lnTo>
                  <a:pt x="590" y="19"/>
                </a:lnTo>
                <a:lnTo>
                  <a:pt x="594" y="19"/>
                </a:lnTo>
                <a:lnTo>
                  <a:pt x="624" y="19"/>
                </a:lnTo>
                <a:lnTo>
                  <a:pt x="624" y="41"/>
                </a:lnTo>
                <a:lnTo>
                  <a:pt x="624" y="49"/>
                </a:lnTo>
                <a:lnTo>
                  <a:pt x="624" y="67"/>
                </a:lnTo>
                <a:lnTo>
                  <a:pt x="627" y="67"/>
                </a:lnTo>
                <a:lnTo>
                  <a:pt x="629" y="95"/>
                </a:lnTo>
                <a:lnTo>
                  <a:pt x="631" y="101"/>
                </a:lnTo>
                <a:lnTo>
                  <a:pt x="637" y="134"/>
                </a:lnTo>
                <a:lnTo>
                  <a:pt x="637" y="144"/>
                </a:lnTo>
                <a:lnTo>
                  <a:pt x="642" y="168"/>
                </a:lnTo>
                <a:lnTo>
                  <a:pt x="642" y="209"/>
                </a:lnTo>
                <a:close/>
              </a:path>
            </a:pathLst>
          </a:custGeom>
          <a:noFill/>
          <a:ln w="9525">
            <a:noFill/>
            <a:round/>
            <a:headEnd/>
            <a:tailEnd/>
          </a:ln>
        </p:spPr>
        <p:txBody>
          <a:bodyPr/>
          <a:lstStyle/>
          <a:p>
            <a:endParaRPr lang="en-US" dirty="0">
              <a:solidFill>
                <a:prstClr val="black"/>
              </a:solidFill>
            </a:endParaRPr>
          </a:p>
        </p:txBody>
      </p:sp>
      <p:sp>
        <p:nvSpPr>
          <p:cNvPr id="257" name="Freeform 90">
            <a:extLst>
              <a:ext uri="{FF2B5EF4-FFF2-40B4-BE49-F238E27FC236}">
                <a16:creationId xmlns:a16="http://schemas.microsoft.com/office/drawing/2014/main" id="{851BBBBF-DF41-4758-A6E7-29432CF7545E}"/>
              </a:ext>
            </a:extLst>
          </p:cNvPr>
          <p:cNvSpPr>
            <a:spLocks/>
          </p:cNvSpPr>
          <p:nvPr>
            <p:custDataLst>
              <p:tags r:id="rId81"/>
            </p:custDataLst>
          </p:nvPr>
        </p:nvSpPr>
        <p:spPr bwMode="auto">
          <a:xfrm>
            <a:off x="5050771" y="4230609"/>
            <a:ext cx="1297666" cy="722008"/>
          </a:xfrm>
          <a:custGeom>
            <a:avLst/>
            <a:gdLst>
              <a:gd name="T0" fmla="*/ 2147483647 w 642"/>
              <a:gd name="T1" fmla="*/ 2147483647 h 334"/>
              <a:gd name="T2" fmla="*/ 2147483647 w 642"/>
              <a:gd name="T3" fmla="*/ 2147483647 h 334"/>
              <a:gd name="T4" fmla="*/ 2147483647 w 642"/>
              <a:gd name="T5" fmla="*/ 2147483647 h 334"/>
              <a:gd name="T6" fmla="*/ 2147483647 w 642"/>
              <a:gd name="T7" fmla="*/ 2147483647 h 334"/>
              <a:gd name="T8" fmla="*/ 2147483647 w 642"/>
              <a:gd name="T9" fmla="*/ 2147483647 h 334"/>
              <a:gd name="T10" fmla="*/ 2147483647 w 642"/>
              <a:gd name="T11" fmla="*/ 2147483647 h 334"/>
              <a:gd name="T12" fmla="*/ 2147483647 w 642"/>
              <a:gd name="T13" fmla="*/ 2147483647 h 334"/>
              <a:gd name="T14" fmla="*/ 2147483647 w 642"/>
              <a:gd name="T15" fmla="*/ 2147483647 h 334"/>
              <a:gd name="T16" fmla="*/ 2147483647 w 642"/>
              <a:gd name="T17" fmla="*/ 2147483647 h 334"/>
              <a:gd name="T18" fmla="*/ 2147483647 w 642"/>
              <a:gd name="T19" fmla="*/ 2147483647 h 334"/>
              <a:gd name="T20" fmla="*/ 2147483647 w 642"/>
              <a:gd name="T21" fmla="*/ 2147483647 h 334"/>
              <a:gd name="T22" fmla="*/ 2147483647 w 642"/>
              <a:gd name="T23" fmla="*/ 2147483647 h 334"/>
              <a:gd name="T24" fmla="*/ 2147483647 w 642"/>
              <a:gd name="T25" fmla="*/ 2147483647 h 334"/>
              <a:gd name="T26" fmla="*/ 2147483647 w 642"/>
              <a:gd name="T27" fmla="*/ 2147483647 h 334"/>
              <a:gd name="T28" fmla="*/ 2147483647 w 642"/>
              <a:gd name="T29" fmla="*/ 2147483647 h 334"/>
              <a:gd name="T30" fmla="*/ 2147483647 w 642"/>
              <a:gd name="T31" fmla="*/ 2147483647 h 334"/>
              <a:gd name="T32" fmla="*/ 2147483647 w 642"/>
              <a:gd name="T33" fmla="*/ 2147483647 h 334"/>
              <a:gd name="T34" fmla="*/ 2147483647 w 642"/>
              <a:gd name="T35" fmla="*/ 2147483647 h 334"/>
              <a:gd name="T36" fmla="*/ 2147483647 w 642"/>
              <a:gd name="T37" fmla="*/ 2147483647 h 334"/>
              <a:gd name="T38" fmla="*/ 2147483647 w 642"/>
              <a:gd name="T39" fmla="*/ 2147483647 h 334"/>
              <a:gd name="T40" fmla="*/ 2147483647 w 642"/>
              <a:gd name="T41" fmla="*/ 2147483647 h 334"/>
              <a:gd name="T42" fmla="*/ 2147483647 w 642"/>
              <a:gd name="T43" fmla="*/ 2147483647 h 334"/>
              <a:gd name="T44" fmla="*/ 2147483647 w 642"/>
              <a:gd name="T45" fmla="*/ 2147483647 h 334"/>
              <a:gd name="T46" fmla="*/ 2147483647 w 642"/>
              <a:gd name="T47" fmla="*/ 2147483647 h 334"/>
              <a:gd name="T48" fmla="*/ 2147483647 w 642"/>
              <a:gd name="T49" fmla="*/ 2147483647 h 334"/>
              <a:gd name="T50" fmla="*/ 2147483647 w 642"/>
              <a:gd name="T51" fmla="*/ 2147483647 h 334"/>
              <a:gd name="T52" fmla="*/ 2147483647 w 642"/>
              <a:gd name="T53" fmla="*/ 2147483647 h 334"/>
              <a:gd name="T54" fmla="*/ 2147483647 w 642"/>
              <a:gd name="T55" fmla="*/ 2147483647 h 334"/>
              <a:gd name="T56" fmla="*/ 2147483647 w 642"/>
              <a:gd name="T57" fmla="*/ 2147483647 h 334"/>
              <a:gd name="T58" fmla="*/ 2147483647 w 642"/>
              <a:gd name="T59" fmla="*/ 2147483647 h 334"/>
              <a:gd name="T60" fmla="*/ 2147483647 w 642"/>
              <a:gd name="T61" fmla="*/ 2147483647 h 334"/>
              <a:gd name="T62" fmla="*/ 2147483647 w 642"/>
              <a:gd name="T63" fmla="*/ 2147483647 h 334"/>
              <a:gd name="T64" fmla="*/ 2147483647 w 642"/>
              <a:gd name="T65" fmla="*/ 2147483647 h 334"/>
              <a:gd name="T66" fmla="*/ 2147483647 w 642"/>
              <a:gd name="T67" fmla="*/ 2147483647 h 334"/>
              <a:gd name="T68" fmla="*/ 2147483647 w 642"/>
              <a:gd name="T69" fmla="*/ 2147483647 h 334"/>
              <a:gd name="T70" fmla="*/ 2147483647 w 642"/>
              <a:gd name="T71" fmla="*/ 2147483647 h 334"/>
              <a:gd name="T72" fmla="*/ 2147483647 w 642"/>
              <a:gd name="T73" fmla="*/ 2147483647 h 334"/>
              <a:gd name="T74" fmla="*/ 2147483647 w 642"/>
              <a:gd name="T75" fmla="*/ 2147483647 h 334"/>
              <a:gd name="T76" fmla="*/ 2147483647 w 642"/>
              <a:gd name="T77" fmla="*/ 2147483647 h 334"/>
              <a:gd name="T78" fmla="*/ 2147483647 w 642"/>
              <a:gd name="T79" fmla="*/ 2147483647 h 334"/>
              <a:gd name="T80" fmla="*/ 2147483647 w 642"/>
              <a:gd name="T81" fmla="*/ 2147483647 h 334"/>
              <a:gd name="T82" fmla="*/ 2147483647 w 642"/>
              <a:gd name="T83" fmla="*/ 2147483647 h 334"/>
              <a:gd name="T84" fmla="*/ 2147483647 w 642"/>
              <a:gd name="T85" fmla="*/ 2147483647 h 334"/>
              <a:gd name="T86" fmla="*/ 2147483647 w 642"/>
              <a:gd name="T87" fmla="*/ 2147483647 h 334"/>
              <a:gd name="T88" fmla="*/ 2147483647 w 642"/>
              <a:gd name="T89" fmla="*/ 2147483647 h 334"/>
              <a:gd name="T90" fmla="*/ 2147483647 w 642"/>
              <a:gd name="T91" fmla="*/ 2147483647 h 334"/>
              <a:gd name="T92" fmla="*/ 2147483647 w 642"/>
              <a:gd name="T93" fmla="*/ 2147483647 h 334"/>
              <a:gd name="T94" fmla="*/ 2147483647 w 642"/>
              <a:gd name="T95" fmla="*/ 2147483647 h 334"/>
              <a:gd name="T96" fmla="*/ 2147483647 w 642"/>
              <a:gd name="T97" fmla="*/ 2147483647 h 334"/>
              <a:gd name="T98" fmla="*/ 2147483647 w 642"/>
              <a:gd name="T99" fmla="*/ 2147483647 h 334"/>
              <a:gd name="T100" fmla="*/ 2147483647 w 642"/>
              <a:gd name="T101" fmla="*/ 2147483647 h 334"/>
              <a:gd name="T102" fmla="*/ 2147483647 w 642"/>
              <a:gd name="T103" fmla="*/ 2147483647 h 334"/>
              <a:gd name="T104" fmla="*/ 2147483647 w 642"/>
              <a:gd name="T105" fmla="*/ 2147483647 h 334"/>
              <a:gd name="T106" fmla="*/ 2147483647 w 642"/>
              <a:gd name="T107" fmla="*/ 2147483647 h 3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2"/>
              <a:gd name="T163" fmla="*/ 0 h 334"/>
              <a:gd name="T164" fmla="*/ 642 w 642"/>
              <a:gd name="T165" fmla="*/ 334 h 3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2" h="334">
                <a:moveTo>
                  <a:pt x="642" y="209"/>
                </a:moveTo>
                <a:lnTo>
                  <a:pt x="642" y="231"/>
                </a:lnTo>
                <a:lnTo>
                  <a:pt x="640" y="250"/>
                </a:lnTo>
                <a:lnTo>
                  <a:pt x="640" y="280"/>
                </a:lnTo>
                <a:lnTo>
                  <a:pt x="640" y="304"/>
                </a:lnTo>
                <a:lnTo>
                  <a:pt x="640" y="332"/>
                </a:lnTo>
                <a:lnTo>
                  <a:pt x="637" y="332"/>
                </a:lnTo>
                <a:lnTo>
                  <a:pt x="637" y="334"/>
                </a:lnTo>
                <a:lnTo>
                  <a:pt x="637" y="332"/>
                </a:lnTo>
                <a:lnTo>
                  <a:pt x="633" y="332"/>
                </a:lnTo>
                <a:lnTo>
                  <a:pt x="633" y="330"/>
                </a:lnTo>
                <a:lnTo>
                  <a:pt x="631" y="330"/>
                </a:lnTo>
                <a:lnTo>
                  <a:pt x="633" y="330"/>
                </a:lnTo>
                <a:lnTo>
                  <a:pt x="631" y="330"/>
                </a:lnTo>
                <a:lnTo>
                  <a:pt x="631" y="328"/>
                </a:lnTo>
                <a:lnTo>
                  <a:pt x="629" y="330"/>
                </a:lnTo>
                <a:lnTo>
                  <a:pt x="627" y="328"/>
                </a:lnTo>
                <a:lnTo>
                  <a:pt x="627" y="330"/>
                </a:lnTo>
                <a:lnTo>
                  <a:pt x="624" y="330"/>
                </a:lnTo>
                <a:lnTo>
                  <a:pt x="627" y="328"/>
                </a:lnTo>
                <a:lnTo>
                  <a:pt x="624" y="328"/>
                </a:lnTo>
                <a:lnTo>
                  <a:pt x="620" y="328"/>
                </a:lnTo>
                <a:lnTo>
                  <a:pt x="620" y="324"/>
                </a:lnTo>
                <a:lnTo>
                  <a:pt x="616" y="324"/>
                </a:lnTo>
                <a:lnTo>
                  <a:pt x="620" y="321"/>
                </a:lnTo>
                <a:lnTo>
                  <a:pt x="616" y="321"/>
                </a:lnTo>
                <a:lnTo>
                  <a:pt x="614" y="321"/>
                </a:lnTo>
                <a:lnTo>
                  <a:pt x="609" y="321"/>
                </a:lnTo>
                <a:lnTo>
                  <a:pt x="609" y="319"/>
                </a:lnTo>
                <a:lnTo>
                  <a:pt x="607" y="317"/>
                </a:lnTo>
                <a:lnTo>
                  <a:pt x="605" y="315"/>
                </a:lnTo>
                <a:lnTo>
                  <a:pt x="605" y="313"/>
                </a:lnTo>
                <a:lnTo>
                  <a:pt x="603" y="313"/>
                </a:lnTo>
                <a:lnTo>
                  <a:pt x="599" y="313"/>
                </a:lnTo>
                <a:lnTo>
                  <a:pt x="596" y="311"/>
                </a:lnTo>
                <a:lnTo>
                  <a:pt x="596" y="313"/>
                </a:lnTo>
                <a:lnTo>
                  <a:pt x="596" y="311"/>
                </a:lnTo>
                <a:lnTo>
                  <a:pt x="594" y="306"/>
                </a:lnTo>
                <a:lnTo>
                  <a:pt x="592" y="311"/>
                </a:lnTo>
                <a:lnTo>
                  <a:pt x="592" y="306"/>
                </a:lnTo>
                <a:lnTo>
                  <a:pt x="592" y="304"/>
                </a:lnTo>
                <a:lnTo>
                  <a:pt x="590" y="306"/>
                </a:lnTo>
                <a:lnTo>
                  <a:pt x="590" y="304"/>
                </a:lnTo>
                <a:lnTo>
                  <a:pt x="588" y="304"/>
                </a:lnTo>
                <a:lnTo>
                  <a:pt x="581" y="302"/>
                </a:lnTo>
                <a:lnTo>
                  <a:pt x="579" y="304"/>
                </a:lnTo>
                <a:lnTo>
                  <a:pt x="579" y="306"/>
                </a:lnTo>
                <a:lnTo>
                  <a:pt x="577" y="306"/>
                </a:lnTo>
                <a:lnTo>
                  <a:pt x="577" y="311"/>
                </a:lnTo>
                <a:lnTo>
                  <a:pt x="575" y="311"/>
                </a:lnTo>
                <a:lnTo>
                  <a:pt x="573" y="306"/>
                </a:lnTo>
                <a:lnTo>
                  <a:pt x="575" y="311"/>
                </a:lnTo>
                <a:lnTo>
                  <a:pt x="564" y="313"/>
                </a:lnTo>
                <a:lnTo>
                  <a:pt x="562" y="311"/>
                </a:lnTo>
                <a:lnTo>
                  <a:pt x="560" y="311"/>
                </a:lnTo>
                <a:lnTo>
                  <a:pt x="560" y="306"/>
                </a:lnTo>
                <a:lnTo>
                  <a:pt x="557" y="311"/>
                </a:lnTo>
                <a:lnTo>
                  <a:pt x="557" y="306"/>
                </a:lnTo>
                <a:lnTo>
                  <a:pt x="560" y="306"/>
                </a:lnTo>
                <a:lnTo>
                  <a:pt x="557" y="306"/>
                </a:lnTo>
                <a:lnTo>
                  <a:pt x="555" y="304"/>
                </a:lnTo>
                <a:lnTo>
                  <a:pt x="551" y="304"/>
                </a:lnTo>
                <a:lnTo>
                  <a:pt x="551" y="306"/>
                </a:lnTo>
                <a:lnTo>
                  <a:pt x="549" y="306"/>
                </a:lnTo>
                <a:lnTo>
                  <a:pt x="545" y="311"/>
                </a:lnTo>
                <a:lnTo>
                  <a:pt x="542" y="306"/>
                </a:lnTo>
                <a:lnTo>
                  <a:pt x="540" y="311"/>
                </a:lnTo>
                <a:lnTo>
                  <a:pt x="540" y="313"/>
                </a:lnTo>
                <a:lnTo>
                  <a:pt x="538" y="313"/>
                </a:lnTo>
                <a:lnTo>
                  <a:pt x="534" y="315"/>
                </a:lnTo>
                <a:lnTo>
                  <a:pt x="527" y="311"/>
                </a:lnTo>
                <a:lnTo>
                  <a:pt x="525" y="313"/>
                </a:lnTo>
                <a:lnTo>
                  <a:pt x="523" y="313"/>
                </a:lnTo>
                <a:lnTo>
                  <a:pt x="523" y="311"/>
                </a:lnTo>
                <a:lnTo>
                  <a:pt x="523" y="313"/>
                </a:lnTo>
                <a:lnTo>
                  <a:pt x="519" y="315"/>
                </a:lnTo>
                <a:lnTo>
                  <a:pt x="519" y="313"/>
                </a:lnTo>
                <a:lnTo>
                  <a:pt x="516" y="315"/>
                </a:lnTo>
                <a:lnTo>
                  <a:pt x="514" y="315"/>
                </a:lnTo>
                <a:lnTo>
                  <a:pt x="512" y="315"/>
                </a:lnTo>
                <a:lnTo>
                  <a:pt x="510" y="315"/>
                </a:lnTo>
                <a:lnTo>
                  <a:pt x="508" y="315"/>
                </a:lnTo>
                <a:lnTo>
                  <a:pt x="508" y="317"/>
                </a:lnTo>
                <a:lnTo>
                  <a:pt x="510" y="315"/>
                </a:lnTo>
                <a:lnTo>
                  <a:pt x="510" y="317"/>
                </a:lnTo>
                <a:lnTo>
                  <a:pt x="508" y="319"/>
                </a:lnTo>
                <a:lnTo>
                  <a:pt x="508" y="321"/>
                </a:lnTo>
                <a:lnTo>
                  <a:pt x="506" y="321"/>
                </a:lnTo>
                <a:lnTo>
                  <a:pt x="499" y="319"/>
                </a:lnTo>
                <a:lnTo>
                  <a:pt x="499" y="321"/>
                </a:lnTo>
                <a:lnTo>
                  <a:pt x="497" y="324"/>
                </a:lnTo>
                <a:lnTo>
                  <a:pt x="497" y="328"/>
                </a:lnTo>
                <a:lnTo>
                  <a:pt x="495" y="328"/>
                </a:lnTo>
                <a:lnTo>
                  <a:pt x="493" y="321"/>
                </a:lnTo>
                <a:lnTo>
                  <a:pt x="491" y="319"/>
                </a:lnTo>
                <a:lnTo>
                  <a:pt x="484" y="319"/>
                </a:lnTo>
                <a:lnTo>
                  <a:pt x="482" y="319"/>
                </a:lnTo>
                <a:lnTo>
                  <a:pt x="482" y="317"/>
                </a:lnTo>
                <a:lnTo>
                  <a:pt x="478" y="315"/>
                </a:lnTo>
                <a:lnTo>
                  <a:pt x="475" y="315"/>
                </a:lnTo>
                <a:lnTo>
                  <a:pt x="475" y="313"/>
                </a:lnTo>
                <a:lnTo>
                  <a:pt x="478" y="311"/>
                </a:lnTo>
                <a:lnTo>
                  <a:pt x="469" y="306"/>
                </a:lnTo>
                <a:lnTo>
                  <a:pt x="467" y="313"/>
                </a:lnTo>
                <a:lnTo>
                  <a:pt x="467" y="315"/>
                </a:lnTo>
                <a:lnTo>
                  <a:pt x="462" y="315"/>
                </a:lnTo>
                <a:lnTo>
                  <a:pt x="460" y="311"/>
                </a:lnTo>
                <a:lnTo>
                  <a:pt x="458" y="311"/>
                </a:lnTo>
                <a:lnTo>
                  <a:pt x="456" y="313"/>
                </a:lnTo>
                <a:lnTo>
                  <a:pt x="452" y="311"/>
                </a:lnTo>
                <a:lnTo>
                  <a:pt x="452" y="304"/>
                </a:lnTo>
                <a:lnTo>
                  <a:pt x="452" y="302"/>
                </a:lnTo>
                <a:lnTo>
                  <a:pt x="450" y="302"/>
                </a:lnTo>
                <a:lnTo>
                  <a:pt x="447" y="304"/>
                </a:lnTo>
                <a:lnTo>
                  <a:pt x="445" y="304"/>
                </a:lnTo>
                <a:lnTo>
                  <a:pt x="445" y="311"/>
                </a:lnTo>
                <a:lnTo>
                  <a:pt x="443" y="313"/>
                </a:lnTo>
                <a:lnTo>
                  <a:pt x="437" y="313"/>
                </a:lnTo>
                <a:lnTo>
                  <a:pt x="437" y="315"/>
                </a:lnTo>
                <a:lnTo>
                  <a:pt x="441" y="315"/>
                </a:lnTo>
                <a:lnTo>
                  <a:pt x="437" y="317"/>
                </a:lnTo>
                <a:lnTo>
                  <a:pt x="437" y="321"/>
                </a:lnTo>
                <a:lnTo>
                  <a:pt x="437" y="324"/>
                </a:lnTo>
                <a:lnTo>
                  <a:pt x="434" y="324"/>
                </a:lnTo>
                <a:lnTo>
                  <a:pt x="432" y="324"/>
                </a:lnTo>
                <a:lnTo>
                  <a:pt x="430" y="321"/>
                </a:lnTo>
                <a:lnTo>
                  <a:pt x="428" y="315"/>
                </a:lnTo>
                <a:lnTo>
                  <a:pt x="430" y="315"/>
                </a:lnTo>
                <a:lnTo>
                  <a:pt x="430" y="313"/>
                </a:lnTo>
                <a:lnTo>
                  <a:pt x="432" y="313"/>
                </a:lnTo>
                <a:lnTo>
                  <a:pt x="430" y="306"/>
                </a:lnTo>
                <a:lnTo>
                  <a:pt x="428" y="306"/>
                </a:lnTo>
                <a:lnTo>
                  <a:pt x="426" y="306"/>
                </a:lnTo>
                <a:lnTo>
                  <a:pt x="426" y="311"/>
                </a:lnTo>
                <a:lnTo>
                  <a:pt x="424" y="313"/>
                </a:lnTo>
                <a:lnTo>
                  <a:pt x="424" y="311"/>
                </a:lnTo>
                <a:lnTo>
                  <a:pt x="419" y="306"/>
                </a:lnTo>
                <a:lnTo>
                  <a:pt x="419" y="311"/>
                </a:lnTo>
                <a:lnTo>
                  <a:pt x="417" y="313"/>
                </a:lnTo>
                <a:lnTo>
                  <a:pt x="415" y="315"/>
                </a:lnTo>
                <a:lnTo>
                  <a:pt x="413" y="315"/>
                </a:lnTo>
                <a:lnTo>
                  <a:pt x="411" y="313"/>
                </a:lnTo>
                <a:lnTo>
                  <a:pt x="408" y="306"/>
                </a:lnTo>
                <a:lnTo>
                  <a:pt x="406" y="304"/>
                </a:lnTo>
                <a:lnTo>
                  <a:pt x="400" y="306"/>
                </a:lnTo>
                <a:lnTo>
                  <a:pt x="398" y="304"/>
                </a:lnTo>
                <a:lnTo>
                  <a:pt x="398" y="300"/>
                </a:lnTo>
                <a:lnTo>
                  <a:pt x="393" y="300"/>
                </a:lnTo>
                <a:lnTo>
                  <a:pt x="391" y="300"/>
                </a:lnTo>
                <a:lnTo>
                  <a:pt x="387" y="302"/>
                </a:lnTo>
                <a:lnTo>
                  <a:pt x="385" y="304"/>
                </a:lnTo>
                <a:lnTo>
                  <a:pt x="383" y="306"/>
                </a:lnTo>
                <a:lnTo>
                  <a:pt x="378" y="311"/>
                </a:lnTo>
                <a:lnTo>
                  <a:pt x="378" y="313"/>
                </a:lnTo>
                <a:lnTo>
                  <a:pt x="374" y="311"/>
                </a:lnTo>
                <a:lnTo>
                  <a:pt x="370" y="306"/>
                </a:lnTo>
                <a:lnTo>
                  <a:pt x="367" y="306"/>
                </a:lnTo>
                <a:lnTo>
                  <a:pt x="367" y="304"/>
                </a:lnTo>
                <a:lnTo>
                  <a:pt x="370" y="304"/>
                </a:lnTo>
                <a:lnTo>
                  <a:pt x="370" y="302"/>
                </a:lnTo>
                <a:lnTo>
                  <a:pt x="370" y="300"/>
                </a:lnTo>
                <a:lnTo>
                  <a:pt x="367" y="298"/>
                </a:lnTo>
                <a:lnTo>
                  <a:pt x="365" y="298"/>
                </a:lnTo>
                <a:lnTo>
                  <a:pt x="363" y="298"/>
                </a:lnTo>
                <a:lnTo>
                  <a:pt x="361" y="298"/>
                </a:lnTo>
                <a:lnTo>
                  <a:pt x="359" y="289"/>
                </a:lnTo>
                <a:lnTo>
                  <a:pt x="361" y="285"/>
                </a:lnTo>
                <a:lnTo>
                  <a:pt x="359" y="283"/>
                </a:lnTo>
                <a:lnTo>
                  <a:pt x="359" y="285"/>
                </a:lnTo>
                <a:lnTo>
                  <a:pt x="352" y="287"/>
                </a:lnTo>
                <a:lnTo>
                  <a:pt x="346" y="285"/>
                </a:lnTo>
                <a:lnTo>
                  <a:pt x="344" y="285"/>
                </a:lnTo>
                <a:lnTo>
                  <a:pt x="342" y="283"/>
                </a:lnTo>
                <a:lnTo>
                  <a:pt x="337" y="285"/>
                </a:lnTo>
                <a:lnTo>
                  <a:pt x="337" y="287"/>
                </a:lnTo>
                <a:lnTo>
                  <a:pt x="335" y="289"/>
                </a:lnTo>
                <a:lnTo>
                  <a:pt x="333" y="291"/>
                </a:lnTo>
                <a:lnTo>
                  <a:pt x="329" y="289"/>
                </a:lnTo>
                <a:lnTo>
                  <a:pt x="322" y="287"/>
                </a:lnTo>
                <a:lnTo>
                  <a:pt x="322" y="283"/>
                </a:lnTo>
                <a:lnTo>
                  <a:pt x="320" y="283"/>
                </a:lnTo>
                <a:lnTo>
                  <a:pt x="318" y="283"/>
                </a:lnTo>
                <a:lnTo>
                  <a:pt x="316" y="283"/>
                </a:lnTo>
                <a:lnTo>
                  <a:pt x="313" y="285"/>
                </a:lnTo>
                <a:lnTo>
                  <a:pt x="309" y="283"/>
                </a:lnTo>
                <a:lnTo>
                  <a:pt x="305" y="283"/>
                </a:lnTo>
                <a:lnTo>
                  <a:pt x="298" y="280"/>
                </a:lnTo>
                <a:lnTo>
                  <a:pt x="294" y="278"/>
                </a:lnTo>
                <a:lnTo>
                  <a:pt x="292" y="274"/>
                </a:lnTo>
                <a:lnTo>
                  <a:pt x="288" y="278"/>
                </a:lnTo>
                <a:lnTo>
                  <a:pt x="283" y="274"/>
                </a:lnTo>
                <a:lnTo>
                  <a:pt x="281" y="278"/>
                </a:lnTo>
                <a:lnTo>
                  <a:pt x="277" y="274"/>
                </a:lnTo>
                <a:lnTo>
                  <a:pt x="277" y="270"/>
                </a:lnTo>
                <a:lnTo>
                  <a:pt x="277" y="267"/>
                </a:lnTo>
                <a:lnTo>
                  <a:pt x="277" y="265"/>
                </a:lnTo>
                <a:lnTo>
                  <a:pt x="270" y="259"/>
                </a:lnTo>
                <a:lnTo>
                  <a:pt x="270" y="257"/>
                </a:lnTo>
                <a:lnTo>
                  <a:pt x="266" y="254"/>
                </a:lnTo>
                <a:lnTo>
                  <a:pt x="264" y="252"/>
                </a:lnTo>
                <a:lnTo>
                  <a:pt x="262" y="254"/>
                </a:lnTo>
                <a:lnTo>
                  <a:pt x="262" y="257"/>
                </a:lnTo>
                <a:lnTo>
                  <a:pt x="260" y="259"/>
                </a:lnTo>
                <a:lnTo>
                  <a:pt x="253" y="257"/>
                </a:lnTo>
                <a:lnTo>
                  <a:pt x="253" y="254"/>
                </a:lnTo>
                <a:lnTo>
                  <a:pt x="249" y="254"/>
                </a:lnTo>
                <a:lnTo>
                  <a:pt x="247" y="254"/>
                </a:lnTo>
                <a:lnTo>
                  <a:pt x="247" y="257"/>
                </a:lnTo>
                <a:lnTo>
                  <a:pt x="244" y="259"/>
                </a:lnTo>
                <a:lnTo>
                  <a:pt x="238" y="257"/>
                </a:lnTo>
                <a:lnTo>
                  <a:pt x="231" y="252"/>
                </a:lnTo>
                <a:lnTo>
                  <a:pt x="229" y="246"/>
                </a:lnTo>
                <a:lnTo>
                  <a:pt x="227" y="246"/>
                </a:lnTo>
                <a:lnTo>
                  <a:pt x="223" y="242"/>
                </a:lnTo>
                <a:lnTo>
                  <a:pt x="221" y="237"/>
                </a:lnTo>
                <a:lnTo>
                  <a:pt x="218" y="237"/>
                </a:lnTo>
                <a:lnTo>
                  <a:pt x="216" y="239"/>
                </a:lnTo>
                <a:lnTo>
                  <a:pt x="216" y="222"/>
                </a:lnTo>
                <a:lnTo>
                  <a:pt x="216" y="196"/>
                </a:lnTo>
                <a:lnTo>
                  <a:pt x="218" y="183"/>
                </a:lnTo>
                <a:lnTo>
                  <a:pt x="218" y="159"/>
                </a:lnTo>
                <a:lnTo>
                  <a:pt x="218" y="140"/>
                </a:lnTo>
                <a:lnTo>
                  <a:pt x="221" y="116"/>
                </a:lnTo>
                <a:lnTo>
                  <a:pt x="221" y="101"/>
                </a:lnTo>
                <a:lnTo>
                  <a:pt x="223" y="58"/>
                </a:lnTo>
                <a:lnTo>
                  <a:pt x="221" y="58"/>
                </a:lnTo>
                <a:lnTo>
                  <a:pt x="182" y="58"/>
                </a:lnTo>
                <a:lnTo>
                  <a:pt x="152" y="56"/>
                </a:lnTo>
                <a:lnTo>
                  <a:pt x="141" y="56"/>
                </a:lnTo>
                <a:lnTo>
                  <a:pt x="102" y="54"/>
                </a:lnTo>
                <a:lnTo>
                  <a:pt x="70" y="52"/>
                </a:lnTo>
                <a:lnTo>
                  <a:pt x="63" y="52"/>
                </a:lnTo>
                <a:lnTo>
                  <a:pt x="0" y="45"/>
                </a:lnTo>
                <a:lnTo>
                  <a:pt x="3" y="0"/>
                </a:lnTo>
                <a:lnTo>
                  <a:pt x="74" y="6"/>
                </a:lnTo>
                <a:lnTo>
                  <a:pt x="108" y="6"/>
                </a:lnTo>
                <a:lnTo>
                  <a:pt x="145" y="8"/>
                </a:lnTo>
                <a:lnTo>
                  <a:pt x="154" y="8"/>
                </a:lnTo>
                <a:lnTo>
                  <a:pt x="177" y="11"/>
                </a:lnTo>
                <a:lnTo>
                  <a:pt x="218" y="11"/>
                </a:lnTo>
                <a:lnTo>
                  <a:pt x="223" y="13"/>
                </a:lnTo>
                <a:lnTo>
                  <a:pt x="260" y="13"/>
                </a:lnTo>
                <a:lnTo>
                  <a:pt x="266" y="13"/>
                </a:lnTo>
                <a:lnTo>
                  <a:pt x="298" y="17"/>
                </a:lnTo>
                <a:lnTo>
                  <a:pt x="333" y="17"/>
                </a:lnTo>
                <a:lnTo>
                  <a:pt x="348" y="17"/>
                </a:lnTo>
                <a:lnTo>
                  <a:pt x="365" y="17"/>
                </a:lnTo>
                <a:lnTo>
                  <a:pt x="387" y="17"/>
                </a:lnTo>
                <a:lnTo>
                  <a:pt x="413" y="19"/>
                </a:lnTo>
                <a:lnTo>
                  <a:pt x="437" y="19"/>
                </a:lnTo>
                <a:lnTo>
                  <a:pt x="465" y="19"/>
                </a:lnTo>
                <a:lnTo>
                  <a:pt x="482" y="19"/>
                </a:lnTo>
                <a:lnTo>
                  <a:pt x="523" y="19"/>
                </a:lnTo>
                <a:lnTo>
                  <a:pt x="525" y="19"/>
                </a:lnTo>
                <a:lnTo>
                  <a:pt x="538" y="19"/>
                </a:lnTo>
                <a:lnTo>
                  <a:pt x="557" y="19"/>
                </a:lnTo>
                <a:lnTo>
                  <a:pt x="564" y="19"/>
                </a:lnTo>
                <a:lnTo>
                  <a:pt x="590" y="19"/>
                </a:lnTo>
                <a:lnTo>
                  <a:pt x="594" y="19"/>
                </a:lnTo>
                <a:lnTo>
                  <a:pt x="624" y="19"/>
                </a:lnTo>
                <a:lnTo>
                  <a:pt x="624" y="41"/>
                </a:lnTo>
                <a:lnTo>
                  <a:pt x="624" y="49"/>
                </a:lnTo>
                <a:lnTo>
                  <a:pt x="624" y="67"/>
                </a:lnTo>
                <a:lnTo>
                  <a:pt x="627" y="67"/>
                </a:lnTo>
                <a:lnTo>
                  <a:pt x="629" y="95"/>
                </a:lnTo>
                <a:lnTo>
                  <a:pt x="631" y="101"/>
                </a:lnTo>
                <a:lnTo>
                  <a:pt x="637" y="134"/>
                </a:lnTo>
                <a:lnTo>
                  <a:pt x="637" y="144"/>
                </a:lnTo>
                <a:lnTo>
                  <a:pt x="642" y="168"/>
                </a:lnTo>
                <a:lnTo>
                  <a:pt x="642" y="209"/>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58" name="Freeform 91">
            <a:extLst>
              <a:ext uri="{FF2B5EF4-FFF2-40B4-BE49-F238E27FC236}">
                <a16:creationId xmlns:a16="http://schemas.microsoft.com/office/drawing/2014/main" id="{90E69638-F789-4F72-8F6D-3204A8EDEA8E}"/>
              </a:ext>
            </a:extLst>
          </p:cNvPr>
          <p:cNvSpPr>
            <a:spLocks noEditPoints="1"/>
          </p:cNvSpPr>
          <p:nvPr>
            <p:custDataLst>
              <p:tags r:id="rId82"/>
            </p:custDataLst>
          </p:nvPr>
        </p:nvSpPr>
        <p:spPr bwMode="auto">
          <a:xfrm>
            <a:off x="7902569" y="4010113"/>
            <a:ext cx="1330546" cy="620408"/>
          </a:xfrm>
          <a:custGeom>
            <a:avLst/>
            <a:gdLst>
              <a:gd name="T0" fmla="*/ 2147483647 w 657"/>
              <a:gd name="T1" fmla="*/ 2147483647 h 287"/>
              <a:gd name="T2" fmla="*/ 2147483647 w 657"/>
              <a:gd name="T3" fmla="*/ 2147483647 h 287"/>
              <a:gd name="T4" fmla="*/ 2147483647 w 657"/>
              <a:gd name="T5" fmla="*/ 2147483647 h 287"/>
              <a:gd name="T6" fmla="*/ 2147483647 w 657"/>
              <a:gd name="T7" fmla="*/ 2147483647 h 287"/>
              <a:gd name="T8" fmla="*/ 2147483647 w 657"/>
              <a:gd name="T9" fmla="*/ 2147483647 h 287"/>
              <a:gd name="T10" fmla="*/ 2147483647 w 657"/>
              <a:gd name="T11" fmla="*/ 2147483647 h 287"/>
              <a:gd name="T12" fmla="*/ 2147483647 w 657"/>
              <a:gd name="T13" fmla="*/ 2147483647 h 287"/>
              <a:gd name="T14" fmla="*/ 2147483647 w 657"/>
              <a:gd name="T15" fmla="*/ 2147483647 h 287"/>
              <a:gd name="T16" fmla="*/ 2147483647 w 657"/>
              <a:gd name="T17" fmla="*/ 2147483647 h 287"/>
              <a:gd name="T18" fmla="*/ 2147483647 w 657"/>
              <a:gd name="T19" fmla="*/ 2147483647 h 287"/>
              <a:gd name="T20" fmla="*/ 2147483647 w 657"/>
              <a:gd name="T21" fmla="*/ 2147483647 h 287"/>
              <a:gd name="T22" fmla="*/ 2147483647 w 657"/>
              <a:gd name="T23" fmla="*/ 2147483647 h 287"/>
              <a:gd name="T24" fmla="*/ 2147483647 w 657"/>
              <a:gd name="T25" fmla="*/ 2147483647 h 287"/>
              <a:gd name="T26" fmla="*/ 2147483647 w 657"/>
              <a:gd name="T27" fmla="*/ 2147483647 h 287"/>
              <a:gd name="T28" fmla="*/ 2147483647 w 657"/>
              <a:gd name="T29" fmla="*/ 2147483647 h 287"/>
              <a:gd name="T30" fmla="*/ 2147483647 w 657"/>
              <a:gd name="T31" fmla="*/ 2147483647 h 287"/>
              <a:gd name="T32" fmla="*/ 2147483647 w 657"/>
              <a:gd name="T33" fmla="*/ 2147483647 h 287"/>
              <a:gd name="T34" fmla="*/ 2147483647 w 657"/>
              <a:gd name="T35" fmla="*/ 2147483647 h 287"/>
              <a:gd name="T36" fmla="*/ 2147483647 w 657"/>
              <a:gd name="T37" fmla="*/ 2147483647 h 287"/>
              <a:gd name="T38" fmla="*/ 2147483647 w 657"/>
              <a:gd name="T39" fmla="*/ 2147483647 h 287"/>
              <a:gd name="T40" fmla="*/ 2147483647 w 657"/>
              <a:gd name="T41" fmla="*/ 2147483647 h 287"/>
              <a:gd name="T42" fmla="*/ 2147483647 w 657"/>
              <a:gd name="T43" fmla="*/ 2147483647 h 287"/>
              <a:gd name="T44" fmla="*/ 2147483647 w 657"/>
              <a:gd name="T45" fmla="*/ 2147483647 h 287"/>
              <a:gd name="T46" fmla="*/ 2147483647 w 657"/>
              <a:gd name="T47" fmla="*/ 2147483647 h 287"/>
              <a:gd name="T48" fmla="*/ 2147483647 w 657"/>
              <a:gd name="T49" fmla="*/ 2147483647 h 287"/>
              <a:gd name="T50" fmla="*/ 2147483647 w 657"/>
              <a:gd name="T51" fmla="*/ 2147483647 h 287"/>
              <a:gd name="T52" fmla="*/ 2147483647 w 657"/>
              <a:gd name="T53" fmla="*/ 2147483647 h 287"/>
              <a:gd name="T54" fmla="*/ 2147483647 w 657"/>
              <a:gd name="T55" fmla="*/ 2147483647 h 287"/>
              <a:gd name="T56" fmla="*/ 2147483647 w 657"/>
              <a:gd name="T57" fmla="*/ 2147483647 h 287"/>
              <a:gd name="T58" fmla="*/ 2147483647 w 657"/>
              <a:gd name="T59" fmla="*/ 2147483647 h 287"/>
              <a:gd name="T60" fmla="*/ 2147483647 w 657"/>
              <a:gd name="T61" fmla="*/ 2147483647 h 287"/>
              <a:gd name="T62" fmla="*/ 2147483647 w 657"/>
              <a:gd name="T63" fmla="*/ 2147483647 h 287"/>
              <a:gd name="T64" fmla="*/ 2147483647 w 657"/>
              <a:gd name="T65" fmla="*/ 2147483647 h 287"/>
              <a:gd name="T66" fmla="*/ 2147483647 w 657"/>
              <a:gd name="T67" fmla="*/ 2147483647 h 287"/>
              <a:gd name="T68" fmla="*/ 2147483647 w 657"/>
              <a:gd name="T69" fmla="*/ 2147483647 h 287"/>
              <a:gd name="T70" fmla="*/ 2147483647 w 657"/>
              <a:gd name="T71" fmla="*/ 2147483647 h 287"/>
              <a:gd name="T72" fmla="*/ 2147483647 w 657"/>
              <a:gd name="T73" fmla="*/ 2147483647 h 287"/>
              <a:gd name="T74" fmla="*/ 2147483647 w 657"/>
              <a:gd name="T75" fmla="*/ 2147483647 h 287"/>
              <a:gd name="T76" fmla="*/ 2147483647 w 657"/>
              <a:gd name="T77" fmla="*/ 2147483647 h 287"/>
              <a:gd name="T78" fmla="*/ 2147483647 w 657"/>
              <a:gd name="T79" fmla="*/ 2147483647 h 287"/>
              <a:gd name="T80" fmla="*/ 2147483647 w 657"/>
              <a:gd name="T81" fmla="*/ 2147483647 h 287"/>
              <a:gd name="T82" fmla="*/ 2147483647 w 657"/>
              <a:gd name="T83" fmla="*/ 2147483647 h 287"/>
              <a:gd name="T84" fmla="*/ 2147483647 w 657"/>
              <a:gd name="T85" fmla="*/ 2147483647 h 287"/>
              <a:gd name="T86" fmla="*/ 2147483647 w 657"/>
              <a:gd name="T87" fmla="*/ 2147483647 h 287"/>
              <a:gd name="T88" fmla="*/ 2147483647 w 657"/>
              <a:gd name="T89" fmla="*/ 2147483647 h 287"/>
              <a:gd name="T90" fmla="*/ 2147483647 w 657"/>
              <a:gd name="T91" fmla="*/ 2147483647 h 287"/>
              <a:gd name="T92" fmla="*/ 2147483647 w 657"/>
              <a:gd name="T93" fmla="*/ 2147483647 h 287"/>
              <a:gd name="T94" fmla="*/ 2147483647 w 657"/>
              <a:gd name="T95" fmla="*/ 2147483647 h 287"/>
              <a:gd name="T96" fmla="*/ 2147483647 w 657"/>
              <a:gd name="T97" fmla="*/ 2147483647 h 287"/>
              <a:gd name="T98" fmla="*/ 2147483647 w 657"/>
              <a:gd name="T99" fmla="*/ 2147483647 h 287"/>
              <a:gd name="T100" fmla="*/ 2147483647 w 657"/>
              <a:gd name="T101" fmla="*/ 2147483647 h 287"/>
              <a:gd name="T102" fmla="*/ 2147483647 w 657"/>
              <a:gd name="T103" fmla="*/ 2147483647 h 287"/>
              <a:gd name="T104" fmla="*/ 2147483647 w 657"/>
              <a:gd name="T105" fmla="*/ 2147483647 h 287"/>
              <a:gd name="T106" fmla="*/ 2147483647 w 657"/>
              <a:gd name="T107" fmla="*/ 2147483647 h 287"/>
              <a:gd name="T108" fmla="*/ 2147483647 w 657"/>
              <a:gd name="T109" fmla="*/ 2147483647 h 287"/>
              <a:gd name="T110" fmla="*/ 2147483647 w 657"/>
              <a:gd name="T111" fmla="*/ 2147483647 h 28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57"/>
              <a:gd name="T169" fmla="*/ 0 h 287"/>
              <a:gd name="T170" fmla="*/ 657 w 657"/>
              <a:gd name="T171" fmla="*/ 287 h 28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57" h="287">
                <a:moveTo>
                  <a:pt x="24" y="251"/>
                </a:moveTo>
                <a:lnTo>
                  <a:pt x="15" y="253"/>
                </a:lnTo>
                <a:lnTo>
                  <a:pt x="0" y="253"/>
                </a:lnTo>
                <a:lnTo>
                  <a:pt x="0" y="233"/>
                </a:lnTo>
                <a:lnTo>
                  <a:pt x="3" y="227"/>
                </a:lnTo>
                <a:lnTo>
                  <a:pt x="7" y="227"/>
                </a:lnTo>
                <a:lnTo>
                  <a:pt x="13" y="227"/>
                </a:lnTo>
                <a:lnTo>
                  <a:pt x="18" y="225"/>
                </a:lnTo>
                <a:lnTo>
                  <a:pt x="18" y="223"/>
                </a:lnTo>
                <a:lnTo>
                  <a:pt x="18" y="220"/>
                </a:lnTo>
                <a:lnTo>
                  <a:pt x="20" y="216"/>
                </a:lnTo>
                <a:lnTo>
                  <a:pt x="18" y="212"/>
                </a:lnTo>
                <a:lnTo>
                  <a:pt x="22" y="208"/>
                </a:lnTo>
                <a:lnTo>
                  <a:pt x="24" y="205"/>
                </a:lnTo>
                <a:lnTo>
                  <a:pt x="28" y="201"/>
                </a:lnTo>
                <a:lnTo>
                  <a:pt x="31" y="201"/>
                </a:lnTo>
                <a:lnTo>
                  <a:pt x="35" y="195"/>
                </a:lnTo>
                <a:lnTo>
                  <a:pt x="41" y="192"/>
                </a:lnTo>
                <a:lnTo>
                  <a:pt x="46" y="192"/>
                </a:lnTo>
                <a:lnTo>
                  <a:pt x="50" y="192"/>
                </a:lnTo>
                <a:lnTo>
                  <a:pt x="54" y="192"/>
                </a:lnTo>
                <a:lnTo>
                  <a:pt x="56" y="188"/>
                </a:lnTo>
                <a:lnTo>
                  <a:pt x="63" y="186"/>
                </a:lnTo>
                <a:lnTo>
                  <a:pt x="65" y="184"/>
                </a:lnTo>
                <a:lnTo>
                  <a:pt x="69" y="184"/>
                </a:lnTo>
                <a:lnTo>
                  <a:pt x="72" y="177"/>
                </a:lnTo>
                <a:lnTo>
                  <a:pt x="72" y="175"/>
                </a:lnTo>
                <a:lnTo>
                  <a:pt x="78" y="173"/>
                </a:lnTo>
                <a:lnTo>
                  <a:pt x="80" y="171"/>
                </a:lnTo>
                <a:lnTo>
                  <a:pt x="85" y="169"/>
                </a:lnTo>
                <a:lnTo>
                  <a:pt x="89" y="169"/>
                </a:lnTo>
                <a:lnTo>
                  <a:pt x="93" y="164"/>
                </a:lnTo>
                <a:lnTo>
                  <a:pt x="95" y="158"/>
                </a:lnTo>
                <a:lnTo>
                  <a:pt x="95" y="154"/>
                </a:lnTo>
                <a:lnTo>
                  <a:pt x="95" y="151"/>
                </a:lnTo>
                <a:lnTo>
                  <a:pt x="98" y="151"/>
                </a:lnTo>
                <a:lnTo>
                  <a:pt x="102" y="154"/>
                </a:lnTo>
                <a:lnTo>
                  <a:pt x="104" y="147"/>
                </a:lnTo>
                <a:lnTo>
                  <a:pt x="104" y="145"/>
                </a:lnTo>
                <a:lnTo>
                  <a:pt x="113" y="138"/>
                </a:lnTo>
                <a:lnTo>
                  <a:pt x="115" y="138"/>
                </a:lnTo>
                <a:lnTo>
                  <a:pt x="117" y="141"/>
                </a:lnTo>
                <a:lnTo>
                  <a:pt x="117" y="143"/>
                </a:lnTo>
                <a:lnTo>
                  <a:pt x="117" y="145"/>
                </a:lnTo>
                <a:lnTo>
                  <a:pt x="119" y="145"/>
                </a:lnTo>
                <a:lnTo>
                  <a:pt x="126" y="143"/>
                </a:lnTo>
                <a:lnTo>
                  <a:pt x="128" y="143"/>
                </a:lnTo>
                <a:lnTo>
                  <a:pt x="130" y="132"/>
                </a:lnTo>
                <a:lnTo>
                  <a:pt x="132" y="130"/>
                </a:lnTo>
                <a:lnTo>
                  <a:pt x="136" y="128"/>
                </a:lnTo>
                <a:lnTo>
                  <a:pt x="139" y="128"/>
                </a:lnTo>
                <a:lnTo>
                  <a:pt x="145" y="125"/>
                </a:lnTo>
                <a:lnTo>
                  <a:pt x="147" y="125"/>
                </a:lnTo>
                <a:lnTo>
                  <a:pt x="151" y="128"/>
                </a:lnTo>
                <a:lnTo>
                  <a:pt x="154" y="128"/>
                </a:lnTo>
                <a:lnTo>
                  <a:pt x="156" y="123"/>
                </a:lnTo>
                <a:lnTo>
                  <a:pt x="162" y="110"/>
                </a:lnTo>
                <a:lnTo>
                  <a:pt x="164" y="108"/>
                </a:lnTo>
                <a:lnTo>
                  <a:pt x="169" y="104"/>
                </a:lnTo>
                <a:lnTo>
                  <a:pt x="177" y="104"/>
                </a:lnTo>
                <a:lnTo>
                  <a:pt x="180" y="102"/>
                </a:lnTo>
                <a:lnTo>
                  <a:pt x="175" y="102"/>
                </a:lnTo>
                <a:lnTo>
                  <a:pt x="175" y="95"/>
                </a:lnTo>
                <a:lnTo>
                  <a:pt x="177" y="89"/>
                </a:lnTo>
                <a:lnTo>
                  <a:pt x="177" y="87"/>
                </a:lnTo>
                <a:lnTo>
                  <a:pt x="177" y="78"/>
                </a:lnTo>
                <a:lnTo>
                  <a:pt x="201" y="76"/>
                </a:lnTo>
                <a:lnTo>
                  <a:pt x="234" y="72"/>
                </a:lnTo>
                <a:lnTo>
                  <a:pt x="240" y="72"/>
                </a:lnTo>
                <a:lnTo>
                  <a:pt x="257" y="69"/>
                </a:lnTo>
                <a:lnTo>
                  <a:pt x="268" y="65"/>
                </a:lnTo>
                <a:lnTo>
                  <a:pt x="298" y="63"/>
                </a:lnTo>
                <a:lnTo>
                  <a:pt x="322" y="59"/>
                </a:lnTo>
                <a:lnTo>
                  <a:pt x="339" y="56"/>
                </a:lnTo>
                <a:lnTo>
                  <a:pt x="359" y="50"/>
                </a:lnTo>
                <a:lnTo>
                  <a:pt x="363" y="50"/>
                </a:lnTo>
                <a:lnTo>
                  <a:pt x="391" y="46"/>
                </a:lnTo>
                <a:lnTo>
                  <a:pt x="393" y="46"/>
                </a:lnTo>
                <a:lnTo>
                  <a:pt x="415" y="41"/>
                </a:lnTo>
                <a:lnTo>
                  <a:pt x="426" y="39"/>
                </a:lnTo>
                <a:lnTo>
                  <a:pt x="445" y="37"/>
                </a:lnTo>
                <a:lnTo>
                  <a:pt x="456" y="33"/>
                </a:lnTo>
                <a:lnTo>
                  <a:pt x="465" y="31"/>
                </a:lnTo>
                <a:lnTo>
                  <a:pt x="497" y="24"/>
                </a:lnTo>
                <a:lnTo>
                  <a:pt x="508" y="22"/>
                </a:lnTo>
                <a:lnTo>
                  <a:pt x="527" y="18"/>
                </a:lnTo>
                <a:lnTo>
                  <a:pt x="553" y="13"/>
                </a:lnTo>
                <a:lnTo>
                  <a:pt x="557" y="11"/>
                </a:lnTo>
                <a:lnTo>
                  <a:pt x="570" y="9"/>
                </a:lnTo>
                <a:lnTo>
                  <a:pt x="585" y="7"/>
                </a:lnTo>
                <a:lnTo>
                  <a:pt x="592" y="7"/>
                </a:lnTo>
                <a:lnTo>
                  <a:pt x="592" y="9"/>
                </a:lnTo>
                <a:lnTo>
                  <a:pt x="590" y="11"/>
                </a:lnTo>
                <a:lnTo>
                  <a:pt x="601" y="15"/>
                </a:lnTo>
                <a:lnTo>
                  <a:pt x="596" y="15"/>
                </a:lnTo>
                <a:lnTo>
                  <a:pt x="603" y="22"/>
                </a:lnTo>
                <a:lnTo>
                  <a:pt x="603" y="15"/>
                </a:lnTo>
                <a:lnTo>
                  <a:pt x="605" y="22"/>
                </a:lnTo>
                <a:lnTo>
                  <a:pt x="618" y="41"/>
                </a:lnTo>
                <a:lnTo>
                  <a:pt x="620" y="46"/>
                </a:lnTo>
                <a:lnTo>
                  <a:pt x="614" y="43"/>
                </a:lnTo>
                <a:lnTo>
                  <a:pt x="607" y="31"/>
                </a:lnTo>
                <a:lnTo>
                  <a:pt x="605" y="31"/>
                </a:lnTo>
                <a:lnTo>
                  <a:pt x="605" y="28"/>
                </a:lnTo>
                <a:lnTo>
                  <a:pt x="601" y="26"/>
                </a:lnTo>
                <a:lnTo>
                  <a:pt x="605" y="37"/>
                </a:lnTo>
                <a:lnTo>
                  <a:pt x="605" y="39"/>
                </a:lnTo>
                <a:lnTo>
                  <a:pt x="585" y="28"/>
                </a:lnTo>
                <a:lnTo>
                  <a:pt x="585" y="31"/>
                </a:lnTo>
                <a:lnTo>
                  <a:pt x="594" y="41"/>
                </a:lnTo>
                <a:lnTo>
                  <a:pt x="592" y="43"/>
                </a:lnTo>
                <a:lnTo>
                  <a:pt x="585" y="43"/>
                </a:lnTo>
                <a:lnTo>
                  <a:pt x="579" y="41"/>
                </a:lnTo>
                <a:lnTo>
                  <a:pt x="581" y="48"/>
                </a:lnTo>
                <a:lnTo>
                  <a:pt x="568" y="56"/>
                </a:lnTo>
                <a:lnTo>
                  <a:pt x="573" y="56"/>
                </a:lnTo>
                <a:lnTo>
                  <a:pt x="568" y="63"/>
                </a:lnTo>
                <a:lnTo>
                  <a:pt x="562" y="63"/>
                </a:lnTo>
                <a:lnTo>
                  <a:pt x="557" y="59"/>
                </a:lnTo>
                <a:lnTo>
                  <a:pt x="557" y="61"/>
                </a:lnTo>
                <a:lnTo>
                  <a:pt x="553" y="61"/>
                </a:lnTo>
                <a:lnTo>
                  <a:pt x="551" y="50"/>
                </a:lnTo>
                <a:lnTo>
                  <a:pt x="551" y="39"/>
                </a:lnTo>
                <a:lnTo>
                  <a:pt x="542" y="33"/>
                </a:lnTo>
                <a:lnTo>
                  <a:pt x="529" y="33"/>
                </a:lnTo>
                <a:lnTo>
                  <a:pt x="544" y="39"/>
                </a:lnTo>
                <a:lnTo>
                  <a:pt x="547" y="41"/>
                </a:lnTo>
                <a:lnTo>
                  <a:pt x="544" y="46"/>
                </a:lnTo>
                <a:lnTo>
                  <a:pt x="547" y="54"/>
                </a:lnTo>
                <a:lnTo>
                  <a:pt x="555" y="65"/>
                </a:lnTo>
                <a:lnTo>
                  <a:pt x="553" y="74"/>
                </a:lnTo>
                <a:lnTo>
                  <a:pt x="555" y="72"/>
                </a:lnTo>
                <a:lnTo>
                  <a:pt x="575" y="63"/>
                </a:lnTo>
                <a:lnTo>
                  <a:pt x="579" y="69"/>
                </a:lnTo>
                <a:lnTo>
                  <a:pt x="590" y="61"/>
                </a:lnTo>
                <a:lnTo>
                  <a:pt x="601" y="61"/>
                </a:lnTo>
                <a:lnTo>
                  <a:pt x="605" y="63"/>
                </a:lnTo>
                <a:lnTo>
                  <a:pt x="605" y="78"/>
                </a:lnTo>
                <a:lnTo>
                  <a:pt x="609" y="87"/>
                </a:lnTo>
                <a:lnTo>
                  <a:pt x="601" y="87"/>
                </a:lnTo>
                <a:lnTo>
                  <a:pt x="605" y="89"/>
                </a:lnTo>
                <a:lnTo>
                  <a:pt x="609" y="87"/>
                </a:lnTo>
                <a:lnTo>
                  <a:pt x="609" y="65"/>
                </a:lnTo>
                <a:lnTo>
                  <a:pt x="620" y="59"/>
                </a:lnTo>
                <a:lnTo>
                  <a:pt x="627" y="63"/>
                </a:lnTo>
                <a:lnTo>
                  <a:pt x="633" y="80"/>
                </a:lnTo>
                <a:lnTo>
                  <a:pt x="629" y="91"/>
                </a:lnTo>
                <a:lnTo>
                  <a:pt x="620" y="89"/>
                </a:lnTo>
                <a:lnTo>
                  <a:pt x="611" y="110"/>
                </a:lnTo>
                <a:lnTo>
                  <a:pt x="605" y="119"/>
                </a:lnTo>
                <a:lnTo>
                  <a:pt x="579" y="115"/>
                </a:lnTo>
                <a:lnTo>
                  <a:pt x="577" y="113"/>
                </a:lnTo>
                <a:lnTo>
                  <a:pt x="581" y="108"/>
                </a:lnTo>
                <a:lnTo>
                  <a:pt x="581" y="104"/>
                </a:lnTo>
                <a:lnTo>
                  <a:pt x="575" y="102"/>
                </a:lnTo>
                <a:lnTo>
                  <a:pt x="577" y="106"/>
                </a:lnTo>
                <a:lnTo>
                  <a:pt x="568" y="108"/>
                </a:lnTo>
                <a:lnTo>
                  <a:pt x="570" y="115"/>
                </a:lnTo>
                <a:lnTo>
                  <a:pt x="564" y="121"/>
                </a:lnTo>
                <a:lnTo>
                  <a:pt x="531" y="113"/>
                </a:lnTo>
                <a:lnTo>
                  <a:pt x="542" y="123"/>
                </a:lnTo>
                <a:lnTo>
                  <a:pt x="568" y="125"/>
                </a:lnTo>
                <a:lnTo>
                  <a:pt x="575" y="130"/>
                </a:lnTo>
                <a:lnTo>
                  <a:pt x="575" y="128"/>
                </a:lnTo>
                <a:lnTo>
                  <a:pt x="579" y="128"/>
                </a:lnTo>
                <a:lnTo>
                  <a:pt x="581" y="130"/>
                </a:lnTo>
                <a:lnTo>
                  <a:pt x="575" y="141"/>
                </a:lnTo>
                <a:lnTo>
                  <a:pt x="577" y="143"/>
                </a:lnTo>
                <a:lnTo>
                  <a:pt x="577" y="151"/>
                </a:lnTo>
                <a:lnTo>
                  <a:pt x="575" y="156"/>
                </a:lnTo>
                <a:lnTo>
                  <a:pt x="562" y="160"/>
                </a:lnTo>
                <a:lnTo>
                  <a:pt x="555" y="158"/>
                </a:lnTo>
                <a:lnTo>
                  <a:pt x="553" y="156"/>
                </a:lnTo>
                <a:lnTo>
                  <a:pt x="544" y="156"/>
                </a:lnTo>
                <a:lnTo>
                  <a:pt x="540" y="156"/>
                </a:lnTo>
                <a:lnTo>
                  <a:pt x="540" y="158"/>
                </a:lnTo>
                <a:lnTo>
                  <a:pt x="551" y="158"/>
                </a:lnTo>
                <a:lnTo>
                  <a:pt x="557" y="169"/>
                </a:lnTo>
                <a:lnTo>
                  <a:pt x="579" y="164"/>
                </a:lnTo>
                <a:lnTo>
                  <a:pt x="575" y="160"/>
                </a:lnTo>
                <a:lnTo>
                  <a:pt x="588" y="158"/>
                </a:lnTo>
                <a:lnTo>
                  <a:pt x="592" y="154"/>
                </a:lnTo>
                <a:lnTo>
                  <a:pt x="594" y="158"/>
                </a:lnTo>
                <a:lnTo>
                  <a:pt x="601" y="158"/>
                </a:lnTo>
                <a:lnTo>
                  <a:pt x="603" y="154"/>
                </a:lnTo>
                <a:lnTo>
                  <a:pt x="603" y="156"/>
                </a:lnTo>
                <a:lnTo>
                  <a:pt x="594" y="173"/>
                </a:lnTo>
                <a:lnTo>
                  <a:pt x="585" y="184"/>
                </a:lnTo>
                <a:lnTo>
                  <a:pt x="553" y="190"/>
                </a:lnTo>
                <a:lnTo>
                  <a:pt x="542" y="186"/>
                </a:lnTo>
                <a:lnTo>
                  <a:pt x="547" y="192"/>
                </a:lnTo>
                <a:lnTo>
                  <a:pt x="544" y="195"/>
                </a:lnTo>
                <a:lnTo>
                  <a:pt x="521" y="220"/>
                </a:lnTo>
                <a:lnTo>
                  <a:pt x="519" y="225"/>
                </a:lnTo>
                <a:lnTo>
                  <a:pt x="514" y="223"/>
                </a:lnTo>
                <a:lnTo>
                  <a:pt x="514" y="225"/>
                </a:lnTo>
                <a:lnTo>
                  <a:pt x="508" y="238"/>
                </a:lnTo>
                <a:lnTo>
                  <a:pt x="499" y="251"/>
                </a:lnTo>
                <a:lnTo>
                  <a:pt x="499" y="259"/>
                </a:lnTo>
                <a:lnTo>
                  <a:pt x="497" y="261"/>
                </a:lnTo>
                <a:lnTo>
                  <a:pt x="493" y="251"/>
                </a:lnTo>
                <a:lnTo>
                  <a:pt x="497" y="270"/>
                </a:lnTo>
                <a:lnTo>
                  <a:pt x="493" y="277"/>
                </a:lnTo>
                <a:lnTo>
                  <a:pt x="449" y="287"/>
                </a:lnTo>
                <a:lnTo>
                  <a:pt x="445" y="283"/>
                </a:lnTo>
                <a:lnTo>
                  <a:pt x="406" y="255"/>
                </a:lnTo>
                <a:lnTo>
                  <a:pt x="374" y="233"/>
                </a:lnTo>
                <a:lnTo>
                  <a:pt x="374" y="229"/>
                </a:lnTo>
                <a:lnTo>
                  <a:pt x="352" y="218"/>
                </a:lnTo>
                <a:lnTo>
                  <a:pt x="333" y="220"/>
                </a:lnTo>
                <a:lnTo>
                  <a:pt x="303" y="225"/>
                </a:lnTo>
                <a:lnTo>
                  <a:pt x="285" y="227"/>
                </a:lnTo>
                <a:lnTo>
                  <a:pt x="268" y="233"/>
                </a:lnTo>
                <a:lnTo>
                  <a:pt x="266" y="220"/>
                </a:lnTo>
                <a:lnTo>
                  <a:pt x="262" y="216"/>
                </a:lnTo>
                <a:lnTo>
                  <a:pt x="257" y="210"/>
                </a:lnTo>
                <a:lnTo>
                  <a:pt x="253" y="208"/>
                </a:lnTo>
                <a:lnTo>
                  <a:pt x="246" y="212"/>
                </a:lnTo>
                <a:lnTo>
                  <a:pt x="244" y="212"/>
                </a:lnTo>
                <a:lnTo>
                  <a:pt x="246" y="208"/>
                </a:lnTo>
                <a:lnTo>
                  <a:pt x="244" y="205"/>
                </a:lnTo>
                <a:lnTo>
                  <a:pt x="244" y="203"/>
                </a:lnTo>
                <a:lnTo>
                  <a:pt x="225" y="205"/>
                </a:lnTo>
                <a:lnTo>
                  <a:pt x="221" y="205"/>
                </a:lnTo>
                <a:lnTo>
                  <a:pt x="188" y="208"/>
                </a:lnTo>
                <a:lnTo>
                  <a:pt x="182" y="210"/>
                </a:lnTo>
                <a:lnTo>
                  <a:pt x="175" y="210"/>
                </a:lnTo>
                <a:lnTo>
                  <a:pt x="156" y="212"/>
                </a:lnTo>
                <a:lnTo>
                  <a:pt x="151" y="212"/>
                </a:lnTo>
                <a:lnTo>
                  <a:pt x="149" y="216"/>
                </a:lnTo>
                <a:lnTo>
                  <a:pt x="147" y="216"/>
                </a:lnTo>
                <a:lnTo>
                  <a:pt x="145" y="216"/>
                </a:lnTo>
                <a:lnTo>
                  <a:pt x="143" y="212"/>
                </a:lnTo>
                <a:lnTo>
                  <a:pt x="139" y="218"/>
                </a:lnTo>
                <a:lnTo>
                  <a:pt x="136" y="218"/>
                </a:lnTo>
                <a:lnTo>
                  <a:pt x="134" y="220"/>
                </a:lnTo>
                <a:lnTo>
                  <a:pt x="130" y="220"/>
                </a:lnTo>
                <a:lnTo>
                  <a:pt x="126" y="225"/>
                </a:lnTo>
                <a:lnTo>
                  <a:pt x="121" y="225"/>
                </a:lnTo>
                <a:lnTo>
                  <a:pt x="121" y="227"/>
                </a:lnTo>
                <a:lnTo>
                  <a:pt x="115" y="229"/>
                </a:lnTo>
                <a:lnTo>
                  <a:pt x="106" y="233"/>
                </a:lnTo>
                <a:lnTo>
                  <a:pt x="100" y="238"/>
                </a:lnTo>
                <a:lnTo>
                  <a:pt x="93" y="240"/>
                </a:lnTo>
                <a:lnTo>
                  <a:pt x="61" y="244"/>
                </a:lnTo>
                <a:lnTo>
                  <a:pt x="56" y="244"/>
                </a:lnTo>
                <a:lnTo>
                  <a:pt x="31" y="251"/>
                </a:lnTo>
                <a:lnTo>
                  <a:pt x="24" y="251"/>
                </a:lnTo>
                <a:close/>
                <a:moveTo>
                  <a:pt x="592" y="5"/>
                </a:moveTo>
                <a:lnTo>
                  <a:pt x="594" y="5"/>
                </a:lnTo>
                <a:lnTo>
                  <a:pt x="603" y="5"/>
                </a:lnTo>
                <a:lnTo>
                  <a:pt x="603" y="11"/>
                </a:lnTo>
                <a:lnTo>
                  <a:pt x="596" y="11"/>
                </a:lnTo>
                <a:lnTo>
                  <a:pt x="596" y="9"/>
                </a:lnTo>
                <a:lnTo>
                  <a:pt x="592" y="5"/>
                </a:lnTo>
                <a:close/>
                <a:moveTo>
                  <a:pt x="603" y="5"/>
                </a:moveTo>
                <a:lnTo>
                  <a:pt x="603" y="0"/>
                </a:lnTo>
                <a:lnTo>
                  <a:pt x="618" y="31"/>
                </a:lnTo>
                <a:lnTo>
                  <a:pt x="642" y="69"/>
                </a:lnTo>
                <a:lnTo>
                  <a:pt x="627" y="46"/>
                </a:lnTo>
                <a:lnTo>
                  <a:pt x="624" y="46"/>
                </a:lnTo>
                <a:lnTo>
                  <a:pt x="618" y="31"/>
                </a:lnTo>
                <a:lnTo>
                  <a:pt x="603" y="5"/>
                </a:lnTo>
                <a:close/>
                <a:moveTo>
                  <a:pt x="650" y="76"/>
                </a:moveTo>
                <a:lnTo>
                  <a:pt x="644" y="69"/>
                </a:lnTo>
                <a:lnTo>
                  <a:pt x="652" y="80"/>
                </a:lnTo>
                <a:lnTo>
                  <a:pt x="657" y="119"/>
                </a:lnTo>
                <a:lnTo>
                  <a:pt x="639" y="125"/>
                </a:lnTo>
                <a:lnTo>
                  <a:pt x="644" y="121"/>
                </a:lnTo>
                <a:lnTo>
                  <a:pt x="655" y="113"/>
                </a:lnTo>
                <a:lnTo>
                  <a:pt x="652" y="87"/>
                </a:lnTo>
                <a:lnTo>
                  <a:pt x="650" y="76"/>
                </a:lnTo>
                <a:close/>
                <a:moveTo>
                  <a:pt x="622" y="141"/>
                </a:moveTo>
                <a:lnTo>
                  <a:pt x="624" y="136"/>
                </a:lnTo>
                <a:lnTo>
                  <a:pt x="633" y="128"/>
                </a:lnTo>
                <a:lnTo>
                  <a:pt x="639" y="125"/>
                </a:lnTo>
                <a:lnTo>
                  <a:pt x="637" y="128"/>
                </a:lnTo>
                <a:lnTo>
                  <a:pt x="629" y="132"/>
                </a:lnTo>
                <a:lnTo>
                  <a:pt x="624" y="141"/>
                </a:lnTo>
                <a:lnTo>
                  <a:pt x="622" y="141"/>
                </a:lnTo>
                <a:close/>
              </a:path>
            </a:pathLst>
          </a:custGeom>
          <a:noFill/>
          <a:ln w="9525">
            <a:noFill/>
            <a:round/>
            <a:headEnd/>
            <a:tailEnd/>
          </a:ln>
        </p:spPr>
        <p:txBody>
          <a:bodyPr/>
          <a:lstStyle/>
          <a:p>
            <a:endParaRPr lang="en-US" dirty="0">
              <a:solidFill>
                <a:prstClr val="black"/>
              </a:solidFill>
            </a:endParaRPr>
          </a:p>
        </p:txBody>
      </p:sp>
      <p:sp>
        <p:nvSpPr>
          <p:cNvPr id="259" name="Freeform 92">
            <a:extLst>
              <a:ext uri="{FF2B5EF4-FFF2-40B4-BE49-F238E27FC236}">
                <a16:creationId xmlns:a16="http://schemas.microsoft.com/office/drawing/2014/main" id="{73624304-8248-4F5A-8E92-B49E59B8156F}"/>
              </a:ext>
            </a:extLst>
          </p:cNvPr>
          <p:cNvSpPr>
            <a:spLocks/>
          </p:cNvSpPr>
          <p:nvPr>
            <p:custDataLst>
              <p:tags r:id="rId83"/>
            </p:custDataLst>
          </p:nvPr>
        </p:nvSpPr>
        <p:spPr bwMode="auto">
          <a:xfrm>
            <a:off x="7902562" y="4025245"/>
            <a:ext cx="1280130" cy="605277"/>
          </a:xfrm>
          <a:custGeom>
            <a:avLst/>
            <a:gdLst>
              <a:gd name="T0" fmla="*/ 0 w 633"/>
              <a:gd name="T1" fmla="*/ 2147483647 h 280"/>
              <a:gd name="T2" fmla="*/ 2147483647 w 633"/>
              <a:gd name="T3" fmla="*/ 2147483647 h 280"/>
              <a:gd name="T4" fmla="*/ 2147483647 w 633"/>
              <a:gd name="T5" fmla="*/ 2147483647 h 280"/>
              <a:gd name="T6" fmla="*/ 2147483647 w 633"/>
              <a:gd name="T7" fmla="*/ 2147483647 h 280"/>
              <a:gd name="T8" fmla="*/ 2147483647 w 633"/>
              <a:gd name="T9" fmla="*/ 2147483647 h 280"/>
              <a:gd name="T10" fmla="*/ 2147483647 w 633"/>
              <a:gd name="T11" fmla="*/ 2147483647 h 280"/>
              <a:gd name="T12" fmla="*/ 2147483647 w 633"/>
              <a:gd name="T13" fmla="*/ 2147483647 h 280"/>
              <a:gd name="T14" fmla="*/ 2147483647 w 633"/>
              <a:gd name="T15" fmla="*/ 2147483647 h 280"/>
              <a:gd name="T16" fmla="*/ 2147483647 w 633"/>
              <a:gd name="T17" fmla="*/ 2147483647 h 280"/>
              <a:gd name="T18" fmla="*/ 2147483647 w 633"/>
              <a:gd name="T19" fmla="*/ 2147483647 h 280"/>
              <a:gd name="T20" fmla="*/ 2147483647 w 633"/>
              <a:gd name="T21" fmla="*/ 2147483647 h 280"/>
              <a:gd name="T22" fmla="*/ 2147483647 w 633"/>
              <a:gd name="T23" fmla="*/ 2147483647 h 280"/>
              <a:gd name="T24" fmla="*/ 2147483647 w 633"/>
              <a:gd name="T25" fmla="*/ 2147483647 h 280"/>
              <a:gd name="T26" fmla="*/ 2147483647 w 633"/>
              <a:gd name="T27" fmla="*/ 2147483647 h 280"/>
              <a:gd name="T28" fmla="*/ 2147483647 w 633"/>
              <a:gd name="T29" fmla="*/ 2147483647 h 280"/>
              <a:gd name="T30" fmla="*/ 2147483647 w 633"/>
              <a:gd name="T31" fmla="*/ 2147483647 h 280"/>
              <a:gd name="T32" fmla="*/ 2147483647 w 633"/>
              <a:gd name="T33" fmla="*/ 2147483647 h 280"/>
              <a:gd name="T34" fmla="*/ 2147483647 w 633"/>
              <a:gd name="T35" fmla="*/ 2147483647 h 280"/>
              <a:gd name="T36" fmla="*/ 2147483647 w 633"/>
              <a:gd name="T37" fmla="*/ 2147483647 h 280"/>
              <a:gd name="T38" fmla="*/ 2147483647 w 633"/>
              <a:gd name="T39" fmla="*/ 2147483647 h 280"/>
              <a:gd name="T40" fmla="*/ 2147483647 w 633"/>
              <a:gd name="T41" fmla="*/ 2147483647 h 280"/>
              <a:gd name="T42" fmla="*/ 2147483647 w 633"/>
              <a:gd name="T43" fmla="*/ 2147483647 h 280"/>
              <a:gd name="T44" fmla="*/ 2147483647 w 633"/>
              <a:gd name="T45" fmla="*/ 2147483647 h 280"/>
              <a:gd name="T46" fmla="*/ 2147483647 w 633"/>
              <a:gd name="T47" fmla="*/ 2147483647 h 280"/>
              <a:gd name="T48" fmla="*/ 2147483647 w 633"/>
              <a:gd name="T49" fmla="*/ 2147483647 h 280"/>
              <a:gd name="T50" fmla="*/ 2147483647 w 633"/>
              <a:gd name="T51" fmla="*/ 2147483647 h 280"/>
              <a:gd name="T52" fmla="*/ 2147483647 w 633"/>
              <a:gd name="T53" fmla="*/ 2147483647 h 280"/>
              <a:gd name="T54" fmla="*/ 2147483647 w 633"/>
              <a:gd name="T55" fmla="*/ 2147483647 h 280"/>
              <a:gd name="T56" fmla="*/ 2147483647 w 633"/>
              <a:gd name="T57" fmla="*/ 2147483647 h 280"/>
              <a:gd name="T58" fmla="*/ 2147483647 w 633"/>
              <a:gd name="T59" fmla="*/ 2147483647 h 280"/>
              <a:gd name="T60" fmla="*/ 2147483647 w 633"/>
              <a:gd name="T61" fmla="*/ 2147483647 h 280"/>
              <a:gd name="T62" fmla="*/ 2147483647 w 633"/>
              <a:gd name="T63" fmla="*/ 2147483647 h 280"/>
              <a:gd name="T64" fmla="*/ 2147483647 w 633"/>
              <a:gd name="T65" fmla="*/ 2147483647 h 280"/>
              <a:gd name="T66" fmla="*/ 2147483647 w 633"/>
              <a:gd name="T67" fmla="*/ 2147483647 h 280"/>
              <a:gd name="T68" fmla="*/ 2147483647 w 633"/>
              <a:gd name="T69" fmla="*/ 2147483647 h 280"/>
              <a:gd name="T70" fmla="*/ 2147483647 w 633"/>
              <a:gd name="T71" fmla="*/ 2147483647 h 280"/>
              <a:gd name="T72" fmla="*/ 2147483647 w 633"/>
              <a:gd name="T73" fmla="*/ 2147483647 h 280"/>
              <a:gd name="T74" fmla="*/ 2147483647 w 633"/>
              <a:gd name="T75" fmla="*/ 2147483647 h 280"/>
              <a:gd name="T76" fmla="*/ 2147483647 w 633"/>
              <a:gd name="T77" fmla="*/ 2147483647 h 280"/>
              <a:gd name="T78" fmla="*/ 2147483647 w 633"/>
              <a:gd name="T79" fmla="*/ 2147483647 h 280"/>
              <a:gd name="T80" fmla="*/ 2147483647 w 633"/>
              <a:gd name="T81" fmla="*/ 2147483647 h 280"/>
              <a:gd name="T82" fmla="*/ 2147483647 w 633"/>
              <a:gd name="T83" fmla="*/ 2147483647 h 280"/>
              <a:gd name="T84" fmla="*/ 2147483647 w 633"/>
              <a:gd name="T85" fmla="*/ 2147483647 h 280"/>
              <a:gd name="T86" fmla="*/ 2147483647 w 633"/>
              <a:gd name="T87" fmla="*/ 2147483647 h 280"/>
              <a:gd name="T88" fmla="*/ 2147483647 w 633"/>
              <a:gd name="T89" fmla="*/ 2147483647 h 280"/>
              <a:gd name="T90" fmla="*/ 2147483647 w 633"/>
              <a:gd name="T91" fmla="*/ 2147483647 h 280"/>
              <a:gd name="T92" fmla="*/ 2147483647 w 633"/>
              <a:gd name="T93" fmla="*/ 2147483647 h 280"/>
              <a:gd name="T94" fmla="*/ 2147483647 w 633"/>
              <a:gd name="T95" fmla="*/ 2147483647 h 280"/>
              <a:gd name="T96" fmla="*/ 2147483647 w 633"/>
              <a:gd name="T97" fmla="*/ 2147483647 h 280"/>
              <a:gd name="T98" fmla="*/ 2147483647 w 633"/>
              <a:gd name="T99" fmla="*/ 2147483647 h 280"/>
              <a:gd name="T100" fmla="*/ 2147483647 w 633"/>
              <a:gd name="T101" fmla="*/ 2147483647 h 280"/>
              <a:gd name="T102" fmla="*/ 2147483647 w 633"/>
              <a:gd name="T103" fmla="*/ 2147483647 h 280"/>
              <a:gd name="T104" fmla="*/ 2147483647 w 633"/>
              <a:gd name="T105" fmla="*/ 2147483647 h 280"/>
              <a:gd name="T106" fmla="*/ 2147483647 w 633"/>
              <a:gd name="T107" fmla="*/ 2147483647 h 280"/>
              <a:gd name="T108" fmla="*/ 2147483647 w 633"/>
              <a:gd name="T109" fmla="*/ 2147483647 h 280"/>
              <a:gd name="T110" fmla="*/ 2147483647 w 633"/>
              <a:gd name="T111" fmla="*/ 2147483647 h 280"/>
              <a:gd name="T112" fmla="*/ 2147483647 w 633"/>
              <a:gd name="T113" fmla="*/ 2147483647 h 280"/>
              <a:gd name="T114" fmla="*/ 2147483647 w 633"/>
              <a:gd name="T115" fmla="*/ 2147483647 h 280"/>
              <a:gd name="T116" fmla="*/ 2147483647 w 633"/>
              <a:gd name="T117" fmla="*/ 2147483647 h 280"/>
              <a:gd name="T118" fmla="*/ 2147483647 w 633"/>
              <a:gd name="T119" fmla="*/ 2147483647 h 280"/>
              <a:gd name="T120" fmla="*/ 2147483647 w 633"/>
              <a:gd name="T121" fmla="*/ 2147483647 h 280"/>
              <a:gd name="T122" fmla="*/ 2147483647 w 633"/>
              <a:gd name="T123" fmla="*/ 2147483647 h 2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33"/>
              <a:gd name="T187" fmla="*/ 0 h 280"/>
              <a:gd name="T188" fmla="*/ 633 w 633"/>
              <a:gd name="T189" fmla="*/ 280 h 2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33" h="280">
                <a:moveTo>
                  <a:pt x="24" y="244"/>
                </a:moveTo>
                <a:lnTo>
                  <a:pt x="15" y="246"/>
                </a:lnTo>
                <a:lnTo>
                  <a:pt x="0" y="246"/>
                </a:lnTo>
                <a:lnTo>
                  <a:pt x="0" y="226"/>
                </a:lnTo>
                <a:lnTo>
                  <a:pt x="3" y="220"/>
                </a:lnTo>
                <a:lnTo>
                  <a:pt x="7" y="220"/>
                </a:lnTo>
                <a:lnTo>
                  <a:pt x="13" y="220"/>
                </a:lnTo>
                <a:lnTo>
                  <a:pt x="18" y="218"/>
                </a:lnTo>
                <a:lnTo>
                  <a:pt x="18" y="216"/>
                </a:lnTo>
                <a:lnTo>
                  <a:pt x="18" y="213"/>
                </a:lnTo>
                <a:lnTo>
                  <a:pt x="20" y="209"/>
                </a:lnTo>
                <a:lnTo>
                  <a:pt x="18" y="205"/>
                </a:lnTo>
                <a:lnTo>
                  <a:pt x="22" y="201"/>
                </a:lnTo>
                <a:lnTo>
                  <a:pt x="24" y="198"/>
                </a:lnTo>
                <a:lnTo>
                  <a:pt x="28" y="194"/>
                </a:lnTo>
                <a:lnTo>
                  <a:pt x="31" y="194"/>
                </a:lnTo>
                <a:lnTo>
                  <a:pt x="35" y="188"/>
                </a:lnTo>
                <a:lnTo>
                  <a:pt x="41" y="185"/>
                </a:lnTo>
                <a:lnTo>
                  <a:pt x="46" y="185"/>
                </a:lnTo>
                <a:lnTo>
                  <a:pt x="50" y="185"/>
                </a:lnTo>
                <a:lnTo>
                  <a:pt x="54" y="185"/>
                </a:lnTo>
                <a:lnTo>
                  <a:pt x="56" y="181"/>
                </a:lnTo>
                <a:lnTo>
                  <a:pt x="63" y="179"/>
                </a:lnTo>
                <a:lnTo>
                  <a:pt x="65" y="177"/>
                </a:lnTo>
                <a:lnTo>
                  <a:pt x="69" y="177"/>
                </a:lnTo>
                <a:lnTo>
                  <a:pt x="72" y="170"/>
                </a:lnTo>
                <a:lnTo>
                  <a:pt x="72" y="168"/>
                </a:lnTo>
                <a:lnTo>
                  <a:pt x="78" y="166"/>
                </a:lnTo>
                <a:lnTo>
                  <a:pt x="80" y="164"/>
                </a:lnTo>
                <a:lnTo>
                  <a:pt x="85" y="162"/>
                </a:lnTo>
                <a:lnTo>
                  <a:pt x="89" y="162"/>
                </a:lnTo>
                <a:lnTo>
                  <a:pt x="93" y="157"/>
                </a:lnTo>
                <a:lnTo>
                  <a:pt x="95" y="151"/>
                </a:lnTo>
                <a:lnTo>
                  <a:pt x="95" y="147"/>
                </a:lnTo>
                <a:lnTo>
                  <a:pt x="95" y="144"/>
                </a:lnTo>
                <a:lnTo>
                  <a:pt x="98" y="144"/>
                </a:lnTo>
                <a:lnTo>
                  <a:pt x="102" y="147"/>
                </a:lnTo>
                <a:lnTo>
                  <a:pt x="104" y="140"/>
                </a:lnTo>
                <a:lnTo>
                  <a:pt x="104" y="138"/>
                </a:lnTo>
                <a:lnTo>
                  <a:pt x="113" y="131"/>
                </a:lnTo>
                <a:lnTo>
                  <a:pt x="115" y="131"/>
                </a:lnTo>
                <a:lnTo>
                  <a:pt x="117" y="134"/>
                </a:lnTo>
                <a:lnTo>
                  <a:pt x="117" y="136"/>
                </a:lnTo>
                <a:lnTo>
                  <a:pt x="117" y="138"/>
                </a:lnTo>
                <a:lnTo>
                  <a:pt x="119" y="138"/>
                </a:lnTo>
                <a:lnTo>
                  <a:pt x="126" y="136"/>
                </a:lnTo>
                <a:lnTo>
                  <a:pt x="128" y="136"/>
                </a:lnTo>
                <a:lnTo>
                  <a:pt x="130" y="125"/>
                </a:lnTo>
                <a:lnTo>
                  <a:pt x="132" y="123"/>
                </a:lnTo>
                <a:lnTo>
                  <a:pt x="136" y="121"/>
                </a:lnTo>
                <a:lnTo>
                  <a:pt x="139" y="121"/>
                </a:lnTo>
                <a:lnTo>
                  <a:pt x="145" y="118"/>
                </a:lnTo>
                <a:lnTo>
                  <a:pt x="147" y="118"/>
                </a:lnTo>
                <a:lnTo>
                  <a:pt x="151" y="121"/>
                </a:lnTo>
                <a:lnTo>
                  <a:pt x="154" y="121"/>
                </a:lnTo>
                <a:lnTo>
                  <a:pt x="156" y="116"/>
                </a:lnTo>
                <a:lnTo>
                  <a:pt x="162" y="103"/>
                </a:lnTo>
                <a:lnTo>
                  <a:pt x="164" y="101"/>
                </a:lnTo>
                <a:lnTo>
                  <a:pt x="169" y="97"/>
                </a:lnTo>
                <a:lnTo>
                  <a:pt x="177" y="97"/>
                </a:lnTo>
                <a:lnTo>
                  <a:pt x="180" y="95"/>
                </a:lnTo>
                <a:lnTo>
                  <a:pt x="175" y="95"/>
                </a:lnTo>
                <a:lnTo>
                  <a:pt x="175" y="88"/>
                </a:lnTo>
                <a:lnTo>
                  <a:pt x="177" y="82"/>
                </a:lnTo>
                <a:lnTo>
                  <a:pt x="177" y="80"/>
                </a:lnTo>
                <a:lnTo>
                  <a:pt x="177" y="71"/>
                </a:lnTo>
                <a:lnTo>
                  <a:pt x="201" y="69"/>
                </a:lnTo>
                <a:lnTo>
                  <a:pt x="234" y="65"/>
                </a:lnTo>
                <a:lnTo>
                  <a:pt x="240" y="65"/>
                </a:lnTo>
                <a:lnTo>
                  <a:pt x="257" y="62"/>
                </a:lnTo>
                <a:lnTo>
                  <a:pt x="268" y="58"/>
                </a:lnTo>
                <a:lnTo>
                  <a:pt x="298" y="56"/>
                </a:lnTo>
                <a:lnTo>
                  <a:pt x="322" y="52"/>
                </a:lnTo>
                <a:lnTo>
                  <a:pt x="339" y="49"/>
                </a:lnTo>
                <a:lnTo>
                  <a:pt x="359" y="43"/>
                </a:lnTo>
                <a:lnTo>
                  <a:pt x="363" y="43"/>
                </a:lnTo>
                <a:lnTo>
                  <a:pt x="391" y="39"/>
                </a:lnTo>
                <a:lnTo>
                  <a:pt x="393" y="39"/>
                </a:lnTo>
                <a:lnTo>
                  <a:pt x="415" y="34"/>
                </a:lnTo>
                <a:lnTo>
                  <a:pt x="426" y="32"/>
                </a:lnTo>
                <a:lnTo>
                  <a:pt x="445" y="30"/>
                </a:lnTo>
                <a:lnTo>
                  <a:pt x="456" y="26"/>
                </a:lnTo>
                <a:lnTo>
                  <a:pt x="465" y="24"/>
                </a:lnTo>
                <a:lnTo>
                  <a:pt x="497" y="17"/>
                </a:lnTo>
                <a:lnTo>
                  <a:pt x="508" y="15"/>
                </a:lnTo>
                <a:lnTo>
                  <a:pt x="527" y="11"/>
                </a:lnTo>
                <a:lnTo>
                  <a:pt x="553" y="6"/>
                </a:lnTo>
                <a:lnTo>
                  <a:pt x="557" y="4"/>
                </a:lnTo>
                <a:lnTo>
                  <a:pt x="570" y="2"/>
                </a:lnTo>
                <a:lnTo>
                  <a:pt x="585" y="0"/>
                </a:lnTo>
                <a:lnTo>
                  <a:pt x="592" y="0"/>
                </a:lnTo>
                <a:lnTo>
                  <a:pt x="592" y="2"/>
                </a:lnTo>
                <a:lnTo>
                  <a:pt x="590" y="4"/>
                </a:lnTo>
                <a:lnTo>
                  <a:pt x="601" y="8"/>
                </a:lnTo>
                <a:lnTo>
                  <a:pt x="596" y="8"/>
                </a:lnTo>
                <a:lnTo>
                  <a:pt x="603" y="15"/>
                </a:lnTo>
                <a:lnTo>
                  <a:pt x="603" y="8"/>
                </a:lnTo>
                <a:lnTo>
                  <a:pt x="605" y="15"/>
                </a:lnTo>
                <a:lnTo>
                  <a:pt x="618" y="34"/>
                </a:lnTo>
                <a:lnTo>
                  <a:pt x="620" y="39"/>
                </a:lnTo>
                <a:lnTo>
                  <a:pt x="614" y="36"/>
                </a:lnTo>
                <a:lnTo>
                  <a:pt x="607" y="24"/>
                </a:lnTo>
                <a:lnTo>
                  <a:pt x="605" y="24"/>
                </a:lnTo>
                <a:lnTo>
                  <a:pt x="605" y="21"/>
                </a:lnTo>
                <a:lnTo>
                  <a:pt x="601" y="19"/>
                </a:lnTo>
                <a:lnTo>
                  <a:pt x="605" y="30"/>
                </a:lnTo>
                <a:lnTo>
                  <a:pt x="605" y="32"/>
                </a:lnTo>
                <a:lnTo>
                  <a:pt x="585" y="21"/>
                </a:lnTo>
                <a:lnTo>
                  <a:pt x="585" y="24"/>
                </a:lnTo>
                <a:lnTo>
                  <a:pt x="594" y="34"/>
                </a:lnTo>
                <a:lnTo>
                  <a:pt x="592" y="36"/>
                </a:lnTo>
                <a:lnTo>
                  <a:pt x="585" y="36"/>
                </a:lnTo>
                <a:lnTo>
                  <a:pt x="579" y="34"/>
                </a:lnTo>
                <a:lnTo>
                  <a:pt x="581" y="41"/>
                </a:lnTo>
                <a:lnTo>
                  <a:pt x="568" y="49"/>
                </a:lnTo>
                <a:lnTo>
                  <a:pt x="573" y="49"/>
                </a:lnTo>
                <a:lnTo>
                  <a:pt x="568" y="56"/>
                </a:lnTo>
                <a:lnTo>
                  <a:pt x="562" y="56"/>
                </a:lnTo>
                <a:lnTo>
                  <a:pt x="557" y="52"/>
                </a:lnTo>
                <a:lnTo>
                  <a:pt x="557" y="54"/>
                </a:lnTo>
                <a:lnTo>
                  <a:pt x="553" y="54"/>
                </a:lnTo>
                <a:lnTo>
                  <a:pt x="551" y="43"/>
                </a:lnTo>
                <a:lnTo>
                  <a:pt x="551" y="32"/>
                </a:lnTo>
                <a:lnTo>
                  <a:pt x="542" y="26"/>
                </a:lnTo>
                <a:lnTo>
                  <a:pt x="529" y="26"/>
                </a:lnTo>
                <a:lnTo>
                  <a:pt x="544" y="32"/>
                </a:lnTo>
                <a:lnTo>
                  <a:pt x="547" y="34"/>
                </a:lnTo>
                <a:lnTo>
                  <a:pt x="544" y="39"/>
                </a:lnTo>
                <a:lnTo>
                  <a:pt x="547" y="47"/>
                </a:lnTo>
                <a:lnTo>
                  <a:pt x="555" y="58"/>
                </a:lnTo>
                <a:lnTo>
                  <a:pt x="553" y="67"/>
                </a:lnTo>
                <a:lnTo>
                  <a:pt x="555" y="65"/>
                </a:lnTo>
                <a:lnTo>
                  <a:pt x="575" y="56"/>
                </a:lnTo>
                <a:lnTo>
                  <a:pt x="579" y="62"/>
                </a:lnTo>
                <a:lnTo>
                  <a:pt x="590" y="54"/>
                </a:lnTo>
                <a:lnTo>
                  <a:pt x="601" y="54"/>
                </a:lnTo>
                <a:lnTo>
                  <a:pt x="605" y="56"/>
                </a:lnTo>
                <a:lnTo>
                  <a:pt x="605" y="71"/>
                </a:lnTo>
                <a:lnTo>
                  <a:pt x="609" y="80"/>
                </a:lnTo>
                <a:lnTo>
                  <a:pt x="601" y="80"/>
                </a:lnTo>
                <a:lnTo>
                  <a:pt x="605" y="82"/>
                </a:lnTo>
                <a:lnTo>
                  <a:pt x="609" y="80"/>
                </a:lnTo>
                <a:lnTo>
                  <a:pt x="609" y="58"/>
                </a:lnTo>
                <a:lnTo>
                  <a:pt x="620" y="52"/>
                </a:lnTo>
                <a:lnTo>
                  <a:pt x="627" y="56"/>
                </a:lnTo>
                <a:lnTo>
                  <a:pt x="633" y="73"/>
                </a:lnTo>
                <a:lnTo>
                  <a:pt x="629" y="84"/>
                </a:lnTo>
                <a:lnTo>
                  <a:pt x="620" y="82"/>
                </a:lnTo>
                <a:lnTo>
                  <a:pt x="611" y="103"/>
                </a:lnTo>
                <a:lnTo>
                  <a:pt x="605" y="112"/>
                </a:lnTo>
                <a:lnTo>
                  <a:pt x="579" y="108"/>
                </a:lnTo>
                <a:lnTo>
                  <a:pt x="577" y="106"/>
                </a:lnTo>
                <a:lnTo>
                  <a:pt x="581" y="101"/>
                </a:lnTo>
                <a:lnTo>
                  <a:pt x="581" y="97"/>
                </a:lnTo>
                <a:lnTo>
                  <a:pt x="575" y="95"/>
                </a:lnTo>
                <a:lnTo>
                  <a:pt x="577" y="99"/>
                </a:lnTo>
                <a:lnTo>
                  <a:pt x="568" y="101"/>
                </a:lnTo>
                <a:lnTo>
                  <a:pt x="570" y="108"/>
                </a:lnTo>
                <a:lnTo>
                  <a:pt x="564" y="114"/>
                </a:lnTo>
                <a:lnTo>
                  <a:pt x="531" y="106"/>
                </a:lnTo>
                <a:lnTo>
                  <a:pt x="542" y="116"/>
                </a:lnTo>
                <a:lnTo>
                  <a:pt x="568" y="118"/>
                </a:lnTo>
                <a:lnTo>
                  <a:pt x="575" y="123"/>
                </a:lnTo>
                <a:lnTo>
                  <a:pt x="575" y="121"/>
                </a:lnTo>
                <a:lnTo>
                  <a:pt x="579" y="121"/>
                </a:lnTo>
                <a:lnTo>
                  <a:pt x="581" y="123"/>
                </a:lnTo>
                <a:lnTo>
                  <a:pt x="575" y="134"/>
                </a:lnTo>
                <a:lnTo>
                  <a:pt x="577" y="136"/>
                </a:lnTo>
                <a:lnTo>
                  <a:pt x="577" y="144"/>
                </a:lnTo>
                <a:lnTo>
                  <a:pt x="575" y="149"/>
                </a:lnTo>
                <a:lnTo>
                  <a:pt x="562" y="153"/>
                </a:lnTo>
                <a:lnTo>
                  <a:pt x="555" y="151"/>
                </a:lnTo>
                <a:lnTo>
                  <a:pt x="553" y="149"/>
                </a:lnTo>
                <a:lnTo>
                  <a:pt x="544" y="149"/>
                </a:lnTo>
                <a:lnTo>
                  <a:pt x="540" y="149"/>
                </a:lnTo>
                <a:lnTo>
                  <a:pt x="540" y="151"/>
                </a:lnTo>
                <a:lnTo>
                  <a:pt x="551" y="151"/>
                </a:lnTo>
                <a:lnTo>
                  <a:pt x="557" y="162"/>
                </a:lnTo>
                <a:lnTo>
                  <a:pt x="579" y="157"/>
                </a:lnTo>
                <a:lnTo>
                  <a:pt x="575" y="153"/>
                </a:lnTo>
                <a:lnTo>
                  <a:pt x="588" y="151"/>
                </a:lnTo>
                <a:lnTo>
                  <a:pt x="592" y="147"/>
                </a:lnTo>
                <a:lnTo>
                  <a:pt x="594" y="151"/>
                </a:lnTo>
                <a:lnTo>
                  <a:pt x="601" y="151"/>
                </a:lnTo>
                <a:lnTo>
                  <a:pt x="603" y="147"/>
                </a:lnTo>
                <a:lnTo>
                  <a:pt x="603" y="149"/>
                </a:lnTo>
                <a:lnTo>
                  <a:pt x="594" y="166"/>
                </a:lnTo>
                <a:lnTo>
                  <a:pt x="585" y="177"/>
                </a:lnTo>
                <a:lnTo>
                  <a:pt x="553" y="183"/>
                </a:lnTo>
                <a:lnTo>
                  <a:pt x="542" y="179"/>
                </a:lnTo>
                <a:lnTo>
                  <a:pt x="547" y="185"/>
                </a:lnTo>
                <a:lnTo>
                  <a:pt x="544" y="188"/>
                </a:lnTo>
                <a:lnTo>
                  <a:pt x="521" y="213"/>
                </a:lnTo>
                <a:lnTo>
                  <a:pt x="519" y="218"/>
                </a:lnTo>
                <a:lnTo>
                  <a:pt x="514" y="216"/>
                </a:lnTo>
                <a:lnTo>
                  <a:pt x="514" y="218"/>
                </a:lnTo>
                <a:lnTo>
                  <a:pt x="508" y="231"/>
                </a:lnTo>
                <a:lnTo>
                  <a:pt x="499" y="244"/>
                </a:lnTo>
                <a:lnTo>
                  <a:pt x="499" y="252"/>
                </a:lnTo>
                <a:lnTo>
                  <a:pt x="497" y="254"/>
                </a:lnTo>
                <a:lnTo>
                  <a:pt x="493" y="244"/>
                </a:lnTo>
                <a:lnTo>
                  <a:pt x="497" y="263"/>
                </a:lnTo>
                <a:lnTo>
                  <a:pt x="493" y="270"/>
                </a:lnTo>
                <a:lnTo>
                  <a:pt x="449" y="280"/>
                </a:lnTo>
                <a:lnTo>
                  <a:pt x="445" y="276"/>
                </a:lnTo>
                <a:lnTo>
                  <a:pt x="406" y="248"/>
                </a:lnTo>
                <a:lnTo>
                  <a:pt x="374" y="226"/>
                </a:lnTo>
                <a:lnTo>
                  <a:pt x="374" y="222"/>
                </a:lnTo>
                <a:lnTo>
                  <a:pt x="352" y="211"/>
                </a:lnTo>
                <a:lnTo>
                  <a:pt x="333" y="213"/>
                </a:lnTo>
                <a:lnTo>
                  <a:pt x="303" y="218"/>
                </a:lnTo>
                <a:lnTo>
                  <a:pt x="285" y="220"/>
                </a:lnTo>
                <a:lnTo>
                  <a:pt x="268" y="226"/>
                </a:lnTo>
                <a:lnTo>
                  <a:pt x="266" y="213"/>
                </a:lnTo>
                <a:lnTo>
                  <a:pt x="262" y="209"/>
                </a:lnTo>
                <a:lnTo>
                  <a:pt x="257" y="203"/>
                </a:lnTo>
                <a:lnTo>
                  <a:pt x="253" y="201"/>
                </a:lnTo>
                <a:lnTo>
                  <a:pt x="246" y="205"/>
                </a:lnTo>
                <a:lnTo>
                  <a:pt x="244" y="205"/>
                </a:lnTo>
                <a:lnTo>
                  <a:pt x="246" y="201"/>
                </a:lnTo>
                <a:lnTo>
                  <a:pt x="244" y="198"/>
                </a:lnTo>
                <a:lnTo>
                  <a:pt x="244" y="196"/>
                </a:lnTo>
                <a:lnTo>
                  <a:pt x="225" y="198"/>
                </a:lnTo>
                <a:lnTo>
                  <a:pt x="221" y="198"/>
                </a:lnTo>
                <a:lnTo>
                  <a:pt x="188" y="201"/>
                </a:lnTo>
                <a:lnTo>
                  <a:pt x="182" y="203"/>
                </a:lnTo>
                <a:lnTo>
                  <a:pt x="175" y="203"/>
                </a:lnTo>
                <a:lnTo>
                  <a:pt x="156" y="205"/>
                </a:lnTo>
                <a:lnTo>
                  <a:pt x="151" y="205"/>
                </a:lnTo>
                <a:lnTo>
                  <a:pt x="149" y="209"/>
                </a:lnTo>
                <a:lnTo>
                  <a:pt x="147" y="209"/>
                </a:lnTo>
                <a:lnTo>
                  <a:pt x="145" y="209"/>
                </a:lnTo>
                <a:lnTo>
                  <a:pt x="143" y="205"/>
                </a:lnTo>
                <a:lnTo>
                  <a:pt x="139" y="211"/>
                </a:lnTo>
                <a:lnTo>
                  <a:pt x="136" y="211"/>
                </a:lnTo>
                <a:lnTo>
                  <a:pt x="134" y="213"/>
                </a:lnTo>
                <a:lnTo>
                  <a:pt x="130" y="213"/>
                </a:lnTo>
                <a:lnTo>
                  <a:pt x="126" y="218"/>
                </a:lnTo>
                <a:lnTo>
                  <a:pt x="121" y="218"/>
                </a:lnTo>
                <a:lnTo>
                  <a:pt x="121" y="220"/>
                </a:lnTo>
                <a:lnTo>
                  <a:pt x="115" y="222"/>
                </a:lnTo>
                <a:lnTo>
                  <a:pt x="106" y="226"/>
                </a:lnTo>
                <a:lnTo>
                  <a:pt x="100" y="231"/>
                </a:lnTo>
                <a:lnTo>
                  <a:pt x="93" y="233"/>
                </a:lnTo>
                <a:lnTo>
                  <a:pt x="61" y="237"/>
                </a:lnTo>
                <a:lnTo>
                  <a:pt x="56" y="237"/>
                </a:lnTo>
                <a:lnTo>
                  <a:pt x="31" y="244"/>
                </a:lnTo>
                <a:lnTo>
                  <a:pt x="24" y="244"/>
                </a:lnTo>
              </a:path>
            </a:pathLst>
          </a:custGeom>
          <a:solidFill>
            <a:srgbClr val="00B050"/>
          </a:solidFill>
          <a:ln w="3175">
            <a:solidFill>
              <a:srgbClr val="000000"/>
            </a:solidFill>
            <a:prstDash val="solid"/>
            <a:round/>
            <a:headEnd/>
            <a:tailEnd/>
          </a:ln>
        </p:spPr>
        <p:txBody>
          <a:bodyPr/>
          <a:lstStyle/>
          <a:p>
            <a:endParaRPr lang="en-US" dirty="0">
              <a:solidFill>
                <a:prstClr val="black"/>
              </a:solidFill>
            </a:endParaRPr>
          </a:p>
        </p:txBody>
      </p:sp>
      <p:sp>
        <p:nvSpPr>
          <p:cNvPr id="260" name="Freeform 93">
            <a:extLst>
              <a:ext uri="{FF2B5EF4-FFF2-40B4-BE49-F238E27FC236}">
                <a16:creationId xmlns:a16="http://schemas.microsoft.com/office/drawing/2014/main" id="{CA9DD1B6-3578-4D60-8880-7FF515F900BF}"/>
              </a:ext>
            </a:extLst>
          </p:cNvPr>
          <p:cNvSpPr>
            <a:spLocks/>
          </p:cNvSpPr>
          <p:nvPr>
            <p:custDataLst>
              <p:tags r:id="rId84"/>
            </p:custDataLst>
          </p:nvPr>
        </p:nvSpPr>
        <p:spPr bwMode="auto">
          <a:xfrm>
            <a:off x="9101589" y="4020922"/>
            <a:ext cx="21920" cy="12971"/>
          </a:xfrm>
          <a:custGeom>
            <a:avLst/>
            <a:gdLst>
              <a:gd name="T0" fmla="*/ 0 w 11"/>
              <a:gd name="T1" fmla="*/ 0 h 6"/>
              <a:gd name="T2" fmla="*/ 2147483647 w 11"/>
              <a:gd name="T3" fmla="*/ 0 h 6"/>
              <a:gd name="T4" fmla="*/ 2147483647 w 11"/>
              <a:gd name="T5" fmla="*/ 0 h 6"/>
              <a:gd name="T6" fmla="*/ 2147483647 w 11"/>
              <a:gd name="T7" fmla="*/ 2147483647 h 6"/>
              <a:gd name="T8" fmla="*/ 2147483647 w 11"/>
              <a:gd name="T9" fmla="*/ 2147483647 h 6"/>
              <a:gd name="T10" fmla="*/ 2147483647 w 11"/>
              <a:gd name="T11" fmla="*/ 2147483647 h 6"/>
              <a:gd name="T12" fmla="*/ 0 w 11"/>
              <a:gd name="T13" fmla="*/ 0 h 6"/>
              <a:gd name="T14" fmla="*/ 0 60000 65536"/>
              <a:gd name="T15" fmla="*/ 0 60000 65536"/>
              <a:gd name="T16" fmla="*/ 0 60000 65536"/>
              <a:gd name="T17" fmla="*/ 0 60000 65536"/>
              <a:gd name="T18" fmla="*/ 0 60000 65536"/>
              <a:gd name="T19" fmla="*/ 0 60000 65536"/>
              <a:gd name="T20" fmla="*/ 0 60000 65536"/>
              <a:gd name="T21" fmla="*/ 0 w 11"/>
              <a:gd name="T22" fmla="*/ 0 h 6"/>
              <a:gd name="T23" fmla="*/ 11 w 11"/>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6">
                <a:moveTo>
                  <a:pt x="0" y="0"/>
                </a:moveTo>
                <a:lnTo>
                  <a:pt x="2" y="0"/>
                </a:lnTo>
                <a:lnTo>
                  <a:pt x="11" y="0"/>
                </a:lnTo>
                <a:lnTo>
                  <a:pt x="11" y="6"/>
                </a:lnTo>
                <a:lnTo>
                  <a:pt x="4" y="6"/>
                </a:lnTo>
                <a:lnTo>
                  <a:pt x="4" y="4"/>
                </a:lnTo>
                <a:lnTo>
                  <a:pt x="0" y="0"/>
                </a:lnTo>
              </a:path>
            </a:pathLst>
          </a:custGeom>
          <a:noFill/>
          <a:ln w="6350">
            <a:solidFill>
              <a:srgbClr val="404040"/>
            </a:solidFill>
            <a:round/>
            <a:headEnd/>
            <a:tailEnd/>
          </a:ln>
        </p:spPr>
        <p:txBody>
          <a:bodyPr/>
          <a:lstStyle/>
          <a:p>
            <a:endParaRPr lang="en-US" dirty="0">
              <a:solidFill>
                <a:prstClr val="black"/>
              </a:solidFill>
            </a:endParaRPr>
          </a:p>
        </p:txBody>
      </p:sp>
      <p:sp>
        <p:nvSpPr>
          <p:cNvPr id="261" name="Freeform 94">
            <a:extLst>
              <a:ext uri="{FF2B5EF4-FFF2-40B4-BE49-F238E27FC236}">
                <a16:creationId xmlns:a16="http://schemas.microsoft.com/office/drawing/2014/main" id="{2953CF27-429C-4DE6-86E4-AC14174428E5}"/>
              </a:ext>
            </a:extLst>
          </p:cNvPr>
          <p:cNvSpPr>
            <a:spLocks/>
          </p:cNvSpPr>
          <p:nvPr>
            <p:custDataLst>
              <p:tags r:id="rId85"/>
            </p:custDataLst>
          </p:nvPr>
        </p:nvSpPr>
        <p:spPr bwMode="auto">
          <a:xfrm>
            <a:off x="9123509" y="4010114"/>
            <a:ext cx="78912" cy="149157"/>
          </a:xfrm>
          <a:custGeom>
            <a:avLst/>
            <a:gdLst>
              <a:gd name="T0" fmla="*/ 0 w 39"/>
              <a:gd name="T1" fmla="*/ 2147483647 h 69"/>
              <a:gd name="T2" fmla="*/ 0 w 39"/>
              <a:gd name="T3" fmla="*/ 0 h 69"/>
              <a:gd name="T4" fmla="*/ 2147483647 w 39"/>
              <a:gd name="T5" fmla="*/ 2147483647 h 69"/>
              <a:gd name="T6" fmla="*/ 2147483647 w 39"/>
              <a:gd name="T7" fmla="*/ 2147483647 h 69"/>
              <a:gd name="T8" fmla="*/ 2147483647 w 39"/>
              <a:gd name="T9" fmla="*/ 2147483647 h 69"/>
              <a:gd name="T10" fmla="*/ 2147483647 w 39"/>
              <a:gd name="T11" fmla="*/ 2147483647 h 69"/>
              <a:gd name="T12" fmla="*/ 2147483647 w 39"/>
              <a:gd name="T13" fmla="*/ 2147483647 h 69"/>
              <a:gd name="T14" fmla="*/ 0 w 39"/>
              <a:gd name="T15" fmla="*/ 2147483647 h 69"/>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69"/>
              <a:gd name="T26" fmla="*/ 39 w 39"/>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69">
                <a:moveTo>
                  <a:pt x="0" y="5"/>
                </a:moveTo>
                <a:lnTo>
                  <a:pt x="0" y="0"/>
                </a:lnTo>
                <a:lnTo>
                  <a:pt x="15" y="31"/>
                </a:lnTo>
                <a:lnTo>
                  <a:pt x="39" y="69"/>
                </a:lnTo>
                <a:lnTo>
                  <a:pt x="24" y="46"/>
                </a:lnTo>
                <a:lnTo>
                  <a:pt x="21" y="46"/>
                </a:lnTo>
                <a:lnTo>
                  <a:pt x="15" y="31"/>
                </a:lnTo>
                <a:lnTo>
                  <a:pt x="0" y="5"/>
                </a:lnTo>
              </a:path>
            </a:pathLst>
          </a:custGeom>
          <a:noFill/>
          <a:ln w="6350">
            <a:solidFill>
              <a:srgbClr val="404040"/>
            </a:solidFill>
            <a:round/>
            <a:headEnd/>
            <a:tailEnd/>
          </a:ln>
        </p:spPr>
        <p:txBody>
          <a:bodyPr/>
          <a:lstStyle/>
          <a:p>
            <a:endParaRPr lang="en-US" dirty="0">
              <a:solidFill>
                <a:prstClr val="black"/>
              </a:solidFill>
            </a:endParaRPr>
          </a:p>
        </p:txBody>
      </p:sp>
      <p:sp>
        <p:nvSpPr>
          <p:cNvPr id="262" name="Freeform 95">
            <a:extLst>
              <a:ext uri="{FF2B5EF4-FFF2-40B4-BE49-F238E27FC236}">
                <a16:creationId xmlns:a16="http://schemas.microsoft.com/office/drawing/2014/main" id="{DE19A7C4-545F-4224-999B-39A79A3B8ADC}"/>
              </a:ext>
            </a:extLst>
          </p:cNvPr>
          <p:cNvSpPr>
            <a:spLocks/>
          </p:cNvSpPr>
          <p:nvPr>
            <p:custDataLst>
              <p:tags r:id="rId86"/>
            </p:custDataLst>
          </p:nvPr>
        </p:nvSpPr>
        <p:spPr bwMode="auto">
          <a:xfrm>
            <a:off x="9195863" y="4159270"/>
            <a:ext cx="37265" cy="121055"/>
          </a:xfrm>
          <a:custGeom>
            <a:avLst/>
            <a:gdLst>
              <a:gd name="T0" fmla="*/ 2147483647 w 18"/>
              <a:gd name="T1" fmla="*/ 2147483647 h 56"/>
              <a:gd name="T2" fmla="*/ 2147483647 w 18"/>
              <a:gd name="T3" fmla="*/ 0 h 56"/>
              <a:gd name="T4" fmla="*/ 2147483647 w 18"/>
              <a:gd name="T5" fmla="*/ 2147483647 h 56"/>
              <a:gd name="T6" fmla="*/ 2147483647 w 18"/>
              <a:gd name="T7" fmla="*/ 2147483647 h 56"/>
              <a:gd name="T8" fmla="*/ 0 w 18"/>
              <a:gd name="T9" fmla="*/ 2147483647 h 56"/>
              <a:gd name="T10" fmla="*/ 2147483647 w 18"/>
              <a:gd name="T11" fmla="*/ 2147483647 h 56"/>
              <a:gd name="T12" fmla="*/ 2147483647 w 18"/>
              <a:gd name="T13" fmla="*/ 2147483647 h 56"/>
              <a:gd name="T14" fmla="*/ 2147483647 w 18"/>
              <a:gd name="T15" fmla="*/ 2147483647 h 56"/>
              <a:gd name="T16" fmla="*/ 2147483647 w 18"/>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56"/>
              <a:gd name="T29" fmla="*/ 18 w 18"/>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56">
                <a:moveTo>
                  <a:pt x="11" y="7"/>
                </a:moveTo>
                <a:lnTo>
                  <a:pt x="5" y="0"/>
                </a:lnTo>
                <a:lnTo>
                  <a:pt x="13" y="11"/>
                </a:lnTo>
                <a:lnTo>
                  <a:pt x="18" y="50"/>
                </a:lnTo>
                <a:lnTo>
                  <a:pt x="0" y="56"/>
                </a:lnTo>
                <a:lnTo>
                  <a:pt x="5" y="52"/>
                </a:lnTo>
                <a:lnTo>
                  <a:pt x="16" y="44"/>
                </a:lnTo>
                <a:lnTo>
                  <a:pt x="13" y="18"/>
                </a:lnTo>
                <a:lnTo>
                  <a:pt x="11" y="7"/>
                </a:lnTo>
              </a:path>
            </a:pathLst>
          </a:custGeom>
          <a:noFill/>
          <a:ln w="6350">
            <a:solidFill>
              <a:srgbClr val="404040"/>
            </a:solidFill>
            <a:round/>
            <a:headEnd/>
            <a:tailEnd/>
          </a:ln>
        </p:spPr>
        <p:txBody>
          <a:bodyPr/>
          <a:lstStyle/>
          <a:p>
            <a:endParaRPr lang="en-US" dirty="0">
              <a:solidFill>
                <a:prstClr val="black"/>
              </a:solidFill>
            </a:endParaRPr>
          </a:p>
        </p:txBody>
      </p:sp>
      <p:sp>
        <p:nvSpPr>
          <p:cNvPr id="263" name="Freeform 96">
            <a:extLst>
              <a:ext uri="{FF2B5EF4-FFF2-40B4-BE49-F238E27FC236}">
                <a16:creationId xmlns:a16="http://schemas.microsoft.com/office/drawing/2014/main" id="{D76965B1-2933-4F96-98E0-2E0FC2EAC0AB}"/>
              </a:ext>
            </a:extLst>
          </p:cNvPr>
          <p:cNvSpPr>
            <a:spLocks/>
          </p:cNvSpPr>
          <p:nvPr>
            <p:custDataLst>
              <p:tags r:id="rId87"/>
            </p:custDataLst>
          </p:nvPr>
        </p:nvSpPr>
        <p:spPr bwMode="auto">
          <a:xfrm>
            <a:off x="9160773" y="4280334"/>
            <a:ext cx="35072" cy="34587"/>
          </a:xfrm>
          <a:custGeom>
            <a:avLst/>
            <a:gdLst>
              <a:gd name="T0" fmla="*/ 0 w 17"/>
              <a:gd name="T1" fmla="*/ 2147483647 h 16"/>
              <a:gd name="T2" fmla="*/ 2147483647 w 17"/>
              <a:gd name="T3" fmla="*/ 2147483647 h 16"/>
              <a:gd name="T4" fmla="*/ 2147483647 w 17"/>
              <a:gd name="T5" fmla="*/ 2147483647 h 16"/>
              <a:gd name="T6" fmla="*/ 2147483647 w 17"/>
              <a:gd name="T7" fmla="*/ 0 h 16"/>
              <a:gd name="T8" fmla="*/ 2147483647 w 17"/>
              <a:gd name="T9" fmla="*/ 2147483647 h 16"/>
              <a:gd name="T10" fmla="*/ 2147483647 w 17"/>
              <a:gd name="T11" fmla="*/ 2147483647 h 16"/>
              <a:gd name="T12" fmla="*/ 2147483647 w 17"/>
              <a:gd name="T13" fmla="*/ 2147483647 h 16"/>
              <a:gd name="T14" fmla="*/ 0 w 17"/>
              <a:gd name="T15" fmla="*/ 2147483647 h 16"/>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6"/>
              <a:gd name="T26" fmla="*/ 17 w 17"/>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6">
                <a:moveTo>
                  <a:pt x="0" y="16"/>
                </a:moveTo>
                <a:lnTo>
                  <a:pt x="2" y="11"/>
                </a:lnTo>
                <a:lnTo>
                  <a:pt x="11" y="3"/>
                </a:lnTo>
                <a:lnTo>
                  <a:pt x="17" y="0"/>
                </a:lnTo>
                <a:lnTo>
                  <a:pt x="15" y="3"/>
                </a:lnTo>
                <a:lnTo>
                  <a:pt x="7" y="7"/>
                </a:lnTo>
                <a:lnTo>
                  <a:pt x="2" y="16"/>
                </a:lnTo>
                <a:lnTo>
                  <a:pt x="0" y="16"/>
                </a:lnTo>
              </a:path>
            </a:pathLst>
          </a:custGeom>
          <a:noFill/>
          <a:ln w="6350">
            <a:solidFill>
              <a:srgbClr val="404040"/>
            </a:solidFill>
            <a:round/>
            <a:headEnd/>
            <a:tailEnd/>
          </a:ln>
        </p:spPr>
        <p:txBody>
          <a:bodyPr/>
          <a:lstStyle/>
          <a:p>
            <a:endParaRPr lang="en-US" dirty="0">
              <a:solidFill>
                <a:prstClr val="black"/>
              </a:solidFill>
            </a:endParaRPr>
          </a:p>
        </p:txBody>
      </p:sp>
      <p:sp>
        <p:nvSpPr>
          <p:cNvPr id="264" name="Freeform 97">
            <a:extLst>
              <a:ext uri="{FF2B5EF4-FFF2-40B4-BE49-F238E27FC236}">
                <a16:creationId xmlns:a16="http://schemas.microsoft.com/office/drawing/2014/main" id="{6503EBC3-B313-40EC-8337-23B795BB64F7}"/>
              </a:ext>
            </a:extLst>
          </p:cNvPr>
          <p:cNvSpPr>
            <a:spLocks/>
          </p:cNvSpPr>
          <p:nvPr>
            <p:custDataLst>
              <p:tags r:id="rId88"/>
            </p:custDataLst>
          </p:nvPr>
        </p:nvSpPr>
        <p:spPr bwMode="auto">
          <a:xfrm>
            <a:off x="6981932" y="4174407"/>
            <a:ext cx="1284513" cy="471251"/>
          </a:xfrm>
          <a:custGeom>
            <a:avLst/>
            <a:gdLst>
              <a:gd name="T0" fmla="*/ 2147483647 w 635"/>
              <a:gd name="T1" fmla="*/ 2147483647 h 218"/>
              <a:gd name="T2" fmla="*/ 2147483647 w 635"/>
              <a:gd name="T3" fmla="*/ 2147483647 h 218"/>
              <a:gd name="T4" fmla="*/ 2147483647 w 635"/>
              <a:gd name="T5" fmla="*/ 2147483647 h 218"/>
              <a:gd name="T6" fmla="*/ 2147483647 w 635"/>
              <a:gd name="T7" fmla="*/ 2147483647 h 218"/>
              <a:gd name="T8" fmla="*/ 2147483647 w 635"/>
              <a:gd name="T9" fmla="*/ 2147483647 h 218"/>
              <a:gd name="T10" fmla="*/ 2147483647 w 635"/>
              <a:gd name="T11" fmla="*/ 2147483647 h 218"/>
              <a:gd name="T12" fmla="*/ 2147483647 w 635"/>
              <a:gd name="T13" fmla="*/ 2147483647 h 218"/>
              <a:gd name="T14" fmla="*/ 2147483647 w 635"/>
              <a:gd name="T15" fmla="*/ 2147483647 h 218"/>
              <a:gd name="T16" fmla="*/ 2147483647 w 635"/>
              <a:gd name="T17" fmla="*/ 2147483647 h 218"/>
              <a:gd name="T18" fmla="*/ 2147483647 w 635"/>
              <a:gd name="T19" fmla="*/ 2147483647 h 218"/>
              <a:gd name="T20" fmla="*/ 2147483647 w 635"/>
              <a:gd name="T21" fmla="*/ 2147483647 h 218"/>
              <a:gd name="T22" fmla="*/ 2147483647 w 635"/>
              <a:gd name="T23" fmla="*/ 2147483647 h 218"/>
              <a:gd name="T24" fmla="*/ 2147483647 w 635"/>
              <a:gd name="T25" fmla="*/ 2147483647 h 218"/>
              <a:gd name="T26" fmla="*/ 2147483647 w 635"/>
              <a:gd name="T27" fmla="*/ 2147483647 h 218"/>
              <a:gd name="T28" fmla="*/ 2147483647 w 635"/>
              <a:gd name="T29" fmla="*/ 2147483647 h 218"/>
              <a:gd name="T30" fmla="*/ 2147483647 w 635"/>
              <a:gd name="T31" fmla="*/ 2147483647 h 218"/>
              <a:gd name="T32" fmla="*/ 2147483647 w 635"/>
              <a:gd name="T33" fmla="*/ 2147483647 h 218"/>
              <a:gd name="T34" fmla="*/ 2147483647 w 635"/>
              <a:gd name="T35" fmla="*/ 2147483647 h 218"/>
              <a:gd name="T36" fmla="*/ 2147483647 w 635"/>
              <a:gd name="T37" fmla="*/ 2147483647 h 218"/>
              <a:gd name="T38" fmla="*/ 2147483647 w 635"/>
              <a:gd name="T39" fmla="*/ 2147483647 h 218"/>
              <a:gd name="T40" fmla="*/ 2147483647 w 635"/>
              <a:gd name="T41" fmla="*/ 2147483647 h 218"/>
              <a:gd name="T42" fmla="*/ 2147483647 w 635"/>
              <a:gd name="T43" fmla="*/ 2147483647 h 218"/>
              <a:gd name="T44" fmla="*/ 2147483647 w 635"/>
              <a:gd name="T45" fmla="*/ 2147483647 h 218"/>
              <a:gd name="T46" fmla="*/ 2147483647 w 635"/>
              <a:gd name="T47" fmla="*/ 2147483647 h 218"/>
              <a:gd name="T48" fmla="*/ 2147483647 w 635"/>
              <a:gd name="T49" fmla="*/ 2147483647 h 218"/>
              <a:gd name="T50" fmla="*/ 2147483647 w 635"/>
              <a:gd name="T51" fmla="*/ 2147483647 h 218"/>
              <a:gd name="T52" fmla="*/ 2147483647 w 635"/>
              <a:gd name="T53" fmla="*/ 2147483647 h 218"/>
              <a:gd name="T54" fmla="*/ 2147483647 w 635"/>
              <a:gd name="T55" fmla="*/ 2147483647 h 218"/>
              <a:gd name="T56" fmla="*/ 2147483647 w 635"/>
              <a:gd name="T57" fmla="*/ 2147483647 h 218"/>
              <a:gd name="T58" fmla="*/ 2147483647 w 635"/>
              <a:gd name="T59" fmla="*/ 2147483647 h 218"/>
              <a:gd name="T60" fmla="*/ 2147483647 w 635"/>
              <a:gd name="T61" fmla="*/ 2147483647 h 218"/>
              <a:gd name="T62" fmla="*/ 2147483647 w 635"/>
              <a:gd name="T63" fmla="*/ 2147483647 h 218"/>
              <a:gd name="T64" fmla="*/ 2147483647 w 635"/>
              <a:gd name="T65" fmla="*/ 2147483647 h 218"/>
              <a:gd name="T66" fmla="*/ 2147483647 w 635"/>
              <a:gd name="T67" fmla="*/ 2147483647 h 218"/>
              <a:gd name="T68" fmla="*/ 2147483647 w 635"/>
              <a:gd name="T69" fmla="*/ 2147483647 h 218"/>
              <a:gd name="T70" fmla="*/ 2147483647 w 635"/>
              <a:gd name="T71" fmla="*/ 2147483647 h 218"/>
              <a:gd name="T72" fmla="*/ 2147483647 w 635"/>
              <a:gd name="T73" fmla="*/ 2147483647 h 218"/>
              <a:gd name="T74" fmla="*/ 2147483647 w 635"/>
              <a:gd name="T75" fmla="*/ 2147483647 h 218"/>
              <a:gd name="T76" fmla="*/ 2147483647 w 635"/>
              <a:gd name="T77" fmla="*/ 2147483647 h 218"/>
              <a:gd name="T78" fmla="*/ 2147483647 w 635"/>
              <a:gd name="T79" fmla="*/ 2147483647 h 218"/>
              <a:gd name="T80" fmla="*/ 2147483647 w 635"/>
              <a:gd name="T81" fmla="*/ 2147483647 h 218"/>
              <a:gd name="T82" fmla="*/ 2147483647 w 635"/>
              <a:gd name="T83" fmla="*/ 2147483647 h 218"/>
              <a:gd name="T84" fmla="*/ 2147483647 w 635"/>
              <a:gd name="T85" fmla="*/ 2147483647 h 218"/>
              <a:gd name="T86" fmla="*/ 2147483647 w 635"/>
              <a:gd name="T87" fmla="*/ 2147483647 h 218"/>
              <a:gd name="T88" fmla="*/ 2147483647 w 635"/>
              <a:gd name="T89" fmla="*/ 2147483647 h 218"/>
              <a:gd name="T90" fmla="*/ 2147483647 w 635"/>
              <a:gd name="T91" fmla="*/ 2147483647 h 218"/>
              <a:gd name="T92" fmla="*/ 2147483647 w 635"/>
              <a:gd name="T93" fmla="*/ 2147483647 h 218"/>
              <a:gd name="T94" fmla="*/ 2147483647 w 635"/>
              <a:gd name="T95" fmla="*/ 2147483647 h 218"/>
              <a:gd name="T96" fmla="*/ 2147483647 w 635"/>
              <a:gd name="T97" fmla="*/ 2147483647 h 218"/>
              <a:gd name="T98" fmla="*/ 2147483647 w 635"/>
              <a:gd name="T99" fmla="*/ 2147483647 h 218"/>
              <a:gd name="T100" fmla="*/ 2147483647 w 635"/>
              <a:gd name="T101" fmla="*/ 2147483647 h 218"/>
              <a:gd name="T102" fmla="*/ 2147483647 w 635"/>
              <a:gd name="T103" fmla="*/ 2147483647 h 218"/>
              <a:gd name="T104" fmla="*/ 2147483647 w 635"/>
              <a:gd name="T105" fmla="*/ 2147483647 h 218"/>
              <a:gd name="T106" fmla="*/ 2147483647 w 635"/>
              <a:gd name="T107" fmla="*/ 2147483647 h 218"/>
              <a:gd name="T108" fmla="*/ 2147483647 w 635"/>
              <a:gd name="T109" fmla="*/ 2147483647 h 218"/>
              <a:gd name="T110" fmla="*/ 2147483647 w 635"/>
              <a:gd name="T111" fmla="*/ 2147483647 h 21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5"/>
              <a:gd name="T169" fmla="*/ 0 h 218"/>
              <a:gd name="T170" fmla="*/ 635 w 635"/>
              <a:gd name="T171" fmla="*/ 218 h 21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5" h="218">
                <a:moveTo>
                  <a:pt x="477" y="132"/>
                </a:moveTo>
                <a:lnTo>
                  <a:pt x="473" y="136"/>
                </a:lnTo>
                <a:lnTo>
                  <a:pt x="475" y="140"/>
                </a:lnTo>
                <a:lnTo>
                  <a:pt x="473" y="144"/>
                </a:lnTo>
                <a:lnTo>
                  <a:pt x="473" y="147"/>
                </a:lnTo>
                <a:lnTo>
                  <a:pt x="473" y="149"/>
                </a:lnTo>
                <a:lnTo>
                  <a:pt x="468" y="151"/>
                </a:lnTo>
                <a:lnTo>
                  <a:pt x="462" y="151"/>
                </a:lnTo>
                <a:lnTo>
                  <a:pt x="458" y="151"/>
                </a:lnTo>
                <a:lnTo>
                  <a:pt x="455" y="157"/>
                </a:lnTo>
                <a:lnTo>
                  <a:pt x="455" y="177"/>
                </a:lnTo>
                <a:lnTo>
                  <a:pt x="434" y="181"/>
                </a:lnTo>
                <a:lnTo>
                  <a:pt x="421" y="181"/>
                </a:lnTo>
                <a:lnTo>
                  <a:pt x="419" y="181"/>
                </a:lnTo>
                <a:lnTo>
                  <a:pt x="406" y="183"/>
                </a:lnTo>
                <a:lnTo>
                  <a:pt x="384" y="185"/>
                </a:lnTo>
                <a:lnTo>
                  <a:pt x="375" y="185"/>
                </a:lnTo>
                <a:lnTo>
                  <a:pt x="369" y="185"/>
                </a:lnTo>
                <a:lnTo>
                  <a:pt x="358" y="190"/>
                </a:lnTo>
                <a:lnTo>
                  <a:pt x="339" y="192"/>
                </a:lnTo>
                <a:lnTo>
                  <a:pt x="304" y="194"/>
                </a:lnTo>
                <a:lnTo>
                  <a:pt x="270" y="196"/>
                </a:lnTo>
                <a:lnTo>
                  <a:pt x="263" y="198"/>
                </a:lnTo>
                <a:lnTo>
                  <a:pt x="237" y="198"/>
                </a:lnTo>
                <a:lnTo>
                  <a:pt x="233" y="198"/>
                </a:lnTo>
                <a:lnTo>
                  <a:pt x="207" y="201"/>
                </a:lnTo>
                <a:lnTo>
                  <a:pt x="177" y="203"/>
                </a:lnTo>
                <a:lnTo>
                  <a:pt x="162" y="207"/>
                </a:lnTo>
                <a:lnTo>
                  <a:pt x="149" y="207"/>
                </a:lnTo>
                <a:lnTo>
                  <a:pt x="147" y="209"/>
                </a:lnTo>
                <a:lnTo>
                  <a:pt x="116" y="211"/>
                </a:lnTo>
                <a:lnTo>
                  <a:pt x="114" y="211"/>
                </a:lnTo>
                <a:lnTo>
                  <a:pt x="99" y="211"/>
                </a:lnTo>
                <a:lnTo>
                  <a:pt x="84" y="214"/>
                </a:lnTo>
                <a:lnTo>
                  <a:pt x="75" y="214"/>
                </a:lnTo>
                <a:lnTo>
                  <a:pt x="49" y="216"/>
                </a:lnTo>
                <a:lnTo>
                  <a:pt x="45" y="216"/>
                </a:lnTo>
                <a:lnTo>
                  <a:pt x="0" y="218"/>
                </a:lnTo>
                <a:lnTo>
                  <a:pt x="0" y="214"/>
                </a:lnTo>
                <a:lnTo>
                  <a:pt x="8" y="214"/>
                </a:lnTo>
                <a:lnTo>
                  <a:pt x="11" y="211"/>
                </a:lnTo>
                <a:lnTo>
                  <a:pt x="11" y="209"/>
                </a:lnTo>
                <a:lnTo>
                  <a:pt x="11" y="207"/>
                </a:lnTo>
                <a:lnTo>
                  <a:pt x="13" y="203"/>
                </a:lnTo>
                <a:lnTo>
                  <a:pt x="17" y="207"/>
                </a:lnTo>
                <a:lnTo>
                  <a:pt x="17" y="203"/>
                </a:lnTo>
                <a:lnTo>
                  <a:pt x="17" y="201"/>
                </a:lnTo>
                <a:lnTo>
                  <a:pt x="17" y="198"/>
                </a:lnTo>
                <a:lnTo>
                  <a:pt x="17" y="196"/>
                </a:lnTo>
                <a:lnTo>
                  <a:pt x="15" y="194"/>
                </a:lnTo>
                <a:lnTo>
                  <a:pt x="11" y="194"/>
                </a:lnTo>
                <a:lnTo>
                  <a:pt x="11" y="192"/>
                </a:lnTo>
                <a:lnTo>
                  <a:pt x="11" y="190"/>
                </a:lnTo>
                <a:lnTo>
                  <a:pt x="15" y="190"/>
                </a:lnTo>
                <a:lnTo>
                  <a:pt x="15" y="183"/>
                </a:lnTo>
                <a:lnTo>
                  <a:pt x="13" y="183"/>
                </a:lnTo>
                <a:lnTo>
                  <a:pt x="15" y="181"/>
                </a:lnTo>
                <a:lnTo>
                  <a:pt x="15" y="179"/>
                </a:lnTo>
                <a:lnTo>
                  <a:pt x="13" y="179"/>
                </a:lnTo>
                <a:lnTo>
                  <a:pt x="11" y="181"/>
                </a:lnTo>
                <a:lnTo>
                  <a:pt x="8" y="179"/>
                </a:lnTo>
                <a:lnTo>
                  <a:pt x="11" y="177"/>
                </a:lnTo>
                <a:lnTo>
                  <a:pt x="13" y="175"/>
                </a:lnTo>
                <a:lnTo>
                  <a:pt x="15" y="170"/>
                </a:lnTo>
                <a:lnTo>
                  <a:pt x="15" y="175"/>
                </a:lnTo>
                <a:lnTo>
                  <a:pt x="15" y="177"/>
                </a:lnTo>
                <a:lnTo>
                  <a:pt x="17" y="179"/>
                </a:lnTo>
                <a:lnTo>
                  <a:pt x="19" y="177"/>
                </a:lnTo>
                <a:lnTo>
                  <a:pt x="17" y="168"/>
                </a:lnTo>
                <a:lnTo>
                  <a:pt x="17" y="166"/>
                </a:lnTo>
                <a:lnTo>
                  <a:pt x="21" y="164"/>
                </a:lnTo>
                <a:lnTo>
                  <a:pt x="21" y="166"/>
                </a:lnTo>
                <a:lnTo>
                  <a:pt x="26" y="166"/>
                </a:lnTo>
                <a:lnTo>
                  <a:pt x="28" y="166"/>
                </a:lnTo>
                <a:lnTo>
                  <a:pt x="21" y="162"/>
                </a:lnTo>
                <a:lnTo>
                  <a:pt x="30" y="157"/>
                </a:lnTo>
                <a:lnTo>
                  <a:pt x="32" y="157"/>
                </a:lnTo>
                <a:lnTo>
                  <a:pt x="30" y="153"/>
                </a:lnTo>
                <a:lnTo>
                  <a:pt x="28" y="153"/>
                </a:lnTo>
                <a:lnTo>
                  <a:pt x="26" y="153"/>
                </a:lnTo>
                <a:lnTo>
                  <a:pt x="21" y="149"/>
                </a:lnTo>
                <a:lnTo>
                  <a:pt x="26" y="147"/>
                </a:lnTo>
                <a:lnTo>
                  <a:pt x="30" y="147"/>
                </a:lnTo>
                <a:lnTo>
                  <a:pt x="32" y="144"/>
                </a:lnTo>
                <a:lnTo>
                  <a:pt x="34" y="144"/>
                </a:lnTo>
                <a:lnTo>
                  <a:pt x="34" y="142"/>
                </a:lnTo>
                <a:lnTo>
                  <a:pt x="36" y="140"/>
                </a:lnTo>
                <a:lnTo>
                  <a:pt x="41" y="140"/>
                </a:lnTo>
                <a:lnTo>
                  <a:pt x="43" y="140"/>
                </a:lnTo>
                <a:lnTo>
                  <a:pt x="43" y="136"/>
                </a:lnTo>
                <a:lnTo>
                  <a:pt x="36" y="134"/>
                </a:lnTo>
                <a:lnTo>
                  <a:pt x="34" y="134"/>
                </a:lnTo>
                <a:lnTo>
                  <a:pt x="36" y="132"/>
                </a:lnTo>
                <a:lnTo>
                  <a:pt x="36" y="129"/>
                </a:lnTo>
                <a:lnTo>
                  <a:pt x="41" y="132"/>
                </a:lnTo>
                <a:lnTo>
                  <a:pt x="45" y="132"/>
                </a:lnTo>
                <a:lnTo>
                  <a:pt x="45" y="129"/>
                </a:lnTo>
                <a:lnTo>
                  <a:pt x="43" y="127"/>
                </a:lnTo>
                <a:lnTo>
                  <a:pt x="41" y="125"/>
                </a:lnTo>
                <a:lnTo>
                  <a:pt x="41" y="121"/>
                </a:lnTo>
                <a:lnTo>
                  <a:pt x="41" y="119"/>
                </a:lnTo>
                <a:lnTo>
                  <a:pt x="43" y="114"/>
                </a:lnTo>
                <a:lnTo>
                  <a:pt x="43" y="112"/>
                </a:lnTo>
                <a:lnTo>
                  <a:pt x="47" y="110"/>
                </a:lnTo>
                <a:lnTo>
                  <a:pt x="47" y="108"/>
                </a:lnTo>
                <a:lnTo>
                  <a:pt x="45" y="103"/>
                </a:lnTo>
                <a:lnTo>
                  <a:pt x="41" y="101"/>
                </a:lnTo>
                <a:lnTo>
                  <a:pt x="41" y="99"/>
                </a:lnTo>
                <a:lnTo>
                  <a:pt x="45" y="99"/>
                </a:lnTo>
                <a:lnTo>
                  <a:pt x="49" y="97"/>
                </a:lnTo>
                <a:lnTo>
                  <a:pt x="49" y="95"/>
                </a:lnTo>
                <a:lnTo>
                  <a:pt x="45" y="93"/>
                </a:lnTo>
                <a:lnTo>
                  <a:pt x="45" y="88"/>
                </a:lnTo>
                <a:lnTo>
                  <a:pt x="49" y="88"/>
                </a:lnTo>
                <a:lnTo>
                  <a:pt x="52" y="86"/>
                </a:lnTo>
                <a:lnTo>
                  <a:pt x="52" y="84"/>
                </a:lnTo>
                <a:lnTo>
                  <a:pt x="49" y="80"/>
                </a:lnTo>
                <a:lnTo>
                  <a:pt x="52" y="78"/>
                </a:lnTo>
                <a:lnTo>
                  <a:pt x="49" y="75"/>
                </a:lnTo>
                <a:lnTo>
                  <a:pt x="54" y="75"/>
                </a:lnTo>
                <a:lnTo>
                  <a:pt x="52" y="78"/>
                </a:lnTo>
                <a:lnTo>
                  <a:pt x="54" y="80"/>
                </a:lnTo>
                <a:lnTo>
                  <a:pt x="58" y="80"/>
                </a:lnTo>
                <a:lnTo>
                  <a:pt x="58" y="75"/>
                </a:lnTo>
                <a:lnTo>
                  <a:pt x="65" y="75"/>
                </a:lnTo>
                <a:lnTo>
                  <a:pt x="101" y="71"/>
                </a:lnTo>
                <a:lnTo>
                  <a:pt x="103" y="71"/>
                </a:lnTo>
                <a:lnTo>
                  <a:pt x="127" y="69"/>
                </a:lnTo>
                <a:lnTo>
                  <a:pt x="162" y="67"/>
                </a:lnTo>
                <a:lnTo>
                  <a:pt x="162" y="62"/>
                </a:lnTo>
                <a:lnTo>
                  <a:pt x="160" y="60"/>
                </a:lnTo>
                <a:lnTo>
                  <a:pt x="157" y="49"/>
                </a:lnTo>
                <a:lnTo>
                  <a:pt x="172" y="49"/>
                </a:lnTo>
                <a:lnTo>
                  <a:pt x="175" y="52"/>
                </a:lnTo>
                <a:lnTo>
                  <a:pt x="185" y="49"/>
                </a:lnTo>
                <a:lnTo>
                  <a:pt x="190" y="49"/>
                </a:lnTo>
                <a:lnTo>
                  <a:pt x="211" y="47"/>
                </a:lnTo>
                <a:lnTo>
                  <a:pt x="229" y="47"/>
                </a:lnTo>
                <a:lnTo>
                  <a:pt x="231" y="45"/>
                </a:lnTo>
                <a:lnTo>
                  <a:pt x="255" y="45"/>
                </a:lnTo>
                <a:lnTo>
                  <a:pt x="274" y="43"/>
                </a:lnTo>
                <a:lnTo>
                  <a:pt x="280" y="39"/>
                </a:lnTo>
                <a:lnTo>
                  <a:pt x="296" y="39"/>
                </a:lnTo>
                <a:lnTo>
                  <a:pt x="313" y="39"/>
                </a:lnTo>
                <a:lnTo>
                  <a:pt x="328" y="37"/>
                </a:lnTo>
                <a:lnTo>
                  <a:pt x="354" y="37"/>
                </a:lnTo>
                <a:lnTo>
                  <a:pt x="363" y="34"/>
                </a:lnTo>
                <a:lnTo>
                  <a:pt x="365" y="34"/>
                </a:lnTo>
                <a:lnTo>
                  <a:pt x="386" y="32"/>
                </a:lnTo>
                <a:lnTo>
                  <a:pt x="401" y="32"/>
                </a:lnTo>
                <a:lnTo>
                  <a:pt x="404" y="32"/>
                </a:lnTo>
                <a:lnTo>
                  <a:pt x="440" y="28"/>
                </a:lnTo>
                <a:lnTo>
                  <a:pt x="460" y="26"/>
                </a:lnTo>
                <a:lnTo>
                  <a:pt x="466" y="26"/>
                </a:lnTo>
                <a:lnTo>
                  <a:pt x="483" y="26"/>
                </a:lnTo>
                <a:lnTo>
                  <a:pt x="486" y="21"/>
                </a:lnTo>
                <a:lnTo>
                  <a:pt x="501" y="19"/>
                </a:lnTo>
                <a:lnTo>
                  <a:pt x="516" y="17"/>
                </a:lnTo>
                <a:lnTo>
                  <a:pt x="516" y="19"/>
                </a:lnTo>
                <a:lnTo>
                  <a:pt x="518" y="17"/>
                </a:lnTo>
                <a:lnTo>
                  <a:pt x="535" y="15"/>
                </a:lnTo>
                <a:lnTo>
                  <a:pt x="544" y="15"/>
                </a:lnTo>
                <a:lnTo>
                  <a:pt x="561" y="13"/>
                </a:lnTo>
                <a:lnTo>
                  <a:pt x="587" y="11"/>
                </a:lnTo>
                <a:lnTo>
                  <a:pt x="591" y="6"/>
                </a:lnTo>
                <a:lnTo>
                  <a:pt x="598" y="6"/>
                </a:lnTo>
                <a:lnTo>
                  <a:pt x="615" y="4"/>
                </a:lnTo>
                <a:lnTo>
                  <a:pt x="615" y="2"/>
                </a:lnTo>
                <a:lnTo>
                  <a:pt x="619" y="2"/>
                </a:lnTo>
                <a:lnTo>
                  <a:pt x="635" y="0"/>
                </a:lnTo>
                <a:lnTo>
                  <a:pt x="632" y="2"/>
                </a:lnTo>
                <a:lnTo>
                  <a:pt x="632" y="11"/>
                </a:lnTo>
                <a:lnTo>
                  <a:pt x="632" y="13"/>
                </a:lnTo>
                <a:lnTo>
                  <a:pt x="630" y="19"/>
                </a:lnTo>
                <a:lnTo>
                  <a:pt x="630" y="26"/>
                </a:lnTo>
                <a:lnTo>
                  <a:pt x="635" y="26"/>
                </a:lnTo>
                <a:lnTo>
                  <a:pt x="632" y="28"/>
                </a:lnTo>
                <a:lnTo>
                  <a:pt x="624" y="28"/>
                </a:lnTo>
                <a:lnTo>
                  <a:pt x="619" y="32"/>
                </a:lnTo>
                <a:lnTo>
                  <a:pt x="617" y="34"/>
                </a:lnTo>
                <a:lnTo>
                  <a:pt x="611" y="47"/>
                </a:lnTo>
                <a:lnTo>
                  <a:pt x="609" y="52"/>
                </a:lnTo>
                <a:lnTo>
                  <a:pt x="606" y="52"/>
                </a:lnTo>
                <a:lnTo>
                  <a:pt x="602" y="49"/>
                </a:lnTo>
                <a:lnTo>
                  <a:pt x="600" y="49"/>
                </a:lnTo>
                <a:lnTo>
                  <a:pt x="594" y="52"/>
                </a:lnTo>
                <a:lnTo>
                  <a:pt x="591" y="52"/>
                </a:lnTo>
                <a:lnTo>
                  <a:pt x="587" y="54"/>
                </a:lnTo>
                <a:lnTo>
                  <a:pt x="585" y="56"/>
                </a:lnTo>
                <a:lnTo>
                  <a:pt x="583" y="67"/>
                </a:lnTo>
                <a:lnTo>
                  <a:pt x="581" y="67"/>
                </a:lnTo>
                <a:lnTo>
                  <a:pt x="574" y="69"/>
                </a:lnTo>
                <a:lnTo>
                  <a:pt x="572" y="69"/>
                </a:lnTo>
                <a:lnTo>
                  <a:pt x="572" y="67"/>
                </a:lnTo>
                <a:lnTo>
                  <a:pt x="572" y="65"/>
                </a:lnTo>
                <a:lnTo>
                  <a:pt x="570" y="62"/>
                </a:lnTo>
                <a:lnTo>
                  <a:pt x="568" y="62"/>
                </a:lnTo>
                <a:lnTo>
                  <a:pt x="559" y="69"/>
                </a:lnTo>
                <a:lnTo>
                  <a:pt x="559" y="71"/>
                </a:lnTo>
                <a:lnTo>
                  <a:pt x="557" y="78"/>
                </a:lnTo>
                <a:lnTo>
                  <a:pt x="553" y="75"/>
                </a:lnTo>
                <a:lnTo>
                  <a:pt x="550" y="75"/>
                </a:lnTo>
                <a:lnTo>
                  <a:pt x="550" y="78"/>
                </a:lnTo>
                <a:lnTo>
                  <a:pt x="550" y="82"/>
                </a:lnTo>
                <a:lnTo>
                  <a:pt x="548" y="88"/>
                </a:lnTo>
                <a:lnTo>
                  <a:pt x="544" y="93"/>
                </a:lnTo>
                <a:lnTo>
                  <a:pt x="540" y="93"/>
                </a:lnTo>
                <a:lnTo>
                  <a:pt x="535" y="95"/>
                </a:lnTo>
                <a:lnTo>
                  <a:pt x="533" y="97"/>
                </a:lnTo>
                <a:lnTo>
                  <a:pt x="527" y="99"/>
                </a:lnTo>
                <a:lnTo>
                  <a:pt x="527" y="101"/>
                </a:lnTo>
                <a:lnTo>
                  <a:pt x="524" y="108"/>
                </a:lnTo>
                <a:lnTo>
                  <a:pt x="520" y="108"/>
                </a:lnTo>
                <a:lnTo>
                  <a:pt x="518" y="110"/>
                </a:lnTo>
                <a:lnTo>
                  <a:pt x="511" y="112"/>
                </a:lnTo>
                <a:lnTo>
                  <a:pt x="509" y="116"/>
                </a:lnTo>
                <a:lnTo>
                  <a:pt x="505" y="116"/>
                </a:lnTo>
                <a:lnTo>
                  <a:pt x="501" y="116"/>
                </a:lnTo>
                <a:lnTo>
                  <a:pt x="496" y="116"/>
                </a:lnTo>
                <a:lnTo>
                  <a:pt x="490" y="119"/>
                </a:lnTo>
                <a:lnTo>
                  <a:pt x="486" y="125"/>
                </a:lnTo>
                <a:lnTo>
                  <a:pt x="483" y="125"/>
                </a:lnTo>
                <a:lnTo>
                  <a:pt x="479" y="129"/>
                </a:lnTo>
                <a:lnTo>
                  <a:pt x="477" y="132"/>
                </a:lnTo>
                <a:close/>
              </a:path>
            </a:pathLst>
          </a:custGeom>
          <a:noFill/>
          <a:ln w="9525">
            <a:noFill/>
            <a:round/>
            <a:headEnd/>
            <a:tailEnd/>
          </a:ln>
        </p:spPr>
        <p:txBody>
          <a:bodyPr/>
          <a:lstStyle/>
          <a:p>
            <a:endParaRPr lang="en-US" dirty="0">
              <a:solidFill>
                <a:prstClr val="black"/>
              </a:solidFill>
            </a:endParaRPr>
          </a:p>
        </p:txBody>
      </p:sp>
      <p:sp>
        <p:nvSpPr>
          <p:cNvPr id="265" name="Freeform 98">
            <a:extLst>
              <a:ext uri="{FF2B5EF4-FFF2-40B4-BE49-F238E27FC236}">
                <a16:creationId xmlns:a16="http://schemas.microsoft.com/office/drawing/2014/main" id="{EBEACDFD-AAF7-4BB9-BB03-9B731D9CCD2D}"/>
              </a:ext>
            </a:extLst>
          </p:cNvPr>
          <p:cNvSpPr>
            <a:spLocks/>
          </p:cNvSpPr>
          <p:nvPr>
            <p:custDataLst>
              <p:tags r:id="rId89"/>
            </p:custDataLst>
          </p:nvPr>
        </p:nvSpPr>
        <p:spPr bwMode="auto">
          <a:xfrm>
            <a:off x="6981932" y="4174407"/>
            <a:ext cx="1284513" cy="471251"/>
          </a:xfrm>
          <a:custGeom>
            <a:avLst/>
            <a:gdLst>
              <a:gd name="T0" fmla="*/ 2147483647 w 635"/>
              <a:gd name="T1" fmla="*/ 2147483647 h 218"/>
              <a:gd name="T2" fmla="*/ 2147483647 w 635"/>
              <a:gd name="T3" fmla="*/ 2147483647 h 218"/>
              <a:gd name="T4" fmla="*/ 2147483647 w 635"/>
              <a:gd name="T5" fmla="*/ 2147483647 h 218"/>
              <a:gd name="T6" fmla="*/ 2147483647 w 635"/>
              <a:gd name="T7" fmla="*/ 2147483647 h 218"/>
              <a:gd name="T8" fmla="*/ 2147483647 w 635"/>
              <a:gd name="T9" fmla="*/ 2147483647 h 218"/>
              <a:gd name="T10" fmla="*/ 2147483647 w 635"/>
              <a:gd name="T11" fmla="*/ 2147483647 h 218"/>
              <a:gd name="T12" fmla="*/ 2147483647 w 635"/>
              <a:gd name="T13" fmla="*/ 2147483647 h 218"/>
              <a:gd name="T14" fmla="*/ 2147483647 w 635"/>
              <a:gd name="T15" fmla="*/ 2147483647 h 218"/>
              <a:gd name="T16" fmla="*/ 2147483647 w 635"/>
              <a:gd name="T17" fmla="*/ 2147483647 h 218"/>
              <a:gd name="T18" fmla="*/ 2147483647 w 635"/>
              <a:gd name="T19" fmla="*/ 2147483647 h 218"/>
              <a:gd name="T20" fmla="*/ 2147483647 w 635"/>
              <a:gd name="T21" fmla="*/ 2147483647 h 218"/>
              <a:gd name="T22" fmla="*/ 2147483647 w 635"/>
              <a:gd name="T23" fmla="*/ 2147483647 h 218"/>
              <a:gd name="T24" fmla="*/ 2147483647 w 635"/>
              <a:gd name="T25" fmla="*/ 2147483647 h 218"/>
              <a:gd name="T26" fmla="*/ 2147483647 w 635"/>
              <a:gd name="T27" fmla="*/ 2147483647 h 218"/>
              <a:gd name="T28" fmla="*/ 2147483647 w 635"/>
              <a:gd name="T29" fmla="*/ 2147483647 h 218"/>
              <a:gd name="T30" fmla="*/ 2147483647 w 635"/>
              <a:gd name="T31" fmla="*/ 2147483647 h 218"/>
              <a:gd name="T32" fmla="*/ 2147483647 w 635"/>
              <a:gd name="T33" fmla="*/ 2147483647 h 218"/>
              <a:gd name="T34" fmla="*/ 2147483647 w 635"/>
              <a:gd name="T35" fmla="*/ 2147483647 h 218"/>
              <a:gd name="T36" fmla="*/ 2147483647 w 635"/>
              <a:gd name="T37" fmla="*/ 2147483647 h 218"/>
              <a:gd name="T38" fmla="*/ 2147483647 w 635"/>
              <a:gd name="T39" fmla="*/ 2147483647 h 218"/>
              <a:gd name="T40" fmla="*/ 2147483647 w 635"/>
              <a:gd name="T41" fmla="*/ 2147483647 h 218"/>
              <a:gd name="T42" fmla="*/ 2147483647 w 635"/>
              <a:gd name="T43" fmla="*/ 2147483647 h 218"/>
              <a:gd name="T44" fmla="*/ 2147483647 w 635"/>
              <a:gd name="T45" fmla="*/ 2147483647 h 218"/>
              <a:gd name="T46" fmla="*/ 2147483647 w 635"/>
              <a:gd name="T47" fmla="*/ 2147483647 h 218"/>
              <a:gd name="T48" fmla="*/ 2147483647 w 635"/>
              <a:gd name="T49" fmla="*/ 2147483647 h 218"/>
              <a:gd name="T50" fmla="*/ 2147483647 w 635"/>
              <a:gd name="T51" fmla="*/ 2147483647 h 218"/>
              <a:gd name="T52" fmla="*/ 2147483647 w 635"/>
              <a:gd name="T53" fmla="*/ 2147483647 h 218"/>
              <a:gd name="T54" fmla="*/ 2147483647 w 635"/>
              <a:gd name="T55" fmla="*/ 2147483647 h 218"/>
              <a:gd name="T56" fmla="*/ 2147483647 w 635"/>
              <a:gd name="T57" fmla="*/ 2147483647 h 218"/>
              <a:gd name="T58" fmla="*/ 2147483647 w 635"/>
              <a:gd name="T59" fmla="*/ 2147483647 h 218"/>
              <a:gd name="T60" fmla="*/ 2147483647 w 635"/>
              <a:gd name="T61" fmla="*/ 2147483647 h 218"/>
              <a:gd name="T62" fmla="*/ 2147483647 w 635"/>
              <a:gd name="T63" fmla="*/ 2147483647 h 218"/>
              <a:gd name="T64" fmla="*/ 2147483647 w 635"/>
              <a:gd name="T65" fmla="*/ 2147483647 h 218"/>
              <a:gd name="T66" fmla="*/ 2147483647 w 635"/>
              <a:gd name="T67" fmla="*/ 2147483647 h 218"/>
              <a:gd name="T68" fmla="*/ 2147483647 w 635"/>
              <a:gd name="T69" fmla="*/ 2147483647 h 218"/>
              <a:gd name="T70" fmla="*/ 2147483647 w 635"/>
              <a:gd name="T71" fmla="*/ 2147483647 h 218"/>
              <a:gd name="T72" fmla="*/ 2147483647 w 635"/>
              <a:gd name="T73" fmla="*/ 2147483647 h 218"/>
              <a:gd name="T74" fmla="*/ 2147483647 w 635"/>
              <a:gd name="T75" fmla="*/ 2147483647 h 218"/>
              <a:gd name="T76" fmla="*/ 2147483647 w 635"/>
              <a:gd name="T77" fmla="*/ 2147483647 h 218"/>
              <a:gd name="T78" fmla="*/ 2147483647 w 635"/>
              <a:gd name="T79" fmla="*/ 2147483647 h 218"/>
              <a:gd name="T80" fmla="*/ 2147483647 w 635"/>
              <a:gd name="T81" fmla="*/ 2147483647 h 218"/>
              <a:gd name="T82" fmla="*/ 2147483647 w 635"/>
              <a:gd name="T83" fmla="*/ 2147483647 h 218"/>
              <a:gd name="T84" fmla="*/ 2147483647 w 635"/>
              <a:gd name="T85" fmla="*/ 2147483647 h 218"/>
              <a:gd name="T86" fmla="*/ 2147483647 w 635"/>
              <a:gd name="T87" fmla="*/ 2147483647 h 218"/>
              <a:gd name="T88" fmla="*/ 2147483647 w 635"/>
              <a:gd name="T89" fmla="*/ 2147483647 h 218"/>
              <a:gd name="T90" fmla="*/ 2147483647 w 635"/>
              <a:gd name="T91" fmla="*/ 2147483647 h 218"/>
              <a:gd name="T92" fmla="*/ 2147483647 w 635"/>
              <a:gd name="T93" fmla="*/ 2147483647 h 218"/>
              <a:gd name="T94" fmla="*/ 2147483647 w 635"/>
              <a:gd name="T95" fmla="*/ 2147483647 h 218"/>
              <a:gd name="T96" fmla="*/ 2147483647 w 635"/>
              <a:gd name="T97" fmla="*/ 2147483647 h 218"/>
              <a:gd name="T98" fmla="*/ 2147483647 w 635"/>
              <a:gd name="T99" fmla="*/ 2147483647 h 218"/>
              <a:gd name="T100" fmla="*/ 2147483647 w 635"/>
              <a:gd name="T101" fmla="*/ 2147483647 h 218"/>
              <a:gd name="T102" fmla="*/ 2147483647 w 635"/>
              <a:gd name="T103" fmla="*/ 2147483647 h 218"/>
              <a:gd name="T104" fmla="*/ 2147483647 w 635"/>
              <a:gd name="T105" fmla="*/ 2147483647 h 218"/>
              <a:gd name="T106" fmla="*/ 2147483647 w 635"/>
              <a:gd name="T107" fmla="*/ 2147483647 h 218"/>
              <a:gd name="T108" fmla="*/ 2147483647 w 635"/>
              <a:gd name="T109" fmla="*/ 2147483647 h 218"/>
              <a:gd name="T110" fmla="*/ 2147483647 w 635"/>
              <a:gd name="T111" fmla="*/ 2147483647 h 21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5"/>
              <a:gd name="T169" fmla="*/ 0 h 218"/>
              <a:gd name="T170" fmla="*/ 635 w 635"/>
              <a:gd name="T171" fmla="*/ 218 h 21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5" h="218">
                <a:moveTo>
                  <a:pt x="477" y="132"/>
                </a:moveTo>
                <a:lnTo>
                  <a:pt x="473" y="136"/>
                </a:lnTo>
                <a:lnTo>
                  <a:pt x="475" y="140"/>
                </a:lnTo>
                <a:lnTo>
                  <a:pt x="473" y="144"/>
                </a:lnTo>
                <a:lnTo>
                  <a:pt x="473" y="147"/>
                </a:lnTo>
                <a:lnTo>
                  <a:pt x="473" y="149"/>
                </a:lnTo>
                <a:lnTo>
                  <a:pt x="468" y="151"/>
                </a:lnTo>
                <a:lnTo>
                  <a:pt x="462" y="151"/>
                </a:lnTo>
                <a:lnTo>
                  <a:pt x="458" y="151"/>
                </a:lnTo>
                <a:lnTo>
                  <a:pt x="455" y="157"/>
                </a:lnTo>
                <a:lnTo>
                  <a:pt x="455" y="177"/>
                </a:lnTo>
                <a:lnTo>
                  <a:pt x="434" y="181"/>
                </a:lnTo>
                <a:lnTo>
                  <a:pt x="421" y="181"/>
                </a:lnTo>
                <a:lnTo>
                  <a:pt x="419" y="181"/>
                </a:lnTo>
                <a:lnTo>
                  <a:pt x="406" y="183"/>
                </a:lnTo>
                <a:lnTo>
                  <a:pt x="384" y="185"/>
                </a:lnTo>
                <a:lnTo>
                  <a:pt x="375" y="185"/>
                </a:lnTo>
                <a:lnTo>
                  <a:pt x="369" y="185"/>
                </a:lnTo>
                <a:lnTo>
                  <a:pt x="358" y="190"/>
                </a:lnTo>
                <a:lnTo>
                  <a:pt x="339" y="192"/>
                </a:lnTo>
                <a:lnTo>
                  <a:pt x="304" y="194"/>
                </a:lnTo>
                <a:lnTo>
                  <a:pt x="270" y="196"/>
                </a:lnTo>
                <a:lnTo>
                  <a:pt x="263" y="198"/>
                </a:lnTo>
                <a:lnTo>
                  <a:pt x="237" y="198"/>
                </a:lnTo>
                <a:lnTo>
                  <a:pt x="233" y="198"/>
                </a:lnTo>
                <a:lnTo>
                  <a:pt x="207" y="201"/>
                </a:lnTo>
                <a:lnTo>
                  <a:pt x="177" y="203"/>
                </a:lnTo>
                <a:lnTo>
                  <a:pt x="162" y="207"/>
                </a:lnTo>
                <a:lnTo>
                  <a:pt x="149" y="207"/>
                </a:lnTo>
                <a:lnTo>
                  <a:pt x="147" y="209"/>
                </a:lnTo>
                <a:lnTo>
                  <a:pt x="116" y="211"/>
                </a:lnTo>
                <a:lnTo>
                  <a:pt x="114" y="211"/>
                </a:lnTo>
                <a:lnTo>
                  <a:pt x="99" y="211"/>
                </a:lnTo>
                <a:lnTo>
                  <a:pt x="84" y="214"/>
                </a:lnTo>
                <a:lnTo>
                  <a:pt x="75" y="214"/>
                </a:lnTo>
                <a:lnTo>
                  <a:pt x="49" y="216"/>
                </a:lnTo>
                <a:lnTo>
                  <a:pt x="45" y="216"/>
                </a:lnTo>
                <a:lnTo>
                  <a:pt x="0" y="218"/>
                </a:lnTo>
                <a:lnTo>
                  <a:pt x="0" y="214"/>
                </a:lnTo>
                <a:lnTo>
                  <a:pt x="8" y="214"/>
                </a:lnTo>
                <a:lnTo>
                  <a:pt x="11" y="211"/>
                </a:lnTo>
                <a:lnTo>
                  <a:pt x="11" y="209"/>
                </a:lnTo>
                <a:lnTo>
                  <a:pt x="11" y="207"/>
                </a:lnTo>
                <a:lnTo>
                  <a:pt x="13" y="203"/>
                </a:lnTo>
                <a:lnTo>
                  <a:pt x="17" y="207"/>
                </a:lnTo>
                <a:lnTo>
                  <a:pt x="17" y="203"/>
                </a:lnTo>
                <a:lnTo>
                  <a:pt x="17" y="201"/>
                </a:lnTo>
                <a:lnTo>
                  <a:pt x="17" y="198"/>
                </a:lnTo>
                <a:lnTo>
                  <a:pt x="17" y="196"/>
                </a:lnTo>
                <a:lnTo>
                  <a:pt x="15" y="194"/>
                </a:lnTo>
                <a:lnTo>
                  <a:pt x="11" y="194"/>
                </a:lnTo>
                <a:lnTo>
                  <a:pt x="11" y="192"/>
                </a:lnTo>
                <a:lnTo>
                  <a:pt x="11" y="190"/>
                </a:lnTo>
                <a:lnTo>
                  <a:pt x="15" y="190"/>
                </a:lnTo>
                <a:lnTo>
                  <a:pt x="15" y="183"/>
                </a:lnTo>
                <a:lnTo>
                  <a:pt x="13" y="183"/>
                </a:lnTo>
                <a:lnTo>
                  <a:pt x="15" y="181"/>
                </a:lnTo>
                <a:lnTo>
                  <a:pt x="15" y="179"/>
                </a:lnTo>
                <a:lnTo>
                  <a:pt x="13" y="179"/>
                </a:lnTo>
                <a:lnTo>
                  <a:pt x="11" y="181"/>
                </a:lnTo>
                <a:lnTo>
                  <a:pt x="8" y="179"/>
                </a:lnTo>
                <a:lnTo>
                  <a:pt x="11" y="177"/>
                </a:lnTo>
                <a:lnTo>
                  <a:pt x="13" y="175"/>
                </a:lnTo>
                <a:lnTo>
                  <a:pt x="15" y="170"/>
                </a:lnTo>
                <a:lnTo>
                  <a:pt x="15" y="175"/>
                </a:lnTo>
                <a:lnTo>
                  <a:pt x="15" y="177"/>
                </a:lnTo>
                <a:lnTo>
                  <a:pt x="17" y="179"/>
                </a:lnTo>
                <a:lnTo>
                  <a:pt x="19" y="177"/>
                </a:lnTo>
                <a:lnTo>
                  <a:pt x="17" y="168"/>
                </a:lnTo>
                <a:lnTo>
                  <a:pt x="17" y="166"/>
                </a:lnTo>
                <a:lnTo>
                  <a:pt x="21" y="164"/>
                </a:lnTo>
                <a:lnTo>
                  <a:pt x="21" y="166"/>
                </a:lnTo>
                <a:lnTo>
                  <a:pt x="26" y="166"/>
                </a:lnTo>
                <a:lnTo>
                  <a:pt x="28" y="166"/>
                </a:lnTo>
                <a:lnTo>
                  <a:pt x="21" y="162"/>
                </a:lnTo>
                <a:lnTo>
                  <a:pt x="30" y="157"/>
                </a:lnTo>
                <a:lnTo>
                  <a:pt x="32" y="157"/>
                </a:lnTo>
                <a:lnTo>
                  <a:pt x="30" y="153"/>
                </a:lnTo>
                <a:lnTo>
                  <a:pt x="28" y="153"/>
                </a:lnTo>
                <a:lnTo>
                  <a:pt x="26" y="153"/>
                </a:lnTo>
                <a:lnTo>
                  <a:pt x="21" y="149"/>
                </a:lnTo>
                <a:lnTo>
                  <a:pt x="26" y="147"/>
                </a:lnTo>
                <a:lnTo>
                  <a:pt x="30" y="147"/>
                </a:lnTo>
                <a:lnTo>
                  <a:pt x="32" y="144"/>
                </a:lnTo>
                <a:lnTo>
                  <a:pt x="34" y="144"/>
                </a:lnTo>
                <a:lnTo>
                  <a:pt x="34" y="142"/>
                </a:lnTo>
                <a:lnTo>
                  <a:pt x="36" y="140"/>
                </a:lnTo>
                <a:lnTo>
                  <a:pt x="41" y="140"/>
                </a:lnTo>
                <a:lnTo>
                  <a:pt x="43" y="140"/>
                </a:lnTo>
                <a:lnTo>
                  <a:pt x="43" y="136"/>
                </a:lnTo>
                <a:lnTo>
                  <a:pt x="36" y="134"/>
                </a:lnTo>
                <a:lnTo>
                  <a:pt x="34" y="134"/>
                </a:lnTo>
                <a:lnTo>
                  <a:pt x="36" y="132"/>
                </a:lnTo>
                <a:lnTo>
                  <a:pt x="36" y="129"/>
                </a:lnTo>
                <a:lnTo>
                  <a:pt x="41" y="132"/>
                </a:lnTo>
                <a:lnTo>
                  <a:pt x="45" y="132"/>
                </a:lnTo>
                <a:lnTo>
                  <a:pt x="45" y="129"/>
                </a:lnTo>
                <a:lnTo>
                  <a:pt x="43" y="127"/>
                </a:lnTo>
                <a:lnTo>
                  <a:pt x="41" y="125"/>
                </a:lnTo>
                <a:lnTo>
                  <a:pt x="41" y="121"/>
                </a:lnTo>
                <a:lnTo>
                  <a:pt x="41" y="119"/>
                </a:lnTo>
                <a:lnTo>
                  <a:pt x="43" y="114"/>
                </a:lnTo>
                <a:lnTo>
                  <a:pt x="43" y="112"/>
                </a:lnTo>
                <a:lnTo>
                  <a:pt x="47" y="110"/>
                </a:lnTo>
                <a:lnTo>
                  <a:pt x="47" y="108"/>
                </a:lnTo>
                <a:lnTo>
                  <a:pt x="45" y="103"/>
                </a:lnTo>
                <a:lnTo>
                  <a:pt x="41" y="101"/>
                </a:lnTo>
                <a:lnTo>
                  <a:pt x="41" y="99"/>
                </a:lnTo>
                <a:lnTo>
                  <a:pt x="45" y="99"/>
                </a:lnTo>
                <a:lnTo>
                  <a:pt x="49" y="97"/>
                </a:lnTo>
                <a:lnTo>
                  <a:pt x="49" y="95"/>
                </a:lnTo>
                <a:lnTo>
                  <a:pt x="45" y="93"/>
                </a:lnTo>
                <a:lnTo>
                  <a:pt x="45" y="88"/>
                </a:lnTo>
                <a:lnTo>
                  <a:pt x="49" y="88"/>
                </a:lnTo>
                <a:lnTo>
                  <a:pt x="52" y="86"/>
                </a:lnTo>
                <a:lnTo>
                  <a:pt x="52" y="84"/>
                </a:lnTo>
                <a:lnTo>
                  <a:pt x="49" y="80"/>
                </a:lnTo>
                <a:lnTo>
                  <a:pt x="52" y="78"/>
                </a:lnTo>
                <a:lnTo>
                  <a:pt x="49" y="75"/>
                </a:lnTo>
                <a:lnTo>
                  <a:pt x="54" y="75"/>
                </a:lnTo>
                <a:lnTo>
                  <a:pt x="52" y="78"/>
                </a:lnTo>
                <a:lnTo>
                  <a:pt x="54" y="80"/>
                </a:lnTo>
                <a:lnTo>
                  <a:pt x="58" y="80"/>
                </a:lnTo>
                <a:lnTo>
                  <a:pt x="58" y="75"/>
                </a:lnTo>
                <a:lnTo>
                  <a:pt x="65" y="75"/>
                </a:lnTo>
                <a:lnTo>
                  <a:pt x="101" y="71"/>
                </a:lnTo>
                <a:lnTo>
                  <a:pt x="103" y="71"/>
                </a:lnTo>
                <a:lnTo>
                  <a:pt x="127" y="69"/>
                </a:lnTo>
                <a:lnTo>
                  <a:pt x="162" y="67"/>
                </a:lnTo>
                <a:lnTo>
                  <a:pt x="162" y="62"/>
                </a:lnTo>
                <a:lnTo>
                  <a:pt x="160" y="60"/>
                </a:lnTo>
                <a:lnTo>
                  <a:pt x="157" y="49"/>
                </a:lnTo>
                <a:lnTo>
                  <a:pt x="172" y="49"/>
                </a:lnTo>
                <a:lnTo>
                  <a:pt x="175" y="52"/>
                </a:lnTo>
                <a:lnTo>
                  <a:pt x="185" y="49"/>
                </a:lnTo>
                <a:lnTo>
                  <a:pt x="190" y="49"/>
                </a:lnTo>
                <a:lnTo>
                  <a:pt x="211" y="47"/>
                </a:lnTo>
                <a:lnTo>
                  <a:pt x="229" y="47"/>
                </a:lnTo>
                <a:lnTo>
                  <a:pt x="231" y="45"/>
                </a:lnTo>
                <a:lnTo>
                  <a:pt x="255" y="45"/>
                </a:lnTo>
                <a:lnTo>
                  <a:pt x="274" y="43"/>
                </a:lnTo>
                <a:lnTo>
                  <a:pt x="280" y="39"/>
                </a:lnTo>
                <a:lnTo>
                  <a:pt x="296" y="39"/>
                </a:lnTo>
                <a:lnTo>
                  <a:pt x="313" y="39"/>
                </a:lnTo>
                <a:lnTo>
                  <a:pt x="328" y="37"/>
                </a:lnTo>
                <a:lnTo>
                  <a:pt x="354" y="37"/>
                </a:lnTo>
                <a:lnTo>
                  <a:pt x="363" y="34"/>
                </a:lnTo>
                <a:lnTo>
                  <a:pt x="365" y="34"/>
                </a:lnTo>
                <a:lnTo>
                  <a:pt x="386" y="32"/>
                </a:lnTo>
                <a:lnTo>
                  <a:pt x="401" y="32"/>
                </a:lnTo>
                <a:lnTo>
                  <a:pt x="404" y="32"/>
                </a:lnTo>
                <a:lnTo>
                  <a:pt x="440" y="28"/>
                </a:lnTo>
                <a:lnTo>
                  <a:pt x="460" y="26"/>
                </a:lnTo>
                <a:lnTo>
                  <a:pt x="466" y="26"/>
                </a:lnTo>
                <a:lnTo>
                  <a:pt x="483" y="26"/>
                </a:lnTo>
                <a:lnTo>
                  <a:pt x="486" y="21"/>
                </a:lnTo>
                <a:lnTo>
                  <a:pt x="501" y="19"/>
                </a:lnTo>
                <a:lnTo>
                  <a:pt x="516" y="17"/>
                </a:lnTo>
                <a:lnTo>
                  <a:pt x="516" y="19"/>
                </a:lnTo>
                <a:lnTo>
                  <a:pt x="518" y="17"/>
                </a:lnTo>
                <a:lnTo>
                  <a:pt x="535" y="15"/>
                </a:lnTo>
                <a:lnTo>
                  <a:pt x="544" y="15"/>
                </a:lnTo>
                <a:lnTo>
                  <a:pt x="561" y="13"/>
                </a:lnTo>
                <a:lnTo>
                  <a:pt x="587" y="11"/>
                </a:lnTo>
                <a:lnTo>
                  <a:pt x="591" y="6"/>
                </a:lnTo>
                <a:lnTo>
                  <a:pt x="598" y="6"/>
                </a:lnTo>
                <a:lnTo>
                  <a:pt x="615" y="4"/>
                </a:lnTo>
                <a:lnTo>
                  <a:pt x="615" y="2"/>
                </a:lnTo>
                <a:lnTo>
                  <a:pt x="619" y="2"/>
                </a:lnTo>
                <a:lnTo>
                  <a:pt x="635" y="0"/>
                </a:lnTo>
                <a:lnTo>
                  <a:pt x="632" y="2"/>
                </a:lnTo>
                <a:lnTo>
                  <a:pt x="632" y="11"/>
                </a:lnTo>
                <a:lnTo>
                  <a:pt x="632" y="13"/>
                </a:lnTo>
                <a:lnTo>
                  <a:pt x="630" y="19"/>
                </a:lnTo>
                <a:lnTo>
                  <a:pt x="630" y="26"/>
                </a:lnTo>
                <a:lnTo>
                  <a:pt x="635" y="26"/>
                </a:lnTo>
                <a:lnTo>
                  <a:pt x="632" y="28"/>
                </a:lnTo>
                <a:lnTo>
                  <a:pt x="624" y="28"/>
                </a:lnTo>
                <a:lnTo>
                  <a:pt x="619" y="32"/>
                </a:lnTo>
                <a:lnTo>
                  <a:pt x="617" y="34"/>
                </a:lnTo>
                <a:lnTo>
                  <a:pt x="611" y="47"/>
                </a:lnTo>
                <a:lnTo>
                  <a:pt x="609" y="52"/>
                </a:lnTo>
                <a:lnTo>
                  <a:pt x="606" y="52"/>
                </a:lnTo>
                <a:lnTo>
                  <a:pt x="602" y="49"/>
                </a:lnTo>
                <a:lnTo>
                  <a:pt x="600" y="49"/>
                </a:lnTo>
                <a:lnTo>
                  <a:pt x="594" y="52"/>
                </a:lnTo>
                <a:lnTo>
                  <a:pt x="591" y="52"/>
                </a:lnTo>
                <a:lnTo>
                  <a:pt x="587" y="54"/>
                </a:lnTo>
                <a:lnTo>
                  <a:pt x="585" y="56"/>
                </a:lnTo>
                <a:lnTo>
                  <a:pt x="583" y="67"/>
                </a:lnTo>
                <a:lnTo>
                  <a:pt x="581" y="67"/>
                </a:lnTo>
                <a:lnTo>
                  <a:pt x="574" y="69"/>
                </a:lnTo>
                <a:lnTo>
                  <a:pt x="572" y="69"/>
                </a:lnTo>
                <a:lnTo>
                  <a:pt x="572" y="67"/>
                </a:lnTo>
                <a:lnTo>
                  <a:pt x="572" y="65"/>
                </a:lnTo>
                <a:lnTo>
                  <a:pt x="570" y="62"/>
                </a:lnTo>
                <a:lnTo>
                  <a:pt x="568" y="62"/>
                </a:lnTo>
                <a:lnTo>
                  <a:pt x="559" y="69"/>
                </a:lnTo>
                <a:lnTo>
                  <a:pt x="559" y="71"/>
                </a:lnTo>
                <a:lnTo>
                  <a:pt x="557" y="78"/>
                </a:lnTo>
                <a:lnTo>
                  <a:pt x="553" y="75"/>
                </a:lnTo>
                <a:lnTo>
                  <a:pt x="550" y="75"/>
                </a:lnTo>
                <a:lnTo>
                  <a:pt x="550" y="78"/>
                </a:lnTo>
                <a:lnTo>
                  <a:pt x="550" y="82"/>
                </a:lnTo>
                <a:lnTo>
                  <a:pt x="548" y="88"/>
                </a:lnTo>
                <a:lnTo>
                  <a:pt x="544" y="93"/>
                </a:lnTo>
                <a:lnTo>
                  <a:pt x="540" y="93"/>
                </a:lnTo>
                <a:lnTo>
                  <a:pt x="535" y="95"/>
                </a:lnTo>
                <a:lnTo>
                  <a:pt x="533" y="97"/>
                </a:lnTo>
                <a:lnTo>
                  <a:pt x="527" y="99"/>
                </a:lnTo>
                <a:lnTo>
                  <a:pt x="527" y="101"/>
                </a:lnTo>
                <a:lnTo>
                  <a:pt x="524" y="108"/>
                </a:lnTo>
                <a:lnTo>
                  <a:pt x="520" y="108"/>
                </a:lnTo>
                <a:lnTo>
                  <a:pt x="518" y="110"/>
                </a:lnTo>
                <a:lnTo>
                  <a:pt x="511" y="112"/>
                </a:lnTo>
                <a:lnTo>
                  <a:pt x="509" y="116"/>
                </a:lnTo>
                <a:lnTo>
                  <a:pt x="505" y="116"/>
                </a:lnTo>
                <a:lnTo>
                  <a:pt x="501" y="116"/>
                </a:lnTo>
                <a:lnTo>
                  <a:pt x="496" y="116"/>
                </a:lnTo>
                <a:lnTo>
                  <a:pt x="490" y="119"/>
                </a:lnTo>
                <a:lnTo>
                  <a:pt x="486" y="125"/>
                </a:lnTo>
                <a:lnTo>
                  <a:pt x="483" y="125"/>
                </a:lnTo>
                <a:lnTo>
                  <a:pt x="479" y="129"/>
                </a:lnTo>
                <a:lnTo>
                  <a:pt x="477" y="132"/>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66" name="Freeform 99">
            <a:extLst>
              <a:ext uri="{FF2B5EF4-FFF2-40B4-BE49-F238E27FC236}">
                <a16:creationId xmlns:a16="http://schemas.microsoft.com/office/drawing/2014/main" id="{71E99C15-F660-4F10-9C2E-08A7BBFA7303}"/>
              </a:ext>
            </a:extLst>
          </p:cNvPr>
          <p:cNvSpPr>
            <a:spLocks/>
          </p:cNvSpPr>
          <p:nvPr>
            <p:custDataLst>
              <p:tags r:id="rId90"/>
            </p:custDataLst>
          </p:nvPr>
        </p:nvSpPr>
        <p:spPr bwMode="auto">
          <a:xfrm>
            <a:off x="4399753" y="4327893"/>
            <a:ext cx="2110899" cy="2189805"/>
          </a:xfrm>
          <a:custGeom>
            <a:avLst/>
            <a:gdLst>
              <a:gd name="T0" fmla="*/ 2147483647 w 1043"/>
              <a:gd name="T1" fmla="*/ 2147483647 h 1013"/>
              <a:gd name="T2" fmla="*/ 2147483647 w 1043"/>
              <a:gd name="T3" fmla="*/ 2147483647 h 1013"/>
              <a:gd name="T4" fmla="*/ 2147483647 w 1043"/>
              <a:gd name="T5" fmla="*/ 2147483647 h 1013"/>
              <a:gd name="T6" fmla="*/ 2147483647 w 1043"/>
              <a:gd name="T7" fmla="*/ 2147483647 h 1013"/>
              <a:gd name="T8" fmla="*/ 2147483647 w 1043"/>
              <a:gd name="T9" fmla="*/ 2147483647 h 1013"/>
              <a:gd name="T10" fmla="*/ 2147483647 w 1043"/>
              <a:gd name="T11" fmla="*/ 2147483647 h 1013"/>
              <a:gd name="T12" fmla="*/ 2147483647 w 1043"/>
              <a:gd name="T13" fmla="*/ 2147483647 h 1013"/>
              <a:gd name="T14" fmla="*/ 2147483647 w 1043"/>
              <a:gd name="T15" fmla="*/ 2147483647 h 1013"/>
              <a:gd name="T16" fmla="*/ 2147483647 w 1043"/>
              <a:gd name="T17" fmla="*/ 2147483647 h 1013"/>
              <a:gd name="T18" fmla="*/ 2147483647 w 1043"/>
              <a:gd name="T19" fmla="*/ 2147483647 h 1013"/>
              <a:gd name="T20" fmla="*/ 2147483647 w 1043"/>
              <a:gd name="T21" fmla="*/ 2147483647 h 1013"/>
              <a:gd name="T22" fmla="*/ 2147483647 w 1043"/>
              <a:gd name="T23" fmla="*/ 2147483647 h 1013"/>
              <a:gd name="T24" fmla="*/ 2147483647 w 1043"/>
              <a:gd name="T25" fmla="*/ 2147483647 h 1013"/>
              <a:gd name="T26" fmla="*/ 2147483647 w 1043"/>
              <a:gd name="T27" fmla="*/ 2147483647 h 1013"/>
              <a:gd name="T28" fmla="*/ 2147483647 w 1043"/>
              <a:gd name="T29" fmla="*/ 2147483647 h 1013"/>
              <a:gd name="T30" fmla="*/ 2147483647 w 1043"/>
              <a:gd name="T31" fmla="*/ 2147483647 h 1013"/>
              <a:gd name="T32" fmla="*/ 2147483647 w 1043"/>
              <a:gd name="T33" fmla="*/ 2147483647 h 1013"/>
              <a:gd name="T34" fmla="*/ 2147483647 w 1043"/>
              <a:gd name="T35" fmla="*/ 2147483647 h 1013"/>
              <a:gd name="T36" fmla="*/ 2147483647 w 1043"/>
              <a:gd name="T37" fmla="*/ 2147483647 h 1013"/>
              <a:gd name="T38" fmla="*/ 2147483647 w 1043"/>
              <a:gd name="T39" fmla="*/ 2147483647 h 1013"/>
              <a:gd name="T40" fmla="*/ 2147483647 w 1043"/>
              <a:gd name="T41" fmla="*/ 2147483647 h 1013"/>
              <a:gd name="T42" fmla="*/ 2147483647 w 1043"/>
              <a:gd name="T43" fmla="*/ 2147483647 h 1013"/>
              <a:gd name="T44" fmla="*/ 2147483647 w 1043"/>
              <a:gd name="T45" fmla="*/ 2147483647 h 1013"/>
              <a:gd name="T46" fmla="*/ 2147483647 w 1043"/>
              <a:gd name="T47" fmla="*/ 2147483647 h 1013"/>
              <a:gd name="T48" fmla="*/ 2147483647 w 1043"/>
              <a:gd name="T49" fmla="*/ 2147483647 h 1013"/>
              <a:gd name="T50" fmla="*/ 2147483647 w 1043"/>
              <a:gd name="T51" fmla="*/ 2147483647 h 1013"/>
              <a:gd name="T52" fmla="*/ 2147483647 w 1043"/>
              <a:gd name="T53" fmla="*/ 2147483647 h 1013"/>
              <a:gd name="T54" fmla="*/ 2147483647 w 1043"/>
              <a:gd name="T55" fmla="*/ 2147483647 h 1013"/>
              <a:gd name="T56" fmla="*/ 2147483647 w 1043"/>
              <a:gd name="T57" fmla="*/ 2147483647 h 1013"/>
              <a:gd name="T58" fmla="*/ 2147483647 w 1043"/>
              <a:gd name="T59" fmla="*/ 2147483647 h 1013"/>
              <a:gd name="T60" fmla="*/ 2147483647 w 1043"/>
              <a:gd name="T61" fmla="*/ 2147483647 h 1013"/>
              <a:gd name="T62" fmla="*/ 2147483647 w 1043"/>
              <a:gd name="T63" fmla="*/ 2147483647 h 1013"/>
              <a:gd name="T64" fmla="*/ 2147483647 w 1043"/>
              <a:gd name="T65" fmla="*/ 2147483647 h 1013"/>
              <a:gd name="T66" fmla="*/ 2147483647 w 1043"/>
              <a:gd name="T67" fmla="*/ 2147483647 h 1013"/>
              <a:gd name="T68" fmla="*/ 2147483647 w 1043"/>
              <a:gd name="T69" fmla="*/ 2147483647 h 1013"/>
              <a:gd name="T70" fmla="*/ 2147483647 w 1043"/>
              <a:gd name="T71" fmla="*/ 2147483647 h 1013"/>
              <a:gd name="T72" fmla="*/ 2147483647 w 1043"/>
              <a:gd name="T73" fmla="*/ 2147483647 h 1013"/>
              <a:gd name="T74" fmla="*/ 2147483647 w 1043"/>
              <a:gd name="T75" fmla="*/ 2147483647 h 1013"/>
              <a:gd name="T76" fmla="*/ 2147483647 w 1043"/>
              <a:gd name="T77" fmla="*/ 2147483647 h 1013"/>
              <a:gd name="T78" fmla="*/ 2147483647 w 1043"/>
              <a:gd name="T79" fmla="*/ 2147483647 h 1013"/>
              <a:gd name="T80" fmla="*/ 2147483647 w 1043"/>
              <a:gd name="T81" fmla="*/ 2147483647 h 1013"/>
              <a:gd name="T82" fmla="*/ 2147483647 w 1043"/>
              <a:gd name="T83" fmla="*/ 2147483647 h 1013"/>
              <a:gd name="T84" fmla="*/ 2147483647 w 1043"/>
              <a:gd name="T85" fmla="*/ 2147483647 h 1013"/>
              <a:gd name="T86" fmla="*/ 2147483647 w 1043"/>
              <a:gd name="T87" fmla="*/ 2147483647 h 1013"/>
              <a:gd name="T88" fmla="*/ 2147483647 w 1043"/>
              <a:gd name="T89" fmla="*/ 2147483647 h 1013"/>
              <a:gd name="T90" fmla="*/ 2147483647 w 1043"/>
              <a:gd name="T91" fmla="*/ 2147483647 h 1013"/>
              <a:gd name="T92" fmla="*/ 2147483647 w 1043"/>
              <a:gd name="T93" fmla="*/ 2147483647 h 1013"/>
              <a:gd name="T94" fmla="*/ 2147483647 w 1043"/>
              <a:gd name="T95" fmla="*/ 2147483647 h 1013"/>
              <a:gd name="T96" fmla="*/ 2147483647 w 1043"/>
              <a:gd name="T97" fmla="*/ 2147483647 h 1013"/>
              <a:gd name="T98" fmla="*/ 2147483647 w 1043"/>
              <a:gd name="T99" fmla="*/ 2147483647 h 1013"/>
              <a:gd name="T100" fmla="*/ 2147483647 w 1043"/>
              <a:gd name="T101" fmla="*/ 2147483647 h 1013"/>
              <a:gd name="T102" fmla="*/ 2147483647 w 1043"/>
              <a:gd name="T103" fmla="*/ 2147483647 h 1013"/>
              <a:gd name="T104" fmla="*/ 2147483647 w 1043"/>
              <a:gd name="T105" fmla="*/ 2147483647 h 1013"/>
              <a:gd name="T106" fmla="*/ 2147483647 w 1043"/>
              <a:gd name="T107" fmla="*/ 2147483647 h 1013"/>
              <a:gd name="T108" fmla="*/ 2147483647 w 1043"/>
              <a:gd name="T109" fmla="*/ 2147483647 h 1013"/>
              <a:gd name="T110" fmla="*/ 2147483647 w 1043"/>
              <a:gd name="T111" fmla="*/ 2147483647 h 1013"/>
              <a:gd name="T112" fmla="*/ 2147483647 w 1043"/>
              <a:gd name="T113" fmla="*/ 2147483647 h 1013"/>
              <a:gd name="T114" fmla="*/ 2147483647 w 1043"/>
              <a:gd name="T115" fmla="*/ 2147483647 h 1013"/>
              <a:gd name="T116" fmla="*/ 2147483647 w 1043"/>
              <a:gd name="T117" fmla="*/ 2147483647 h 10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43"/>
              <a:gd name="T178" fmla="*/ 0 h 1013"/>
              <a:gd name="T179" fmla="*/ 1043 w 1043"/>
              <a:gd name="T180" fmla="*/ 1013 h 10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43" h="1013">
                <a:moveTo>
                  <a:pt x="47" y="456"/>
                </a:moveTo>
                <a:lnTo>
                  <a:pt x="30" y="447"/>
                </a:lnTo>
                <a:lnTo>
                  <a:pt x="19" y="421"/>
                </a:lnTo>
                <a:lnTo>
                  <a:pt x="8" y="415"/>
                </a:lnTo>
                <a:lnTo>
                  <a:pt x="2" y="410"/>
                </a:lnTo>
                <a:lnTo>
                  <a:pt x="2" y="408"/>
                </a:lnTo>
                <a:lnTo>
                  <a:pt x="0" y="404"/>
                </a:lnTo>
                <a:lnTo>
                  <a:pt x="0" y="402"/>
                </a:lnTo>
                <a:lnTo>
                  <a:pt x="2" y="397"/>
                </a:lnTo>
                <a:lnTo>
                  <a:pt x="0" y="393"/>
                </a:lnTo>
                <a:lnTo>
                  <a:pt x="2" y="393"/>
                </a:lnTo>
                <a:lnTo>
                  <a:pt x="21" y="397"/>
                </a:lnTo>
                <a:lnTo>
                  <a:pt x="52" y="399"/>
                </a:lnTo>
                <a:lnTo>
                  <a:pt x="136" y="406"/>
                </a:lnTo>
                <a:lnTo>
                  <a:pt x="142" y="406"/>
                </a:lnTo>
                <a:lnTo>
                  <a:pt x="209" y="415"/>
                </a:lnTo>
                <a:lnTo>
                  <a:pt x="211" y="415"/>
                </a:lnTo>
                <a:lnTo>
                  <a:pt x="231" y="415"/>
                </a:lnTo>
                <a:lnTo>
                  <a:pt x="261" y="419"/>
                </a:lnTo>
                <a:lnTo>
                  <a:pt x="283" y="419"/>
                </a:lnTo>
                <a:lnTo>
                  <a:pt x="287" y="410"/>
                </a:lnTo>
                <a:lnTo>
                  <a:pt x="289" y="371"/>
                </a:lnTo>
                <a:lnTo>
                  <a:pt x="291" y="333"/>
                </a:lnTo>
                <a:lnTo>
                  <a:pt x="296" y="292"/>
                </a:lnTo>
                <a:lnTo>
                  <a:pt x="296" y="274"/>
                </a:lnTo>
                <a:lnTo>
                  <a:pt x="298" y="250"/>
                </a:lnTo>
                <a:lnTo>
                  <a:pt x="304" y="205"/>
                </a:lnTo>
                <a:lnTo>
                  <a:pt x="306" y="164"/>
                </a:lnTo>
                <a:lnTo>
                  <a:pt x="308" y="143"/>
                </a:lnTo>
                <a:lnTo>
                  <a:pt x="308" y="123"/>
                </a:lnTo>
                <a:lnTo>
                  <a:pt x="311" y="82"/>
                </a:lnTo>
                <a:lnTo>
                  <a:pt x="313" y="71"/>
                </a:lnTo>
                <a:lnTo>
                  <a:pt x="315" y="43"/>
                </a:lnTo>
                <a:lnTo>
                  <a:pt x="319" y="0"/>
                </a:lnTo>
                <a:lnTo>
                  <a:pt x="321" y="0"/>
                </a:lnTo>
                <a:lnTo>
                  <a:pt x="384" y="7"/>
                </a:lnTo>
                <a:lnTo>
                  <a:pt x="391" y="7"/>
                </a:lnTo>
                <a:lnTo>
                  <a:pt x="423" y="9"/>
                </a:lnTo>
                <a:lnTo>
                  <a:pt x="462" y="11"/>
                </a:lnTo>
                <a:lnTo>
                  <a:pt x="473" y="11"/>
                </a:lnTo>
                <a:lnTo>
                  <a:pt x="503" y="13"/>
                </a:lnTo>
                <a:lnTo>
                  <a:pt x="542" y="13"/>
                </a:lnTo>
                <a:lnTo>
                  <a:pt x="544" y="13"/>
                </a:lnTo>
                <a:lnTo>
                  <a:pt x="542" y="56"/>
                </a:lnTo>
                <a:lnTo>
                  <a:pt x="542" y="71"/>
                </a:lnTo>
                <a:lnTo>
                  <a:pt x="539" y="95"/>
                </a:lnTo>
                <a:lnTo>
                  <a:pt x="539" y="114"/>
                </a:lnTo>
                <a:lnTo>
                  <a:pt x="539" y="138"/>
                </a:lnTo>
                <a:lnTo>
                  <a:pt x="537" y="151"/>
                </a:lnTo>
                <a:lnTo>
                  <a:pt x="537" y="177"/>
                </a:lnTo>
                <a:lnTo>
                  <a:pt x="537" y="194"/>
                </a:lnTo>
                <a:lnTo>
                  <a:pt x="539" y="192"/>
                </a:lnTo>
                <a:lnTo>
                  <a:pt x="542" y="192"/>
                </a:lnTo>
                <a:lnTo>
                  <a:pt x="544" y="197"/>
                </a:lnTo>
                <a:lnTo>
                  <a:pt x="548" y="201"/>
                </a:lnTo>
                <a:lnTo>
                  <a:pt x="550" y="201"/>
                </a:lnTo>
                <a:lnTo>
                  <a:pt x="552" y="207"/>
                </a:lnTo>
                <a:lnTo>
                  <a:pt x="559" y="212"/>
                </a:lnTo>
                <a:lnTo>
                  <a:pt x="565" y="214"/>
                </a:lnTo>
                <a:lnTo>
                  <a:pt x="568" y="212"/>
                </a:lnTo>
                <a:lnTo>
                  <a:pt x="568" y="209"/>
                </a:lnTo>
                <a:lnTo>
                  <a:pt x="570" y="209"/>
                </a:lnTo>
                <a:lnTo>
                  <a:pt x="574" y="209"/>
                </a:lnTo>
                <a:lnTo>
                  <a:pt x="574" y="212"/>
                </a:lnTo>
                <a:lnTo>
                  <a:pt x="581" y="214"/>
                </a:lnTo>
                <a:lnTo>
                  <a:pt x="583" y="212"/>
                </a:lnTo>
                <a:lnTo>
                  <a:pt x="583" y="209"/>
                </a:lnTo>
                <a:lnTo>
                  <a:pt x="585" y="207"/>
                </a:lnTo>
                <a:lnTo>
                  <a:pt x="587" y="209"/>
                </a:lnTo>
                <a:lnTo>
                  <a:pt x="591" y="212"/>
                </a:lnTo>
                <a:lnTo>
                  <a:pt x="591" y="214"/>
                </a:lnTo>
                <a:lnTo>
                  <a:pt x="598" y="220"/>
                </a:lnTo>
                <a:lnTo>
                  <a:pt x="598" y="222"/>
                </a:lnTo>
                <a:lnTo>
                  <a:pt x="598" y="225"/>
                </a:lnTo>
                <a:lnTo>
                  <a:pt x="598" y="229"/>
                </a:lnTo>
                <a:lnTo>
                  <a:pt x="602" y="233"/>
                </a:lnTo>
                <a:lnTo>
                  <a:pt x="604" y="229"/>
                </a:lnTo>
                <a:lnTo>
                  <a:pt x="609" y="233"/>
                </a:lnTo>
                <a:lnTo>
                  <a:pt x="613" y="229"/>
                </a:lnTo>
                <a:lnTo>
                  <a:pt x="615" y="233"/>
                </a:lnTo>
                <a:lnTo>
                  <a:pt x="619" y="235"/>
                </a:lnTo>
                <a:lnTo>
                  <a:pt x="626" y="238"/>
                </a:lnTo>
                <a:lnTo>
                  <a:pt x="630" y="238"/>
                </a:lnTo>
                <a:lnTo>
                  <a:pt x="634" y="240"/>
                </a:lnTo>
                <a:lnTo>
                  <a:pt x="637" y="238"/>
                </a:lnTo>
                <a:lnTo>
                  <a:pt x="639" y="238"/>
                </a:lnTo>
                <a:lnTo>
                  <a:pt x="641" y="238"/>
                </a:lnTo>
                <a:lnTo>
                  <a:pt x="643" y="238"/>
                </a:lnTo>
                <a:lnTo>
                  <a:pt x="643" y="242"/>
                </a:lnTo>
                <a:lnTo>
                  <a:pt x="650" y="244"/>
                </a:lnTo>
                <a:lnTo>
                  <a:pt x="654" y="246"/>
                </a:lnTo>
                <a:lnTo>
                  <a:pt x="656" y="244"/>
                </a:lnTo>
                <a:lnTo>
                  <a:pt x="658" y="242"/>
                </a:lnTo>
                <a:lnTo>
                  <a:pt x="658" y="240"/>
                </a:lnTo>
                <a:lnTo>
                  <a:pt x="663" y="238"/>
                </a:lnTo>
                <a:lnTo>
                  <a:pt x="665" y="240"/>
                </a:lnTo>
                <a:lnTo>
                  <a:pt x="667" y="240"/>
                </a:lnTo>
                <a:lnTo>
                  <a:pt x="673" y="242"/>
                </a:lnTo>
                <a:lnTo>
                  <a:pt x="680" y="240"/>
                </a:lnTo>
                <a:lnTo>
                  <a:pt x="680" y="238"/>
                </a:lnTo>
                <a:lnTo>
                  <a:pt x="682" y="240"/>
                </a:lnTo>
                <a:lnTo>
                  <a:pt x="680" y="244"/>
                </a:lnTo>
                <a:lnTo>
                  <a:pt x="682" y="253"/>
                </a:lnTo>
                <a:lnTo>
                  <a:pt x="684" y="253"/>
                </a:lnTo>
                <a:lnTo>
                  <a:pt x="686" y="253"/>
                </a:lnTo>
                <a:lnTo>
                  <a:pt x="688" y="253"/>
                </a:lnTo>
                <a:lnTo>
                  <a:pt x="691" y="255"/>
                </a:lnTo>
                <a:lnTo>
                  <a:pt x="691" y="257"/>
                </a:lnTo>
                <a:lnTo>
                  <a:pt x="691" y="259"/>
                </a:lnTo>
                <a:lnTo>
                  <a:pt x="688" y="259"/>
                </a:lnTo>
                <a:lnTo>
                  <a:pt x="688" y="261"/>
                </a:lnTo>
                <a:lnTo>
                  <a:pt x="691" y="261"/>
                </a:lnTo>
                <a:lnTo>
                  <a:pt x="695" y="266"/>
                </a:lnTo>
                <a:lnTo>
                  <a:pt x="699" y="268"/>
                </a:lnTo>
                <a:lnTo>
                  <a:pt x="699" y="266"/>
                </a:lnTo>
                <a:lnTo>
                  <a:pt x="704" y="261"/>
                </a:lnTo>
                <a:lnTo>
                  <a:pt x="706" y="259"/>
                </a:lnTo>
                <a:lnTo>
                  <a:pt x="708" y="257"/>
                </a:lnTo>
                <a:lnTo>
                  <a:pt x="712" y="255"/>
                </a:lnTo>
                <a:lnTo>
                  <a:pt x="714" y="255"/>
                </a:lnTo>
                <a:lnTo>
                  <a:pt x="719" y="255"/>
                </a:lnTo>
                <a:lnTo>
                  <a:pt x="719" y="259"/>
                </a:lnTo>
                <a:lnTo>
                  <a:pt x="721" y="261"/>
                </a:lnTo>
                <a:lnTo>
                  <a:pt x="727" y="259"/>
                </a:lnTo>
                <a:lnTo>
                  <a:pt x="729" y="261"/>
                </a:lnTo>
                <a:lnTo>
                  <a:pt x="732" y="268"/>
                </a:lnTo>
                <a:lnTo>
                  <a:pt x="734" y="270"/>
                </a:lnTo>
                <a:lnTo>
                  <a:pt x="736" y="270"/>
                </a:lnTo>
                <a:lnTo>
                  <a:pt x="738" y="268"/>
                </a:lnTo>
                <a:lnTo>
                  <a:pt x="740" y="266"/>
                </a:lnTo>
                <a:lnTo>
                  <a:pt x="740" y="261"/>
                </a:lnTo>
                <a:lnTo>
                  <a:pt x="745" y="266"/>
                </a:lnTo>
                <a:lnTo>
                  <a:pt x="745" y="268"/>
                </a:lnTo>
                <a:lnTo>
                  <a:pt x="747" y="266"/>
                </a:lnTo>
                <a:lnTo>
                  <a:pt x="747" y="261"/>
                </a:lnTo>
                <a:lnTo>
                  <a:pt x="749" y="261"/>
                </a:lnTo>
                <a:lnTo>
                  <a:pt x="751" y="261"/>
                </a:lnTo>
                <a:lnTo>
                  <a:pt x="753" y="268"/>
                </a:lnTo>
                <a:lnTo>
                  <a:pt x="751" y="268"/>
                </a:lnTo>
                <a:lnTo>
                  <a:pt x="751" y="270"/>
                </a:lnTo>
                <a:lnTo>
                  <a:pt x="749" y="270"/>
                </a:lnTo>
                <a:lnTo>
                  <a:pt x="751" y="276"/>
                </a:lnTo>
                <a:lnTo>
                  <a:pt x="753" y="279"/>
                </a:lnTo>
                <a:lnTo>
                  <a:pt x="755" y="279"/>
                </a:lnTo>
                <a:lnTo>
                  <a:pt x="758" y="279"/>
                </a:lnTo>
                <a:lnTo>
                  <a:pt x="758" y="276"/>
                </a:lnTo>
                <a:lnTo>
                  <a:pt x="758" y="272"/>
                </a:lnTo>
                <a:lnTo>
                  <a:pt x="762" y="270"/>
                </a:lnTo>
                <a:lnTo>
                  <a:pt x="758" y="270"/>
                </a:lnTo>
                <a:lnTo>
                  <a:pt x="758" y="268"/>
                </a:lnTo>
                <a:lnTo>
                  <a:pt x="764" y="268"/>
                </a:lnTo>
                <a:lnTo>
                  <a:pt x="766" y="266"/>
                </a:lnTo>
                <a:lnTo>
                  <a:pt x="766" y="259"/>
                </a:lnTo>
                <a:lnTo>
                  <a:pt x="768" y="259"/>
                </a:lnTo>
                <a:lnTo>
                  <a:pt x="771" y="257"/>
                </a:lnTo>
                <a:lnTo>
                  <a:pt x="773" y="257"/>
                </a:lnTo>
                <a:lnTo>
                  <a:pt x="773" y="259"/>
                </a:lnTo>
                <a:lnTo>
                  <a:pt x="773" y="266"/>
                </a:lnTo>
                <a:lnTo>
                  <a:pt x="777" y="268"/>
                </a:lnTo>
                <a:lnTo>
                  <a:pt x="779" y="266"/>
                </a:lnTo>
                <a:lnTo>
                  <a:pt x="781" y="266"/>
                </a:lnTo>
                <a:lnTo>
                  <a:pt x="783" y="270"/>
                </a:lnTo>
                <a:lnTo>
                  <a:pt x="788" y="270"/>
                </a:lnTo>
                <a:lnTo>
                  <a:pt x="788" y="268"/>
                </a:lnTo>
                <a:lnTo>
                  <a:pt x="790" y="261"/>
                </a:lnTo>
                <a:lnTo>
                  <a:pt x="799" y="266"/>
                </a:lnTo>
                <a:lnTo>
                  <a:pt x="796" y="268"/>
                </a:lnTo>
                <a:lnTo>
                  <a:pt x="796" y="270"/>
                </a:lnTo>
                <a:lnTo>
                  <a:pt x="799" y="270"/>
                </a:lnTo>
                <a:lnTo>
                  <a:pt x="803" y="272"/>
                </a:lnTo>
                <a:lnTo>
                  <a:pt x="803" y="274"/>
                </a:lnTo>
                <a:lnTo>
                  <a:pt x="805" y="274"/>
                </a:lnTo>
                <a:lnTo>
                  <a:pt x="812" y="274"/>
                </a:lnTo>
                <a:lnTo>
                  <a:pt x="814" y="276"/>
                </a:lnTo>
                <a:lnTo>
                  <a:pt x="816" y="283"/>
                </a:lnTo>
                <a:lnTo>
                  <a:pt x="818" y="283"/>
                </a:lnTo>
                <a:lnTo>
                  <a:pt x="818" y="279"/>
                </a:lnTo>
                <a:lnTo>
                  <a:pt x="820" y="276"/>
                </a:lnTo>
                <a:lnTo>
                  <a:pt x="820" y="274"/>
                </a:lnTo>
                <a:lnTo>
                  <a:pt x="827" y="276"/>
                </a:lnTo>
                <a:lnTo>
                  <a:pt x="829" y="276"/>
                </a:lnTo>
                <a:lnTo>
                  <a:pt x="829" y="274"/>
                </a:lnTo>
                <a:lnTo>
                  <a:pt x="831" y="272"/>
                </a:lnTo>
                <a:lnTo>
                  <a:pt x="831" y="270"/>
                </a:lnTo>
                <a:lnTo>
                  <a:pt x="829" y="272"/>
                </a:lnTo>
                <a:lnTo>
                  <a:pt x="829" y="270"/>
                </a:lnTo>
                <a:lnTo>
                  <a:pt x="831" y="270"/>
                </a:lnTo>
                <a:lnTo>
                  <a:pt x="833" y="270"/>
                </a:lnTo>
                <a:lnTo>
                  <a:pt x="835" y="270"/>
                </a:lnTo>
                <a:lnTo>
                  <a:pt x="837" y="270"/>
                </a:lnTo>
                <a:lnTo>
                  <a:pt x="840" y="268"/>
                </a:lnTo>
                <a:lnTo>
                  <a:pt x="840" y="270"/>
                </a:lnTo>
                <a:lnTo>
                  <a:pt x="844" y="268"/>
                </a:lnTo>
                <a:lnTo>
                  <a:pt x="844" y="266"/>
                </a:lnTo>
                <a:lnTo>
                  <a:pt x="844" y="268"/>
                </a:lnTo>
                <a:lnTo>
                  <a:pt x="846" y="268"/>
                </a:lnTo>
                <a:lnTo>
                  <a:pt x="848" y="266"/>
                </a:lnTo>
                <a:lnTo>
                  <a:pt x="855" y="270"/>
                </a:lnTo>
                <a:lnTo>
                  <a:pt x="859" y="268"/>
                </a:lnTo>
                <a:lnTo>
                  <a:pt x="861" y="268"/>
                </a:lnTo>
                <a:lnTo>
                  <a:pt x="861" y="266"/>
                </a:lnTo>
                <a:lnTo>
                  <a:pt x="863" y="261"/>
                </a:lnTo>
                <a:lnTo>
                  <a:pt x="866" y="266"/>
                </a:lnTo>
                <a:lnTo>
                  <a:pt x="870" y="261"/>
                </a:lnTo>
                <a:lnTo>
                  <a:pt x="872" y="261"/>
                </a:lnTo>
                <a:lnTo>
                  <a:pt x="872" y="259"/>
                </a:lnTo>
                <a:lnTo>
                  <a:pt x="876" y="259"/>
                </a:lnTo>
                <a:lnTo>
                  <a:pt x="878" y="261"/>
                </a:lnTo>
                <a:lnTo>
                  <a:pt x="881" y="261"/>
                </a:lnTo>
                <a:lnTo>
                  <a:pt x="878" y="261"/>
                </a:lnTo>
                <a:lnTo>
                  <a:pt x="878" y="266"/>
                </a:lnTo>
                <a:lnTo>
                  <a:pt x="881" y="261"/>
                </a:lnTo>
                <a:lnTo>
                  <a:pt x="881" y="266"/>
                </a:lnTo>
                <a:lnTo>
                  <a:pt x="883" y="266"/>
                </a:lnTo>
                <a:lnTo>
                  <a:pt x="885" y="268"/>
                </a:lnTo>
                <a:lnTo>
                  <a:pt x="896" y="266"/>
                </a:lnTo>
                <a:lnTo>
                  <a:pt x="894" y="261"/>
                </a:lnTo>
                <a:lnTo>
                  <a:pt x="896" y="266"/>
                </a:lnTo>
                <a:lnTo>
                  <a:pt x="898" y="266"/>
                </a:lnTo>
                <a:lnTo>
                  <a:pt x="898" y="261"/>
                </a:lnTo>
                <a:lnTo>
                  <a:pt x="900" y="261"/>
                </a:lnTo>
                <a:lnTo>
                  <a:pt x="900" y="259"/>
                </a:lnTo>
                <a:lnTo>
                  <a:pt x="902" y="257"/>
                </a:lnTo>
                <a:lnTo>
                  <a:pt x="909" y="259"/>
                </a:lnTo>
                <a:lnTo>
                  <a:pt x="911" y="259"/>
                </a:lnTo>
                <a:lnTo>
                  <a:pt x="911" y="261"/>
                </a:lnTo>
                <a:lnTo>
                  <a:pt x="913" y="259"/>
                </a:lnTo>
                <a:lnTo>
                  <a:pt x="913" y="261"/>
                </a:lnTo>
                <a:lnTo>
                  <a:pt x="913" y="266"/>
                </a:lnTo>
                <a:lnTo>
                  <a:pt x="915" y="261"/>
                </a:lnTo>
                <a:lnTo>
                  <a:pt x="917" y="266"/>
                </a:lnTo>
                <a:lnTo>
                  <a:pt x="917" y="268"/>
                </a:lnTo>
                <a:lnTo>
                  <a:pt x="917" y="266"/>
                </a:lnTo>
                <a:lnTo>
                  <a:pt x="920" y="268"/>
                </a:lnTo>
                <a:lnTo>
                  <a:pt x="924" y="268"/>
                </a:lnTo>
                <a:lnTo>
                  <a:pt x="926" y="268"/>
                </a:lnTo>
                <a:lnTo>
                  <a:pt x="926" y="270"/>
                </a:lnTo>
                <a:lnTo>
                  <a:pt x="928" y="272"/>
                </a:lnTo>
                <a:lnTo>
                  <a:pt x="930" y="274"/>
                </a:lnTo>
                <a:lnTo>
                  <a:pt x="930" y="276"/>
                </a:lnTo>
                <a:lnTo>
                  <a:pt x="935" y="276"/>
                </a:lnTo>
                <a:lnTo>
                  <a:pt x="937" y="276"/>
                </a:lnTo>
                <a:lnTo>
                  <a:pt x="941" y="276"/>
                </a:lnTo>
                <a:lnTo>
                  <a:pt x="937" y="279"/>
                </a:lnTo>
                <a:lnTo>
                  <a:pt x="941" y="279"/>
                </a:lnTo>
                <a:lnTo>
                  <a:pt x="941" y="283"/>
                </a:lnTo>
                <a:lnTo>
                  <a:pt x="945" y="283"/>
                </a:lnTo>
                <a:lnTo>
                  <a:pt x="948" y="283"/>
                </a:lnTo>
                <a:lnTo>
                  <a:pt x="945" y="285"/>
                </a:lnTo>
                <a:lnTo>
                  <a:pt x="948" y="285"/>
                </a:lnTo>
                <a:lnTo>
                  <a:pt x="948" y="283"/>
                </a:lnTo>
                <a:lnTo>
                  <a:pt x="950" y="285"/>
                </a:lnTo>
                <a:lnTo>
                  <a:pt x="952" y="283"/>
                </a:lnTo>
                <a:lnTo>
                  <a:pt x="952" y="285"/>
                </a:lnTo>
                <a:lnTo>
                  <a:pt x="954" y="285"/>
                </a:lnTo>
                <a:lnTo>
                  <a:pt x="952" y="285"/>
                </a:lnTo>
                <a:lnTo>
                  <a:pt x="954" y="285"/>
                </a:lnTo>
                <a:lnTo>
                  <a:pt x="954" y="287"/>
                </a:lnTo>
                <a:lnTo>
                  <a:pt x="958" y="287"/>
                </a:lnTo>
                <a:lnTo>
                  <a:pt x="958" y="289"/>
                </a:lnTo>
                <a:lnTo>
                  <a:pt x="958" y="287"/>
                </a:lnTo>
                <a:lnTo>
                  <a:pt x="961" y="287"/>
                </a:lnTo>
                <a:lnTo>
                  <a:pt x="965" y="287"/>
                </a:lnTo>
                <a:lnTo>
                  <a:pt x="965" y="289"/>
                </a:lnTo>
                <a:lnTo>
                  <a:pt x="963" y="289"/>
                </a:lnTo>
                <a:lnTo>
                  <a:pt x="965" y="289"/>
                </a:lnTo>
                <a:lnTo>
                  <a:pt x="965" y="292"/>
                </a:lnTo>
                <a:lnTo>
                  <a:pt x="967" y="292"/>
                </a:lnTo>
                <a:lnTo>
                  <a:pt x="969" y="292"/>
                </a:lnTo>
                <a:lnTo>
                  <a:pt x="967" y="294"/>
                </a:lnTo>
                <a:lnTo>
                  <a:pt x="969" y="294"/>
                </a:lnTo>
                <a:lnTo>
                  <a:pt x="973" y="292"/>
                </a:lnTo>
                <a:lnTo>
                  <a:pt x="976" y="294"/>
                </a:lnTo>
                <a:lnTo>
                  <a:pt x="976" y="292"/>
                </a:lnTo>
                <a:lnTo>
                  <a:pt x="978" y="292"/>
                </a:lnTo>
                <a:lnTo>
                  <a:pt x="978" y="294"/>
                </a:lnTo>
                <a:lnTo>
                  <a:pt x="980" y="289"/>
                </a:lnTo>
                <a:lnTo>
                  <a:pt x="980" y="292"/>
                </a:lnTo>
                <a:lnTo>
                  <a:pt x="980" y="294"/>
                </a:lnTo>
                <a:lnTo>
                  <a:pt x="982" y="294"/>
                </a:lnTo>
                <a:lnTo>
                  <a:pt x="982" y="292"/>
                </a:lnTo>
                <a:lnTo>
                  <a:pt x="984" y="289"/>
                </a:lnTo>
                <a:lnTo>
                  <a:pt x="984" y="292"/>
                </a:lnTo>
                <a:lnTo>
                  <a:pt x="991" y="292"/>
                </a:lnTo>
                <a:lnTo>
                  <a:pt x="993" y="292"/>
                </a:lnTo>
                <a:lnTo>
                  <a:pt x="995" y="294"/>
                </a:lnTo>
                <a:lnTo>
                  <a:pt x="995" y="320"/>
                </a:lnTo>
                <a:lnTo>
                  <a:pt x="995" y="343"/>
                </a:lnTo>
                <a:lnTo>
                  <a:pt x="995" y="356"/>
                </a:lnTo>
                <a:lnTo>
                  <a:pt x="997" y="374"/>
                </a:lnTo>
                <a:lnTo>
                  <a:pt x="997" y="404"/>
                </a:lnTo>
                <a:lnTo>
                  <a:pt x="997" y="421"/>
                </a:lnTo>
                <a:lnTo>
                  <a:pt x="997" y="438"/>
                </a:lnTo>
                <a:lnTo>
                  <a:pt x="999" y="440"/>
                </a:lnTo>
                <a:lnTo>
                  <a:pt x="1002" y="443"/>
                </a:lnTo>
                <a:lnTo>
                  <a:pt x="1002" y="447"/>
                </a:lnTo>
                <a:lnTo>
                  <a:pt x="1008" y="447"/>
                </a:lnTo>
                <a:lnTo>
                  <a:pt x="1008" y="449"/>
                </a:lnTo>
                <a:lnTo>
                  <a:pt x="1010" y="449"/>
                </a:lnTo>
                <a:lnTo>
                  <a:pt x="1010" y="451"/>
                </a:lnTo>
                <a:lnTo>
                  <a:pt x="1010" y="453"/>
                </a:lnTo>
                <a:lnTo>
                  <a:pt x="1012" y="456"/>
                </a:lnTo>
                <a:lnTo>
                  <a:pt x="1015" y="456"/>
                </a:lnTo>
                <a:lnTo>
                  <a:pt x="1015" y="458"/>
                </a:lnTo>
                <a:lnTo>
                  <a:pt x="1015" y="462"/>
                </a:lnTo>
                <a:lnTo>
                  <a:pt x="1017" y="464"/>
                </a:lnTo>
                <a:lnTo>
                  <a:pt x="1017" y="466"/>
                </a:lnTo>
                <a:lnTo>
                  <a:pt x="1017" y="469"/>
                </a:lnTo>
                <a:lnTo>
                  <a:pt x="1017" y="471"/>
                </a:lnTo>
                <a:lnTo>
                  <a:pt x="1017" y="473"/>
                </a:lnTo>
                <a:lnTo>
                  <a:pt x="1015" y="473"/>
                </a:lnTo>
                <a:lnTo>
                  <a:pt x="1015" y="475"/>
                </a:lnTo>
                <a:lnTo>
                  <a:pt x="1017" y="479"/>
                </a:lnTo>
                <a:lnTo>
                  <a:pt x="1017" y="481"/>
                </a:lnTo>
                <a:lnTo>
                  <a:pt x="1019" y="481"/>
                </a:lnTo>
                <a:lnTo>
                  <a:pt x="1019" y="484"/>
                </a:lnTo>
                <a:lnTo>
                  <a:pt x="1023" y="481"/>
                </a:lnTo>
                <a:lnTo>
                  <a:pt x="1023" y="484"/>
                </a:lnTo>
                <a:lnTo>
                  <a:pt x="1025" y="484"/>
                </a:lnTo>
                <a:lnTo>
                  <a:pt x="1025" y="486"/>
                </a:lnTo>
                <a:lnTo>
                  <a:pt x="1023" y="486"/>
                </a:lnTo>
                <a:lnTo>
                  <a:pt x="1025" y="488"/>
                </a:lnTo>
                <a:lnTo>
                  <a:pt x="1027" y="488"/>
                </a:lnTo>
                <a:lnTo>
                  <a:pt x="1025" y="490"/>
                </a:lnTo>
                <a:lnTo>
                  <a:pt x="1027" y="490"/>
                </a:lnTo>
                <a:lnTo>
                  <a:pt x="1027" y="492"/>
                </a:lnTo>
                <a:lnTo>
                  <a:pt x="1030" y="492"/>
                </a:lnTo>
                <a:lnTo>
                  <a:pt x="1030" y="497"/>
                </a:lnTo>
                <a:lnTo>
                  <a:pt x="1032" y="497"/>
                </a:lnTo>
                <a:lnTo>
                  <a:pt x="1027" y="501"/>
                </a:lnTo>
                <a:lnTo>
                  <a:pt x="1027" y="503"/>
                </a:lnTo>
                <a:lnTo>
                  <a:pt x="1030" y="505"/>
                </a:lnTo>
                <a:lnTo>
                  <a:pt x="1030" y="503"/>
                </a:lnTo>
                <a:lnTo>
                  <a:pt x="1032" y="505"/>
                </a:lnTo>
                <a:lnTo>
                  <a:pt x="1034" y="507"/>
                </a:lnTo>
                <a:lnTo>
                  <a:pt x="1034" y="512"/>
                </a:lnTo>
                <a:lnTo>
                  <a:pt x="1034" y="514"/>
                </a:lnTo>
                <a:lnTo>
                  <a:pt x="1034" y="516"/>
                </a:lnTo>
                <a:lnTo>
                  <a:pt x="1038" y="516"/>
                </a:lnTo>
                <a:lnTo>
                  <a:pt x="1040" y="514"/>
                </a:lnTo>
                <a:lnTo>
                  <a:pt x="1040" y="516"/>
                </a:lnTo>
                <a:lnTo>
                  <a:pt x="1040" y="518"/>
                </a:lnTo>
                <a:lnTo>
                  <a:pt x="1040" y="520"/>
                </a:lnTo>
                <a:lnTo>
                  <a:pt x="1038" y="520"/>
                </a:lnTo>
                <a:lnTo>
                  <a:pt x="1038" y="522"/>
                </a:lnTo>
                <a:lnTo>
                  <a:pt x="1040" y="522"/>
                </a:lnTo>
                <a:lnTo>
                  <a:pt x="1043" y="522"/>
                </a:lnTo>
                <a:lnTo>
                  <a:pt x="1040" y="525"/>
                </a:lnTo>
                <a:lnTo>
                  <a:pt x="1043" y="529"/>
                </a:lnTo>
                <a:lnTo>
                  <a:pt x="1040" y="531"/>
                </a:lnTo>
                <a:lnTo>
                  <a:pt x="1038" y="531"/>
                </a:lnTo>
                <a:lnTo>
                  <a:pt x="1038" y="533"/>
                </a:lnTo>
                <a:lnTo>
                  <a:pt x="1040" y="533"/>
                </a:lnTo>
                <a:lnTo>
                  <a:pt x="1040" y="535"/>
                </a:lnTo>
                <a:lnTo>
                  <a:pt x="1043" y="538"/>
                </a:lnTo>
                <a:lnTo>
                  <a:pt x="1040" y="538"/>
                </a:lnTo>
                <a:lnTo>
                  <a:pt x="1040" y="540"/>
                </a:lnTo>
                <a:lnTo>
                  <a:pt x="1038" y="540"/>
                </a:lnTo>
                <a:lnTo>
                  <a:pt x="1038" y="544"/>
                </a:lnTo>
                <a:lnTo>
                  <a:pt x="1040" y="544"/>
                </a:lnTo>
                <a:lnTo>
                  <a:pt x="1040" y="546"/>
                </a:lnTo>
                <a:lnTo>
                  <a:pt x="1038" y="546"/>
                </a:lnTo>
                <a:lnTo>
                  <a:pt x="1040" y="546"/>
                </a:lnTo>
                <a:lnTo>
                  <a:pt x="1040" y="548"/>
                </a:lnTo>
                <a:lnTo>
                  <a:pt x="1038" y="551"/>
                </a:lnTo>
                <a:lnTo>
                  <a:pt x="1038" y="553"/>
                </a:lnTo>
                <a:lnTo>
                  <a:pt x="1034" y="555"/>
                </a:lnTo>
                <a:lnTo>
                  <a:pt x="1034" y="557"/>
                </a:lnTo>
                <a:lnTo>
                  <a:pt x="1034" y="561"/>
                </a:lnTo>
                <a:lnTo>
                  <a:pt x="1030" y="564"/>
                </a:lnTo>
                <a:lnTo>
                  <a:pt x="1030" y="566"/>
                </a:lnTo>
                <a:lnTo>
                  <a:pt x="1027" y="566"/>
                </a:lnTo>
                <a:lnTo>
                  <a:pt x="1030" y="568"/>
                </a:lnTo>
                <a:lnTo>
                  <a:pt x="1027" y="568"/>
                </a:lnTo>
                <a:lnTo>
                  <a:pt x="1030" y="568"/>
                </a:lnTo>
                <a:lnTo>
                  <a:pt x="1027" y="568"/>
                </a:lnTo>
                <a:lnTo>
                  <a:pt x="1027" y="570"/>
                </a:lnTo>
                <a:lnTo>
                  <a:pt x="1027" y="572"/>
                </a:lnTo>
                <a:lnTo>
                  <a:pt x="1025" y="576"/>
                </a:lnTo>
                <a:lnTo>
                  <a:pt x="1027" y="576"/>
                </a:lnTo>
                <a:lnTo>
                  <a:pt x="1027" y="579"/>
                </a:lnTo>
                <a:lnTo>
                  <a:pt x="1027" y="581"/>
                </a:lnTo>
                <a:lnTo>
                  <a:pt x="1027" y="583"/>
                </a:lnTo>
                <a:lnTo>
                  <a:pt x="1030" y="583"/>
                </a:lnTo>
                <a:lnTo>
                  <a:pt x="1027" y="585"/>
                </a:lnTo>
                <a:lnTo>
                  <a:pt x="1025" y="587"/>
                </a:lnTo>
                <a:lnTo>
                  <a:pt x="1025" y="589"/>
                </a:lnTo>
                <a:lnTo>
                  <a:pt x="1025" y="594"/>
                </a:lnTo>
                <a:lnTo>
                  <a:pt x="1027" y="598"/>
                </a:lnTo>
                <a:lnTo>
                  <a:pt x="1030" y="598"/>
                </a:lnTo>
                <a:lnTo>
                  <a:pt x="1027" y="602"/>
                </a:lnTo>
                <a:lnTo>
                  <a:pt x="1027" y="605"/>
                </a:lnTo>
                <a:lnTo>
                  <a:pt x="1027" y="607"/>
                </a:lnTo>
                <a:lnTo>
                  <a:pt x="1030" y="607"/>
                </a:lnTo>
                <a:lnTo>
                  <a:pt x="1030" y="611"/>
                </a:lnTo>
                <a:lnTo>
                  <a:pt x="1030" y="613"/>
                </a:lnTo>
                <a:lnTo>
                  <a:pt x="1030" y="615"/>
                </a:lnTo>
                <a:lnTo>
                  <a:pt x="1027" y="615"/>
                </a:lnTo>
                <a:lnTo>
                  <a:pt x="1027" y="620"/>
                </a:lnTo>
                <a:lnTo>
                  <a:pt x="1025" y="626"/>
                </a:lnTo>
                <a:lnTo>
                  <a:pt x="1017" y="626"/>
                </a:lnTo>
                <a:lnTo>
                  <a:pt x="1017" y="628"/>
                </a:lnTo>
                <a:lnTo>
                  <a:pt x="1010" y="643"/>
                </a:lnTo>
                <a:lnTo>
                  <a:pt x="1019" y="654"/>
                </a:lnTo>
                <a:lnTo>
                  <a:pt x="999" y="654"/>
                </a:lnTo>
                <a:lnTo>
                  <a:pt x="978" y="667"/>
                </a:lnTo>
                <a:lnTo>
                  <a:pt x="976" y="667"/>
                </a:lnTo>
                <a:lnTo>
                  <a:pt x="950" y="680"/>
                </a:lnTo>
                <a:lnTo>
                  <a:pt x="943" y="684"/>
                </a:lnTo>
                <a:lnTo>
                  <a:pt x="950" y="676"/>
                </a:lnTo>
                <a:lnTo>
                  <a:pt x="961" y="669"/>
                </a:lnTo>
                <a:lnTo>
                  <a:pt x="965" y="671"/>
                </a:lnTo>
                <a:lnTo>
                  <a:pt x="967" y="667"/>
                </a:lnTo>
                <a:lnTo>
                  <a:pt x="965" y="669"/>
                </a:lnTo>
                <a:lnTo>
                  <a:pt x="963" y="667"/>
                </a:lnTo>
                <a:lnTo>
                  <a:pt x="961" y="665"/>
                </a:lnTo>
                <a:lnTo>
                  <a:pt x="943" y="669"/>
                </a:lnTo>
                <a:lnTo>
                  <a:pt x="948" y="658"/>
                </a:lnTo>
                <a:lnTo>
                  <a:pt x="948" y="650"/>
                </a:lnTo>
                <a:lnTo>
                  <a:pt x="945" y="646"/>
                </a:lnTo>
                <a:lnTo>
                  <a:pt x="937" y="650"/>
                </a:lnTo>
                <a:lnTo>
                  <a:pt x="932" y="658"/>
                </a:lnTo>
                <a:lnTo>
                  <a:pt x="930" y="658"/>
                </a:lnTo>
                <a:lnTo>
                  <a:pt x="917" y="646"/>
                </a:lnTo>
                <a:lnTo>
                  <a:pt x="920" y="654"/>
                </a:lnTo>
                <a:lnTo>
                  <a:pt x="926" y="658"/>
                </a:lnTo>
                <a:lnTo>
                  <a:pt x="924" y="667"/>
                </a:lnTo>
                <a:lnTo>
                  <a:pt x="930" y="671"/>
                </a:lnTo>
                <a:lnTo>
                  <a:pt x="926" y="678"/>
                </a:lnTo>
                <a:lnTo>
                  <a:pt x="928" y="678"/>
                </a:lnTo>
                <a:lnTo>
                  <a:pt x="928" y="680"/>
                </a:lnTo>
                <a:lnTo>
                  <a:pt x="930" y="680"/>
                </a:lnTo>
                <a:lnTo>
                  <a:pt x="930" y="678"/>
                </a:lnTo>
                <a:lnTo>
                  <a:pt x="932" y="682"/>
                </a:lnTo>
                <a:lnTo>
                  <a:pt x="941" y="684"/>
                </a:lnTo>
                <a:lnTo>
                  <a:pt x="932" y="682"/>
                </a:lnTo>
                <a:lnTo>
                  <a:pt x="932" y="693"/>
                </a:lnTo>
                <a:lnTo>
                  <a:pt x="928" y="691"/>
                </a:lnTo>
                <a:lnTo>
                  <a:pt x="920" y="702"/>
                </a:lnTo>
                <a:lnTo>
                  <a:pt x="911" y="702"/>
                </a:lnTo>
                <a:lnTo>
                  <a:pt x="911" y="710"/>
                </a:lnTo>
                <a:lnTo>
                  <a:pt x="909" y="710"/>
                </a:lnTo>
                <a:lnTo>
                  <a:pt x="904" y="721"/>
                </a:lnTo>
                <a:lnTo>
                  <a:pt x="881" y="741"/>
                </a:lnTo>
                <a:lnTo>
                  <a:pt x="868" y="747"/>
                </a:lnTo>
                <a:lnTo>
                  <a:pt x="870" y="745"/>
                </a:lnTo>
                <a:lnTo>
                  <a:pt x="861" y="745"/>
                </a:lnTo>
                <a:lnTo>
                  <a:pt x="848" y="749"/>
                </a:lnTo>
                <a:lnTo>
                  <a:pt x="846" y="758"/>
                </a:lnTo>
                <a:lnTo>
                  <a:pt x="868" y="747"/>
                </a:lnTo>
                <a:lnTo>
                  <a:pt x="827" y="769"/>
                </a:lnTo>
                <a:lnTo>
                  <a:pt x="844" y="760"/>
                </a:lnTo>
                <a:lnTo>
                  <a:pt x="844" y="751"/>
                </a:lnTo>
                <a:lnTo>
                  <a:pt x="822" y="760"/>
                </a:lnTo>
                <a:lnTo>
                  <a:pt x="831" y="758"/>
                </a:lnTo>
                <a:lnTo>
                  <a:pt x="822" y="753"/>
                </a:lnTo>
                <a:lnTo>
                  <a:pt x="831" y="743"/>
                </a:lnTo>
                <a:lnTo>
                  <a:pt x="827" y="749"/>
                </a:lnTo>
                <a:lnTo>
                  <a:pt x="818" y="751"/>
                </a:lnTo>
                <a:lnTo>
                  <a:pt x="820" y="747"/>
                </a:lnTo>
                <a:lnTo>
                  <a:pt x="816" y="753"/>
                </a:lnTo>
                <a:lnTo>
                  <a:pt x="814" y="758"/>
                </a:lnTo>
                <a:lnTo>
                  <a:pt x="812" y="751"/>
                </a:lnTo>
                <a:lnTo>
                  <a:pt x="812" y="747"/>
                </a:lnTo>
                <a:lnTo>
                  <a:pt x="809" y="747"/>
                </a:lnTo>
                <a:lnTo>
                  <a:pt x="805" y="745"/>
                </a:lnTo>
                <a:lnTo>
                  <a:pt x="805" y="749"/>
                </a:lnTo>
                <a:lnTo>
                  <a:pt x="809" y="747"/>
                </a:lnTo>
                <a:lnTo>
                  <a:pt x="809" y="753"/>
                </a:lnTo>
                <a:lnTo>
                  <a:pt x="812" y="758"/>
                </a:lnTo>
                <a:lnTo>
                  <a:pt x="801" y="762"/>
                </a:lnTo>
                <a:lnTo>
                  <a:pt x="805" y="758"/>
                </a:lnTo>
                <a:lnTo>
                  <a:pt x="805" y="751"/>
                </a:lnTo>
                <a:lnTo>
                  <a:pt x="803" y="758"/>
                </a:lnTo>
                <a:lnTo>
                  <a:pt x="801" y="758"/>
                </a:lnTo>
                <a:lnTo>
                  <a:pt x="801" y="753"/>
                </a:lnTo>
                <a:lnTo>
                  <a:pt x="796" y="753"/>
                </a:lnTo>
                <a:lnTo>
                  <a:pt x="796" y="749"/>
                </a:lnTo>
                <a:lnTo>
                  <a:pt x="796" y="741"/>
                </a:lnTo>
                <a:lnTo>
                  <a:pt x="796" y="749"/>
                </a:lnTo>
                <a:lnTo>
                  <a:pt x="794" y="747"/>
                </a:lnTo>
                <a:lnTo>
                  <a:pt x="788" y="747"/>
                </a:lnTo>
                <a:lnTo>
                  <a:pt x="788" y="749"/>
                </a:lnTo>
                <a:lnTo>
                  <a:pt x="794" y="753"/>
                </a:lnTo>
                <a:lnTo>
                  <a:pt x="790" y="762"/>
                </a:lnTo>
                <a:lnTo>
                  <a:pt x="796" y="760"/>
                </a:lnTo>
                <a:lnTo>
                  <a:pt x="803" y="766"/>
                </a:lnTo>
                <a:lnTo>
                  <a:pt x="796" y="769"/>
                </a:lnTo>
                <a:lnTo>
                  <a:pt x="799" y="773"/>
                </a:lnTo>
                <a:lnTo>
                  <a:pt x="803" y="766"/>
                </a:lnTo>
                <a:lnTo>
                  <a:pt x="812" y="775"/>
                </a:lnTo>
                <a:lnTo>
                  <a:pt x="788" y="784"/>
                </a:lnTo>
                <a:lnTo>
                  <a:pt x="783" y="782"/>
                </a:lnTo>
                <a:lnTo>
                  <a:pt x="783" y="777"/>
                </a:lnTo>
                <a:lnTo>
                  <a:pt x="781" y="777"/>
                </a:lnTo>
                <a:lnTo>
                  <a:pt x="779" y="769"/>
                </a:lnTo>
                <a:lnTo>
                  <a:pt x="773" y="773"/>
                </a:lnTo>
                <a:lnTo>
                  <a:pt x="779" y="773"/>
                </a:lnTo>
                <a:lnTo>
                  <a:pt x="779" y="775"/>
                </a:lnTo>
                <a:lnTo>
                  <a:pt x="779" y="777"/>
                </a:lnTo>
                <a:lnTo>
                  <a:pt x="771" y="777"/>
                </a:lnTo>
                <a:lnTo>
                  <a:pt x="777" y="782"/>
                </a:lnTo>
                <a:lnTo>
                  <a:pt x="779" y="784"/>
                </a:lnTo>
                <a:lnTo>
                  <a:pt x="777" y="790"/>
                </a:lnTo>
                <a:lnTo>
                  <a:pt x="779" y="792"/>
                </a:lnTo>
                <a:lnTo>
                  <a:pt x="777" y="794"/>
                </a:lnTo>
                <a:lnTo>
                  <a:pt x="764" y="801"/>
                </a:lnTo>
                <a:lnTo>
                  <a:pt x="766" y="790"/>
                </a:lnTo>
                <a:lnTo>
                  <a:pt x="762" y="794"/>
                </a:lnTo>
                <a:lnTo>
                  <a:pt x="764" y="797"/>
                </a:lnTo>
                <a:lnTo>
                  <a:pt x="762" y="801"/>
                </a:lnTo>
                <a:lnTo>
                  <a:pt x="755" y="801"/>
                </a:lnTo>
                <a:lnTo>
                  <a:pt x="758" y="794"/>
                </a:lnTo>
                <a:lnTo>
                  <a:pt x="749" y="801"/>
                </a:lnTo>
                <a:lnTo>
                  <a:pt x="749" y="799"/>
                </a:lnTo>
                <a:lnTo>
                  <a:pt x="747" y="799"/>
                </a:lnTo>
                <a:lnTo>
                  <a:pt x="747" y="801"/>
                </a:lnTo>
                <a:lnTo>
                  <a:pt x="738" y="807"/>
                </a:lnTo>
                <a:lnTo>
                  <a:pt x="738" y="810"/>
                </a:lnTo>
                <a:lnTo>
                  <a:pt x="736" y="812"/>
                </a:lnTo>
                <a:lnTo>
                  <a:pt x="738" y="810"/>
                </a:lnTo>
                <a:lnTo>
                  <a:pt x="749" y="810"/>
                </a:lnTo>
                <a:lnTo>
                  <a:pt x="755" y="803"/>
                </a:lnTo>
                <a:lnTo>
                  <a:pt x="758" y="812"/>
                </a:lnTo>
                <a:lnTo>
                  <a:pt x="749" y="823"/>
                </a:lnTo>
                <a:lnTo>
                  <a:pt x="745" y="831"/>
                </a:lnTo>
                <a:lnTo>
                  <a:pt x="738" y="829"/>
                </a:lnTo>
                <a:lnTo>
                  <a:pt x="740" y="829"/>
                </a:lnTo>
                <a:lnTo>
                  <a:pt x="736" y="825"/>
                </a:lnTo>
                <a:lnTo>
                  <a:pt x="729" y="829"/>
                </a:lnTo>
                <a:lnTo>
                  <a:pt x="732" y="825"/>
                </a:lnTo>
                <a:lnTo>
                  <a:pt x="719" y="827"/>
                </a:lnTo>
                <a:lnTo>
                  <a:pt x="719" y="825"/>
                </a:lnTo>
                <a:lnTo>
                  <a:pt x="717" y="827"/>
                </a:lnTo>
                <a:lnTo>
                  <a:pt x="719" y="827"/>
                </a:lnTo>
                <a:lnTo>
                  <a:pt x="719" y="829"/>
                </a:lnTo>
                <a:lnTo>
                  <a:pt x="727" y="829"/>
                </a:lnTo>
                <a:lnTo>
                  <a:pt x="727" y="833"/>
                </a:lnTo>
                <a:lnTo>
                  <a:pt x="734" y="840"/>
                </a:lnTo>
                <a:lnTo>
                  <a:pt x="729" y="840"/>
                </a:lnTo>
                <a:lnTo>
                  <a:pt x="732" y="842"/>
                </a:lnTo>
                <a:lnTo>
                  <a:pt x="729" y="846"/>
                </a:lnTo>
                <a:lnTo>
                  <a:pt x="727" y="846"/>
                </a:lnTo>
                <a:lnTo>
                  <a:pt x="729" y="846"/>
                </a:lnTo>
                <a:lnTo>
                  <a:pt x="734" y="842"/>
                </a:lnTo>
                <a:lnTo>
                  <a:pt x="738" y="842"/>
                </a:lnTo>
                <a:lnTo>
                  <a:pt x="732" y="855"/>
                </a:lnTo>
                <a:lnTo>
                  <a:pt x="723" y="877"/>
                </a:lnTo>
                <a:lnTo>
                  <a:pt x="717" y="877"/>
                </a:lnTo>
                <a:lnTo>
                  <a:pt x="717" y="866"/>
                </a:lnTo>
                <a:lnTo>
                  <a:pt x="714" y="874"/>
                </a:lnTo>
                <a:lnTo>
                  <a:pt x="708" y="879"/>
                </a:lnTo>
                <a:lnTo>
                  <a:pt x="697" y="866"/>
                </a:lnTo>
                <a:lnTo>
                  <a:pt x="701" y="879"/>
                </a:lnTo>
                <a:lnTo>
                  <a:pt x="695" y="879"/>
                </a:lnTo>
                <a:lnTo>
                  <a:pt x="714" y="883"/>
                </a:lnTo>
                <a:lnTo>
                  <a:pt x="723" y="881"/>
                </a:lnTo>
                <a:lnTo>
                  <a:pt x="717" y="898"/>
                </a:lnTo>
                <a:lnTo>
                  <a:pt x="719" y="907"/>
                </a:lnTo>
                <a:lnTo>
                  <a:pt x="712" y="909"/>
                </a:lnTo>
                <a:lnTo>
                  <a:pt x="712" y="922"/>
                </a:lnTo>
                <a:lnTo>
                  <a:pt x="717" y="926"/>
                </a:lnTo>
                <a:lnTo>
                  <a:pt x="719" y="943"/>
                </a:lnTo>
                <a:lnTo>
                  <a:pt x="721" y="950"/>
                </a:lnTo>
                <a:lnTo>
                  <a:pt x="719" y="956"/>
                </a:lnTo>
                <a:lnTo>
                  <a:pt x="721" y="963"/>
                </a:lnTo>
                <a:lnTo>
                  <a:pt x="727" y="965"/>
                </a:lnTo>
                <a:lnTo>
                  <a:pt x="729" y="982"/>
                </a:lnTo>
                <a:lnTo>
                  <a:pt x="736" y="993"/>
                </a:lnTo>
                <a:lnTo>
                  <a:pt x="734" y="1002"/>
                </a:lnTo>
                <a:lnTo>
                  <a:pt x="738" y="997"/>
                </a:lnTo>
                <a:lnTo>
                  <a:pt x="745" y="1004"/>
                </a:lnTo>
                <a:lnTo>
                  <a:pt x="732" y="1004"/>
                </a:lnTo>
                <a:lnTo>
                  <a:pt x="732" y="1006"/>
                </a:lnTo>
                <a:lnTo>
                  <a:pt x="723" y="1008"/>
                </a:lnTo>
                <a:lnTo>
                  <a:pt x="723" y="1013"/>
                </a:lnTo>
                <a:lnTo>
                  <a:pt x="721" y="1013"/>
                </a:lnTo>
                <a:lnTo>
                  <a:pt x="706" y="1006"/>
                </a:lnTo>
                <a:lnTo>
                  <a:pt x="708" y="1004"/>
                </a:lnTo>
                <a:lnTo>
                  <a:pt x="706" y="1004"/>
                </a:lnTo>
                <a:lnTo>
                  <a:pt x="701" y="997"/>
                </a:lnTo>
                <a:lnTo>
                  <a:pt x="684" y="993"/>
                </a:lnTo>
                <a:lnTo>
                  <a:pt x="669" y="993"/>
                </a:lnTo>
                <a:lnTo>
                  <a:pt x="667" y="995"/>
                </a:lnTo>
                <a:lnTo>
                  <a:pt x="665" y="993"/>
                </a:lnTo>
                <a:lnTo>
                  <a:pt x="654" y="993"/>
                </a:lnTo>
                <a:lnTo>
                  <a:pt x="647" y="989"/>
                </a:lnTo>
                <a:lnTo>
                  <a:pt x="650" y="989"/>
                </a:lnTo>
                <a:lnTo>
                  <a:pt x="647" y="987"/>
                </a:lnTo>
                <a:lnTo>
                  <a:pt x="643" y="989"/>
                </a:lnTo>
                <a:lnTo>
                  <a:pt x="643" y="982"/>
                </a:lnTo>
                <a:lnTo>
                  <a:pt x="639" y="982"/>
                </a:lnTo>
                <a:lnTo>
                  <a:pt x="634" y="978"/>
                </a:lnTo>
                <a:lnTo>
                  <a:pt x="632" y="978"/>
                </a:lnTo>
                <a:lnTo>
                  <a:pt x="622" y="974"/>
                </a:lnTo>
                <a:lnTo>
                  <a:pt x="615" y="976"/>
                </a:lnTo>
                <a:lnTo>
                  <a:pt x="604" y="961"/>
                </a:lnTo>
                <a:lnTo>
                  <a:pt x="598" y="963"/>
                </a:lnTo>
                <a:lnTo>
                  <a:pt x="593" y="961"/>
                </a:lnTo>
                <a:lnTo>
                  <a:pt x="581" y="956"/>
                </a:lnTo>
                <a:lnTo>
                  <a:pt x="581" y="950"/>
                </a:lnTo>
                <a:lnTo>
                  <a:pt x="574" y="946"/>
                </a:lnTo>
                <a:lnTo>
                  <a:pt x="574" y="941"/>
                </a:lnTo>
                <a:lnTo>
                  <a:pt x="565" y="915"/>
                </a:lnTo>
                <a:lnTo>
                  <a:pt x="557" y="907"/>
                </a:lnTo>
                <a:lnTo>
                  <a:pt x="557" y="905"/>
                </a:lnTo>
                <a:lnTo>
                  <a:pt x="552" y="898"/>
                </a:lnTo>
                <a:lnTo>
                  <a:pt x="555" y="883"/>
                </a:lnTo>
                <a:lnTo>
                  <a:pt x="552" y="877"/>
                </a:lnTo>
                <a:lnTo>
                  <a:pt x="544" y="872"/>
                </a:lnTo>
                <a:lnTo>
                  <a:pt x="550" y="857"/>
                </a:lnTo>
                <a:lnTo>
                  <a:pt x="548" y="855"/>
                </a:lnTo>
                <a:lnTo>
                  <a:pt x="548" y="844"/>
                </a:lnTo>
                <a:lnTo>
                  <a:pt x="533" y="840"/>
                </a:lnTo>
                <a:lnTo>
                  <a:pt x="524" y="829"/>
                </a:lnTo>
                <a:lnTo>
                  <a:pt x="520" y="827"/>
                </a:lnTo>
                <a:lnTo>
                  <a:pt x="516" y="810"/>
                </a:lnTo>
                <a:lnTo>
                  <a:pt x="509" y="807"/>
                </a:lnTo>
                <a:lnTo>
                  <a:pt x="503" y="792"/>
                </a:lnTo>
                <a:lnTo>
                  <a:pt x="492" y="786"/>
                </a:lnTo>
                <a:lnTo>
                  <a:pt x="492" y="784"/>
                </a:lnTo>
                <a:lnTo>
                  <a:pt x="488" y="779"/>
                </a:lnTo>
                <a:lnTo>
                  <a:pt x="488" y="777"/>
                </a:lnTo>
                <a:lnTo>
                  <a:pt x="483" y="769"/>
                </a:lnTo>
                <a:lnTo>
                  <a:pt x="479" y="762"/>
                </a:lnTo>
                <a:lnTo>
                  <a:pt x="483" y="760"/>
                </a:lnTo>
                <a:lnTo>
                  <a:pt x="477" y="753"/>
                </a:lnTo>
                <a:lnTo>
                  <a:pt x="479" y="749"/>
                </a:lnTo>
                <a:lnTo>
                  <a:pt x="473" y="745"/>
                </a:lnTo>
                <a:lnTo>
                  <a:pt x="466" y="721"/>
                </a:lnTo>
                <a:lnTo>
                  <a:pt x="460" y="719"/>
                </a:lnTo>
                <a:lnTo>
                  <a:pt x="460" y="704"/>
                </a:lnTo>
                <a:lnTo>
                  <a:pt x="453" y="695"/>
                </a:lnTo>
                <a:lnTo>
                  <a:pt x="451" y="687"/>
                </a:lnTo>
                <a:lnTo>
                  <a:pt x="434" y="676"/>
                </a:lnTo>
                <a:lnTo>
                  <a:pt x="427" y="665"/>
                </a:lnTo>
                <a:lnTo>
                  <a:pt x="412" y="661"/>
                </a:lnTo>
                <a:lnTo>
                  <a:pt x="416" y="650"/>
                </a:lnTo>
                <a:lnTo>
                  <a:pt x="410" y="654"/>
                </a:lnTo>
                <a:lnTo>
                  <a:pt x="410" y="648"/>
                </a:lnTo>
                <a:lnTo>
                  <a:pt x="406" y="648"/>
                </a:lnTo>
                <a:lnTo>
                  <a:pt x="403" y="637"/>
                </a:lnTo>
                <a:lnTo>
                  <a:pt x="403" y="635"/>
                </a:lnTo>
                <a:lnTo>
                  <a:pt x="397" y="637"/>
                </a:lnTo>
                <a:lnTo>
                  <a:pt x="397" y="635"/>
                </a:lnTo>
                <a:lnTo>
                  <a:pt x="393" y="635"/>
                </a:lnTo>
                <a:lnTo>
                  <a:pt x="391" y="633"/>
                </a:lnTo>
                <a:lnTo>
                  <a:pt x="388" y="635"/>
                </a:lnTo>
                <a:lnTo>
                  <a:pt x="384" y="635"/>
                </a:lnTo>
                <a:lnTo>
                  <a:pt x="373" y="633"/>
                </a:lnTo>
                <a:lnTo>
                  <a:pt x="371" y="633"/>
                </a:lnTo>
                <a:lnTo>
                  <a:pt x="369" y="630"/>
                </a:lnTo>
                <a:lnTo>
                  <a:pt x="360" y="633"/>
                </a:lnTo>
                <a:lnTo>
                  <a:pt x="356" y="628"/>
                </a:lnTo>
                <a:lnTo>
                  <a:pt x="347" y="633"/>
                </a:lnTo>
                <a:lnTo>
                  <a:pt x="328" y="620"/>
                </a:lnTo>
                <a:lnTo>
                  <a:pt x="326" y="626"/>
                </a:lnTo>
                <a:lnTo>
                  <a:pt x="324" y="633"/>
                </a:lnTo>
                <a:lnTo>
                  <a:pt x="313" y="630"/>
                </a:lnTo>
                <a:lnTo>
                  <a:pt x="308" y="633"/>
                </a:lnTo>
                <a:lnTo>
                  <a:pt x="308" y="630"/>
                </a:lnTo>
                <a:lnTo>
                  <a:pt x="304" y="633"/>
                </a:lnTo>
                <a:lnTo>
                  <a:pt x="298" y="633"/>
                </a:lnTo>
                <a:lnTo>
                  <a:pt x="289" y="650"/>
                </a:lnTo>
                <a:lnTo>
                  <a:pt x="287" y="663"/>
                </a:lnTo>
                <a:lnTo>
                  <a:pt x="280" y="667"/>
                </a:lnTo>
                <a:lnTo>
                  <a:pt x="276" y="676"/>
                </a:lnTo>
                <a:lnTo>
                  <a:pt x="280" y="680"/>
                </a:lnTo>
                <a:lnTo>
                  <a:pt x="272" y="682"/>
                </a:lnTo>
                <a:lnTo>
                  <a:pt x="257" y="700"/>
                </a:lnTo>
                <a:lnTo>
                  <a:pt x="246" y="697"/>
                </a:lnTo>
                <a:lnTo>
                  <a:pt x="244" y="700"/>
                </a:lnTo>
                <a:lnTo>
                  <a:pt x="242" y="693"/>
                </a:lnTo>
                <a:lnTo>
                  <a:pt x="237" y="695"/>
                </a:lnTo>
                <a:lnTo>
                  <a:pt x="229" y="691"/>
                </a:lnTo>
                <a:lnTo>
                  <a:pt x="226" y="682"/>
                </a:lnTo>
                <a:lnTo>
                  <a:pt x="211" y="678"/>
                </a:lnTo>
                <a:lnTo>
                  <a:pt x="209" y="671"/>
                </a:lnTo>
                <a:lnTo>
                  <a:pt x="207" y="671"/>
                </a:lnTo>
                <a:lnTo>
                  <a:pt x="207" y="667"/>
                </a:lnTo>
                <a:lnTo>
                  <a:pt x="207" y="669"/>
                </a:lnTo>
                <a:lnTo>
                  <a:pt x="183" y="663"/>
                </a:lnTo>
                <a:lnTo>
                  <a:pt x="177" y="654"/>
                </a:lnTo>
                <a:lnTo>
                  <a:pt x="175" y="648"/>
                </a:lnTo>
                <a:lnTo>
                  <a:pt x="159" y="639"/>
                </a:lnTo>
                <a:lnTo>
                  <a:pt x="147" y="626"/>
                </a:lnTo>
                <a:lnTo>
                  <a:pt x="144" y="613"/>
                </a:lnTo>
                <a:lnTo>
                  <a:pt x="140" y="602"/>
                </a:lnTo>
                <a:lnTo>
                  <a:pt x="136" y="589"/>
                </a:lnTo>
                <a:lnTo>
                  <a:pt x="142" y="581"/>
                </a:lnTo>
                <a:lnTo>
                  <a:pt x="140" y="572"/>
                </a:lnTo>
                <a:lnTo>
                  <a:pt x="131" y="561"/>
                </a:lnTo>
                <a:lnTo>
                  <a:pt x="131" y="557"/>
                </a:lnTo>
                <a:lnTo>
                  <a:pt x="129" y="557"/>
                </a:lnTo>
                <a:lnTo>
                  <a:pt x="127" y="540"/>
                </a:lnTo>
                <a:lnTo>
                  <a:pt x="118" y="533"/>
                </a:lnTo>
                <a:lnTo>
                  <a:pt x="118" y="529"/>
                </a:lnTo>
                <a:lnTo>
                  <a:pt x="114" y="529"/>
                </a:lnTo>
                <a:lnTo>
                  <a:pt x="101" y="516"/>
                </a:lnTo>
                <a:lnTo>
                  <a:pt x="99" y="516"/>
                </a:lnTo>
                <a:lnTo>
                  <a:pt x="97" y="514"/>
                </a:lnTo>
                <a:lnTo>
                  <a:pt x="95" y="514"/>
                </a:lnTo>
                <a:lnTo>
                  <a:pt x="90" y="512"/>
                </a:lnTo>
                <a:lnTo>
                  <a:pt x="90" y="505"/>
                </a:lnTo>
                <a:lnTo>
                  <a:pt x="77" y="497"/>
                </a:lnTo>
                <a:lnTo>
                  <a:pt x="75" y="486"/>
                </a:lnTo>
                <a:lnTo>
                  <a:pt x="62" y="479"/>
                </a:lnTo>
                <a:lnTo>
                  <a:pt x="47" y="456"/>
                </a:lnTo>
                <a:close/>
              </a:path>
            </a:pathLst>
          </a:custGeom>
          <a:noFill/>
          <a:ln w="9525">
            <a:noFill/>
            <a:round/>
            <a:headEnd/>
            <a:tailEnd/>
          </a:ln>
        </p:spPr>
        <p:txBody>
          <a:bodyPr/>
          <a:lstStyle/>
          <a:p>
            <a:endParaRPr lang="en-US" dirty="0">
              <a:solidFill>
                <a:prstClr val="black"/>
              </a:solidFill>
            </a:endParaRPr>
          </a:p>
        </p:txBody>
      </p:sp>
      <p:sp>
        <p:nvSpPr>
          <p:cNvPr id="267" name="Freeform 100">
            <a:extLst>
              <a:ext uri="{FF2B5EF4-FFF2-40B4-BE49-F238E27FC236}">
                <a16:creationId xmlns:a16="http://schemas.microsoft.com/office/drawing/2014/main" id="{3141AC48-CCFD-4551-AE18-DD679CACADD7}"/>
              </a:ext>
            </a:extLst>
          </p:cNvPr>
          <p:cNvSpPr>
            <a:spLocks/>
          </p:cNvSpPr>
          <p:nvPr>
            <p:custDataLst>
              <p:tags r:id="rId91"/>
            </p:custDataLst>
          </p:nvPr>
        </p:nvSpPr>
        <p:spPr bwMode="auto">
          <a:xfrm>
            <a:off x="4399753" y="4327893"/>
            <a:ext cx="2110899" cy="2189805"/>
          </a:xfrm>
          <a:custGeom>
            <a:avLst/>
            <a:gdLst>
              <a:gd name="T0" fmla="*/ 2147483647 w 1043"/>
              <a:gd name="T1" fmla="*/ 2147483647 h 1013"/>
              <a:gd name="T2" fmla="*/ 2147483647 w 1043"/>
              <a:gd name="T3" fmla="*/ 2147483647 h 1013"/>
              <a:gd name="T4" fmla="*/ 2147483647 w 1043"/>
              <a:gd name="T5" fmla="*/ 2147483647 h 1013"/>
              <a:gd name="T6" fmla="*/ 2147483647 w 1043"/>
              <a:gd name="T7" fmla="*/ 2147483647 h 1013"/>
              <a:gd name="T8" fmla="*/ 2147483647 w 1043"/>
              <a:gd name="T9" fmla="*/ 2147483647 h 1013"/>
              <a:gd name="T10" fmla="*/ 2147483647 w 1043"/>
              <a:gd name="T11" fmla="*/ 2147483647 h 1013"/>
              <a:gd name="T12" fmla="*/ 2147483647 w 1043"/>
              <a:gd name="T13" fmla="*/ 2147483647 h 1013"/>
              <a:gd name="T14" fmla="*/ 2147483647 w 1043"/>
              <a:gd name="T15" fmla="*/ 2147483647 h 1013"/>
              <a:gd name="T16" fmla="*/ 2147483647 w 1043"/>
              <a:gd name="T17" fmla="*/ 2147483647 h 1013"/>
              <a:gd name="T18" fmla="*/ 2147483647 w 1043"/>
              <a:gd name="T19" fmla="*/ 2147483647 h 1013"/>
              <a:gd name="T20" fmla="*/ 2147483647 w 1043"/>
              <a:gd name="T21" fmla="*/ 2147483647 h 1013"/>
              <a:gd name="T22" fmla="*/ 2147483647 w 1043"/>
              <a:gd name="T23" fmla="*/ 2147483647 h 1013"/>
              <a:gd name="T24" fmla="*/ 2147483647 w 1043"/>
              <a:gd name="T25" fmla="*/ 2147483647 h 1013"/>
              <a:gd name="T26" fmla="*/ 2147483647 w 1043"/>
              <a:gd name="T27" fmla="*/ 2147483647 h 1013"/>
              <a:gd name="T28" fmla="*/ 2147483647 w 1043"/>
              <a:gd name="T29" fmla="*/ 2147483647 h 1013"/>
              <a:gd name="T30" fmla="*/ 2147483647 w 1043"/>
              <a:gd name="T31" fmla="*/ 2147483647 h 1013"/>
              <a:gd name="T32" fmla="*/ 2147483647 w 1043"/>
              <a:gd name="T33" fmla="*/ 2147483647 h 1013"/>
              <a:gd name="T34" fmla="*/ 2147483647 w 1043"/>
              <a:gd name="T35" fmla="*/ 2147483647 h 1013"/>
              <a:gd name="T36" fmla="*/ 2147483647 w 1043"/>
              <a:gd name="T37" fmla="*/ 2147483647 h 1013"/>
              <a:gd name="T38" fmla="*/ 2147483647 w 1043"/>
              <a:gd name="T39" fmla="*/ 2147483647 h 1013"/>
              <a:gd name="T40" fmla="*/ 2147483647 w 1043"/>
              <a:gd name="T41" fmla="*/ 2147483647 h 1013"/>
              <a:gd name="T42" fmla="*/ 2147483647 w 1043"/>
              <a:gd name="T43" fmla="*/ 2147483647 h 1013"/>
              <a:gd name="T44" fmla="*/ 2147483647 w 1043"/>
              <a:gd name="T45" fmla="*/ 2147483647 h 1013"/>
              <a:gd name="T46" fmla="*/ 2147483647 w 1043"/>
              <a:gd name="T47" fmla="*/ 2147483647 h 1013"/>
              <a:gd name="T48" fmla="*/ 2147483647 w 1043"/>
              <a:gd name="T49" fmla="*/ 2147483647 h 1013"/>
              <a:gd name="T50" fmla="*/ 2147483647 w 1043"/>
              <a:gd name="T51" fmla="*/ 2147483647 h 1013"/>
              <a:gd name="T52" fmla="*/ 2147483647 w 1043"/>
              <a:gd name="T53" fmla="*/ 2147483647 h 1013"/>
              <a:gd name="T54" fmla="*/ 2147483647 w 1043"/>
              <a:gd name="T55" fmla="*/ 2147483647 h 1013"/>
              <a:gd name="T56" fmla="*/ 2147483647 w 1043"/>
              <a:gd name="T57" fmla="*/ 2147483647 h 1013"/>
              <a:gd name="T58" fmla="*/ 2147483647 w 1043"/>
              <a:gd name="T59" fmla="*/ 2147483647 h 1013"/>
              <a:gd name="T60" fmla="*/ 2147483647 w 1043"/>
              <a:gd name="T61" fmla="*/ 2147483647 h 1013"/>
              <a:gd name="T62" fmla="*/ 2147483647 w 1043"/>
              <a:gd name="T63" fmla="*/ 2147483647 h 1013"/>
              <a:gd name="T64" fmla="*/ 2147483647 w 1043"/>
              <a:gd name="T65" fmla="*/ 2147483647 h 1013"/>
              <a:gd name="T66" fmla="*/ 2147483647 w 1043"/>
              <a:gd name="T67" fmla="*/ 2147483647 h 1013"/>
              <a:gd name="T68" fmla="*/ 2147483647 w 1043"/>
              <a:gd name="T69" fmla="*/ 2147483647 h 1013"/>
              <a:gd name="T70" fmla="*/ 2147483647 w 1043"/>
              <a:gd name="T71" fmla="*/ 2147483647 h 1013"/>
              <a:gd name="T72" fmla="*/ 2147483647 w 1043"/>
              <a:gd name="T73" fmla="*/ 2147483647 h 1013"/>
              <a:gd name="T74" fmla="*/ 2147483647 w 1043"/>
              <a:gd name="T75" fmla="*/ 2147483647 h 1013"/>
              <a:gd name="T76" fmla="*/ 2147483647 w 1043"/>
              <a:gd name="T77" fmla="*/ 2147483647 h 1013"/>
              <a:gd name="T78" fmla="*/ 2147483647 w 1043"/>
              <a:gd name="T79" fmla="*/ 2147483647 h 1013"/>
              <a:gd name="T80" fmla="*/ 2147483647 w 1043"/>
              <a:gd name="T81" fmla="*/ 2147483647 h 1013"/>
              <a:gd name="T82" fmla="*/ 2147483647 w 1043"/>
              <a:gd name="T83" fmla="*/ 2147483647 h 1013"/>
              <a:gd name="T84" fmla="*/ 2147483647 w 1043"/>
              <a:gd name="T85" fmla="*/ 2147483647 h 1013"/>
              <a:gd name="T86" fmla="*/ 2147483647 w 1043"/>
              <a:gd name="T87" fmla="*/ 2147483647 h 1013"/>
              <a:gd name="T88" fmla="*/ 2147483647 w 1043"/>
              <a:gd name="T89" fmla="*/ 2147483647 h 1013"/>
              <a:gd name="T90" fmla="*/ 2147483647 w 1043"/>
              <a:gd name="T91" fmla="*/ 2147483647 h 1013"/>
              <a:gd name="T92" fmla="*/ 2147483647 w 1043"/>
              <a:gd name="T93" fmla="*/ 2147483647 h 1013"/>
              <a:gd name="T94" fmla="*/ 2147483647 w 1043"/>
              <a:gd name="T95" fmla="*/ 2147483647 h 1013"/>
              <a:gd name="T96" fmla="*/ 2147483647 w 1043"/>
              <a:gd name="T97" fmla="*/ 2147483647 h 1013"/>
              <a:gd name="T98" fmla="*/ 2147483647 w 1043"/>
              <a:gd name="T99" fmla="*/ 2147483647 h 1013"/>
              <a:gd name="T100" fmla="*/ 2147483647 w 1043"/>
              <a:gd name="T101" fmla="*/ 2147483647 h 1013"/>
              <a:gd name="T102" fmla="*/ 2147483647 w 1043"/>
              <a:gd name="T103" fmla="*/ 2147483647 h 1013"/>
              <a:gd name="T104" fmla="*/ 2147483647 w 1043"/>
              <a:gd name="T105" fmla="*/ 2147483647 h 1013"/>
              <a:gd name="T106" fmla="*/ 2147483647 w 1043"/>
              <a:gd name="T107" fmla="*/ 2147483647 h 1013"/>
              <a:gd name="T108" fmla="*/ 2147483647 w 1043"/>
              <a:gd name="T109" fmla="*/ 2147483647 h 1013"/>
              <a:gd name="T110" fmla="*/ 2147483647 w 1043"/>
              <a:gd name="T111" fmla="*/ 2147483647 h 1013"/>
              <a:gd name="T112" fmla="*/ 2147483647 w 1043"/>
              <a:gd name="T113" fmla="*/ 2147483647 h 1013"/>
              <a:gd name="T114" fmla="*/ 2147483647 w 1043"/>
              <a:gd name="T115" fmla="*/ 2147483647 h 1013"/>
              <a:gd name="T116" fmla="*/ 2147483647 w 1043"/>
              <a:gd name="T117" fmla="*/ 2147483647 h 10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43"/>
              <a:gd name="T178" fmla="*/ 0 h 1013"/>
              <a:gd name="T179" fmla="*/ 1043 w 1043"/>
              <a:gd name="T180" fmla="*/ 1013 h 10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43" h="1013">
                <a:moveTo>
                  <a:pt x="47" y="456"/>
                </a:moveTo>
                <a:lnTo>
                  <a:pt x="30" y="447"/>
                </a:lnTo>
                <a:lnTo>
                  <a:pt x="19" y="421"/>
                </a:lnTo>
                <a:lnTo>
                  <a:pt x="8" y="415"/>
                </a:lnTo>
                <a:lnTo>
                  <a:pt x="2" y="410"/>
                </a:lnTo>
                <a:lnTo>
                  <a:pt x="2" y="408"/>
                </a:lnTo>
                <a:lnTo>
                  <a:pt x="0" y="404"/>
                </a:lnTo>
                <a:lnTo>
                  <a:pt x="0" y="402"/>
                </a:lnTo>
                <a:lnTo>
                  <a:pt x="2" y="397"/>
                </a:lnTo>
                <a:lnTo>
                  <a:pt x="0" y="393"/>
                </a:lnTo>
                <a:lnTo>
                  <a:pt x="2" y="393"/>
                </a:lnTo>
                <a:lnTo>
                  <a:pt x="21" y="397"/>
                </a:lnTo>
                <a:lnTo>
                  <a:pt x="52" y="399"/>
                </a:lnTo>
                <a:lnTo>
                  <a:pt x="136" y="406"/>
                </a:lnTo>
                <a:lnTo>
                  <a:pt x="142" y="406"/>
                </a:lnTo>
                <a:lnTo>
                  <a:pt x="209" y="415"/>
                </a:lnTo>
                <a:lnTo>
                  <a:pt x="211" y="415"/>
                </a:lnTo>
                <a:lnTo>
                  <a:pt x="231" y="415"/>
                </a:lnTo>
                <a:lnTo>
                  <a:pt x="261" y="419"/>
                </a:lnTo>
                <a:lnTo>
                  <a:pt x="283" y="419"/>
                </a:lnTo>
                <a:lnTo>
                  <a:pt x="287" y="410"/>
                </a:lnTo>
                <a:lnTo>
                  <a:pt x="289" y="371"/>
                </a:lnTo>
                <a:lnTo>
                  <a:pt x="291" y="333"/>
                </a:lnTo>
                <a:lnTo>
                  <a:pt x="296" y="292"/>
                </a:lnTo>
                <a:lnTo>
                  <a:pt x="296" y="274"/>
                </a:lnTo>
                <a:lnTo>
                  <a:pt x="298" y="250"/>
                </a:lnTo>
                <a:lnTo>
                  <a:pt x="304" y="205"/>
                </a:lnTo>
                <a:lnTo>
                  <a:pt x="306" y="164"/>
                </a:lnTo>
                <a:lnTo>
                  <a:pt x="308" y="143"/>
                </a:lnTo>
                <a:lnTo>
                  <a:pt x="308" y="123"/>
                </a:lnTo>
                <a:lnTo>
                  <a:pt x="311" y="82"/>
                </a:lnTo>
                <a:lnTo>
                  <a:pt x="313" y="71"/>
                </a:lnTo>
                <a:lnTo>
                  <a:pt x="315" y="43"/>
                </a:lnTo>
                <a:lnTo>
                  <a:pt x="319" y="0"/>
                </a:lnTo>
                <a:lnTo>
                  <a:pt x="321" y="0"/>
                </a:lnTo>
                <a:lnTo>
                  <a:pt x="384" y="7"/>
                </a:lnTo>
                <a:lnTo>
                  <a:pt x="391" y="7"/>
                </a:lnTo>
                <a:lnTo>
                  <a:pt x="423" y="9"/>
                </a:lnTo>
                <a:lnTo>
                  <a:pt x="462" y="11"/>
                </a:lnTo>
                <a:lnTo>
                  <a:pt x="473" y="11"/>
                </a:lnTo>
                <a:lnTo>
                  <a:pt x="503" y="13"/>
                </a:lnTo>
                <a:lnTo>
                  <a:pt x="542" y="13"/>
                </a:lnTo>
                <a:lnTo>
                  <a:pt x="544" y="13"/>
                </a:lnTo>
                <a:lnTo>
                  <a:pt x="542" y="56"/>
                </a:lnTo>
                <a:lnTo>
                  <a:pt x="542" y="71"/>
                </a:lnTo>
                <a:lnTo>
                  <a:pt x="539" y="95"/>
                </a:lnTo>
                <a:lnTo>
                  <a:pt x="539" y="114"/>
                </a:lnTo>
                <a:lnTo>
                  <a:pt x="539" y="138"/>
                </a:lnTo>
                <a:lnTo>
                  <a:pt x="537" y="151"/>
                </a:lnTo>
                <a:lnTo>
                  <a:pt x="537" y="177"/>
                </a:lnTo>
                <a:lnTo>
                  <a:pt x="537" y="194"/>
                </a:lnTo>
                <a:lnTo>
                  <a:pt x="539" y="192"/>
                </a:lnTo>
                <a:lnTo>
                  <a:pt x="542" y="192"/>
                </a:lnTo>
                <a:lnTo>
                  <a:pt x="544" y="197"/>
                </a:lnTo>
                <a:lnTo>
                  <a:pt x="548" y="201"/>
                </a:lnTo>
                <a:lnTo>
                  <a:pt x="550" y="201"/>
                </a:lnTo>
                <a:lnTo>
                  <a:pt x="552" y="207"/>
                </a:lnTo>
                <a:lnTo>
                  <a:pt x="559" y="212"/>
                </a:lnTo>
                <a:lnTo>
                  <a:pt x="565" y="214"/>
                </a:lnTo>
                <a:lnTo>
                  <a:pt x="568" y="212"/>
                </a:lnTo>
                <a:lnTo>
                  <a:pt x="568" y="209"/>
                </a:lnTo>
                <a:lnTo>
                  <a:pt x="570" y="209"/>
                </a:lnTo>
                <a:lnTo>
                  <a:pt x="574" y="209"/>
                </a:lnTo>
                <a:lnTo>
                  <a:pt x="574" y="212"/>
                </a:lnTo>
                <a:lnTo>
                  <a:pt x="581" y="214"/>
                </a:lnTo>
                <a:lnTo>
                  <a:pt x="583" y="212"/>
                </a:lnTo>
                <a:lnTo>
                  <a:pt x="583" y="209"/>
                </a:lnTo>
                <a:lnTo>
                  <a:pt x="585" y="207"/>
                </a:lnTo>
                <a:lnTo>
                  <a:pt x="587" y="209"/>
                </a:lnTo>
                <a:lnTo>
                  <a:pt x="591" y="212"/>
                </a:lnTo>
                <a:lnTo>
                  <a:pt x="591" y="214"/>
                </a:lnTo>
                <a:lnTo>
                  <a:pt x="598" y="220"/>
                </a:lnTo>
                <a:lnTo>
                  <a:pt x="598" y="222"/>
                </a:lnTo>
                <a:lnTo>
                  <a:pt x="598" y="225"/>
                </a:lnTo>
                <a:lnTo>
                  <a:pt x="598" y="229"/>
                </a:lnTo>
                <a:lnTo>
                  <a:pt x="602" y="233"/>
                </a:lnTo>
                <a:lnTo>
                  <a:pt x="604" y="229"/>
                </a:lnTo>
                <a:lnTo>
                  <a:pt x="609" y="233"/>
                </a:lnTo>
                <a:lnTo>
                  <a:pt x="613" y="229"/>
                </a:lnTo>
                <a:lnTo>
                  <a:pt x="615" y="233"/>
                </a:lnTo>
                <a:lnTo>
                  <a:pt x="619" y="235"/>
                </a:lnTo>
                <a:lnTo>
                  <a:pt x="626" y="238"/>
                </a:lnTo>
                <a:lnTo>
                  <a:pt x="630" y="238"/>
                </a:lnTo>
                <a:lnTo>
                  <a:pt x="634" y="240"/>
                </a:lnTo>
                <a:lnTo>
                  <a:pt x="637" y="238"/>
                </a:lnTo>
                <a:lnTo>
                  <a:pt x="639" y="238"/>
                </a:lnTo>
                <a:lnTo>
                  <a:pt x="641" y="238"/>
                </a:lnTo>
                <a:lnTo>
                  <a:pt x="643" y="238"/>
                </a:lnTo>
                <a:lnTo>
                  <a:pt x="643" y="242"/>
                </a:lnTo>
                <a:lnTo>
                  <a:pt x="650" y="244"/>
                </a:lnTo>
                <a:lnTo>
                  <a:pt x="654" y="246"/>
                </a:lnTo>
                <a:lnTo>
                  <a:pt x="656" y="244"/>
                </a:lnTo>
                <a:lnTo>
                  <a:pt x="658" y="242"/>
                </a:lnTo>
                <a:lnTo>
                  <a:pt x="658" y="240"/>
                </a:lnTo>
                <a:lnTo>
                  <a:pt x="663" y="238"/>
                </a:lnTo>
                <a:lnTo>
                  <a:pt x="665" y="240"/>
                </a:lnTo>
                <a:lnTo>
                  <a:pt x="667" y="240"/>
                </a:lnTo>
                <a:lnTo>
                  <a:pt x="673" y="242"/>
                </a:lnTo>
                <a:lnTo>
                  <a:pt x="680" y="240"/>
                </a:lnTo>
                <a:lnTo>
                  <a:pt x="680" y="238"/>
                </a:lnTo>
                <a:lnTo>
                  <a:pt x="682" y="240"/>
                </a:lnTo>
                <a:lnTo>
                  <a:pt x="680" y="244"/>
                </a:lnTo>
                <a:lnTo>
                  <a:pt x="682" y="253"/>
                </a:lnTo>
                <a:lnTo>
                  <a:pt x="684" y="253"/>
                </a:lnTo>
                <a:lnTo>
                  <a:pt x="686" y="253"/>
                </a:lnTo>
                <a:lnTo>
                  <a:pt x="688" y="253"/>
                </a:lnTo>
                <a:lnTo>
                  <a:pt x="691" y="255"/>
                </a:lnTo>
                <a:lnTo>
                  <a:pt x="691" y="257"/>
                </a:lnTo>
                <a:lnTo>
                  <a:pt x="691" y="259"/>
                </a:lnTo>
                <a:lnTo>
                  <a:pt x="688" y="259"/>
                </a:lnTo>
                <a:lnTo>
                  <a:pt x="688" y="261"/>
                </a:lnTo>
                <a:lnTo>
                  <a:pt x="691" y="261"/>
                </a:lnTo>
                <a:lnTo>
                  <a:pt x="695" y="266"/>
                </a:lnTo>
                <a:lnTo>
                  <a:pt x="699" y="268"/>
                </a:lnTo>
                <a:lnTo>
                  <a:pt x="699" y="266"/>
                </a:lnTo>
                <a:lnTo>
                  <a:pt x="704" y="261"/>
                </a:lnTo>
                <a:lnTo>
                  <a:pt x="706" y="259"/>
                </a:lnTo>
                <a:lnTo>
                  <a:pt x="708" y="257"/>
                </a:lnTo>
                <a:lnTo>
                  <a:pt x="712" y="255"/>
                </a:lnTo>
                <a:lnTo>
                  <a:pt x="714" y="255"/>
                </a:lnTo>
                <a:lnTo>
                  <a:pt x="719" y="255"/>
                </a:lnTo>
                <a:lnTo>
                  <a:pt x="719" y="259"/>
                </a:lnTo>
                <a:lnTo>
                  <a:pt x="721" y="261"/>
                </a:lnTo>
                <a:lnTo>
                  <a:pt x="727" y="259"/>
                </a:lnTo>
                <a:lnTo>
                  <a:pt x="729" y="261"/>
                </a:lnTo>
                <a:lnTo>
                  <a:pt x="732" y="268"/>
                </a:lnTo>
                <a:lnTo>
                  <a:pt x="734" y="270"/>
                </a:lnTo>
                <a:lnTo>
                  <a:pt x="736" y="270"/>
                </a:lnTo>
                <a:lnTo>
                  <a:pt x="738" y="268"/>
                </a:lnTo>
                <a:lnTo>
                  <a:pt x="740" y="266"/>
                </a:lnTo>
                <a:lnTo>
                  <a:pt x="740" y="261"/>
                </a:lnTo>
                <a:lnTo>
                  <a:pt x="745" y="266"/>
                </a:lnTo>
                <a:lnTo>
                  <a:pt x="745" y="268"/>
                </a:lnTo>
                <a:lnTo>
                  <a:pt x="747" y="266"/>
                </a:lnTo>
                <a:lnTo>
                  <a:pt x="747" y="261"/>
                </a:lnTo>
                <a:lnTo>
                  <a:pt x="749" y="261"/>
                </a:lnTo>
                <a:lnTo>
                  <a:pt x="751" y="261"/>
                </a:lnTo>
                <a:lnTo>
                  <a:pt x="753" y="268"/>
                </a:lnTo>
                <a:lnTo>
                  <a:pt x="751" y="268"/>
                </a:lnTo>
                <a:lnTo>
                  <a:pt x="751" y="270"/>
                </a:lnTo>
                <a:lnTo>
                  <a:pt x="749" y="270"/>
                </a:lnTo>
                <a:lnTo>
                  <a:pt x="751" y="276"/>
                </a:lnTo>
                <a:lnTo>
                  <a:pt x="753" y="279"/>
                </a:lnTo>
                <a:lnTo>
                  <a:pt x="755" y="279"/>
                </a:lnTo>
                <a:lnTo>
                  <a:pt x="758" y="279"/>
                </a:lnTo>
                <a:lnTo>
                  <a:pt x="758" y="276"/>
                </a:lnTo>
                <a:lnTo>
                  <a:pt x="758" y="272"/>
                </a:lnTo>
                <a:lnTo>
                  <a:pt x="762" y="270"/>
                </a:lnTo>
                <a:lnTo>
                  <a:pt x="758" y="270"/>
                </a:lnTo>
                <a:lnTo>
                  <a:pt x="758" y="268"/>
                </a:lnTo>
                <a:lnTo>
                  <a:pt x="764" y="268"/>
                </a:lnTo>
                <a:lnTo>
                  <a:pt x="766" y="266"/>
                </a:lnTo>
                <a:lnTo>
                  <a:pt x="766" y="259"/>
                </a:lnTo>
                <a:lnTo>
                  <a:pt x="768" y="259"/>
                </a:lnTo>
                <a:lnTo>
                  <a:pt x="771" y="257"/>
                </a:lnTo>
                <a:lnTo>
                  <a:pt x="773" y="257"/>
                </a:lnTo>
                <a:lnTo>
                  <a:pt x="773" y="259"/>
                </a:lnTo>
                <a:lnTo>
                  <a:pt x="773" y="266"/>
                </a:lnTo>
                <a:lnTo>
                  <a:pt x="777" y="268"/>
                </a:lnTo>
                <a:lnTo>
                  <a:pt x="779" y="266"/>
                </a:lnTo>
                <a:lnTo>
                  <a:pt x="781" y="266"/>
                </a:lnTo>
                <a:lnTo>
                  <a:pt x="783" y="270"/>
                </a:lnTo>
                <a:lnTo>
                  <a:pt x="788" y="270"/>
                </a:lnTo>
                <a:lnTo>
                  <a:pt x="788" y="268"/>
                </a:lnTo>
                <a:lnTo>
                  <a:pt x="790" y="261"/>
                </a:lnTo>
                <a:lnTo>
                  <a:pt x="799" y="266"/>
                </a:lnTo>
                <a:lnTo>
                  <a:pt x="796" y="268"/>
                </a:lnTo>
                <a:lnTo>
                  <a:pt x="796" y="270"/>
                </a:lnTo>
                <a:lnTo>
                  <a:pt x="799" y="270"/>
                </a:lnTo>
                <a:lnTo>
                  <a:pt x="803" y="272"/>
                </a:lnTo>
                <a:lnTo>
                  <a:pt x="803" y="274"/>
                </a:lnTo>
                <a:lnTo>
                  <a:pt x="805" y="274"/>
                </a:lnTo>
                <a:lnTo>
                  <a:pt x="812" y="274"/>
                </a:lnTo>
                <a:lnTo>
                  <a:pt x="814" y="276"/>
                </a:lnTo>
                <a:lnTo>
                  <a:pt x="816" y="283"/>
                </a:lnTo>
                <a:lnTo>
                  <a:pt x="818" y="283"/>
                </a:lnTo>
                <a:lnTo>
                  <a:pt x="818" y="279"/>
                </a:lnTo>
                <a:lnTo>
                  <a:pt x="820" y="276"/>
                </a:lnTo>
                <a:lnTo>
                  <a:pt x="820" y="274"/>
                </a:lnTo>
                <a:lnTo>
                  <a:pt x="827" y="276"/>
                </a:lnTo>
                <a:lnTo>
                  <a:pt x="829" y="276"/>
                </a:lnTo>
                <a:lnTo>
                  <a:pt x="829" y="274"/>
                </a:lnTo>
                <a:lnTo>
                  <a:pt x="831" y="272"/>
                </a:lnTo>
                <a:lnTo>
                  <a:pt x="831" y="270"/>
                </a:lnTo>
                <a:lnTo>
                  <a:pt x="829" y="272"/>
                </a:lnTo>
                <a:lnTo>
                  <a:pt x="829" y="270"/>
                </a:lnTo>
                <a:lnTo>
                  <a:pt x="831" y="270"/>
                </a:lnTo>
                <a:lnTo>
                  <a:pt x="833" y="270"/>
                </a:lnTo>
                <a:lnTo>
                  <a:pt x="835" y="270"/>
                </a:lnTo>
                <a:lnTo>
                  <a:pt x="837" y="270"/>
                </a:lnTo>
                <a:lnTo>
                  <a:pt x="840" y="268"/>
                </a:lnTo>
                <a:lnTo>
                  <a:pt x="840" y="270"/>
                </a:lnTo>
                <a:lnTo>
                  <a:pt x="844" y="268"/>
                </a:lnTo>
                <a:lnTo>
                  <a:pt x="844" y="266"/>
                </a:lnTo>
                <a:lnTo>
                  <a:pt x="844" y="268"/>
                </a:lnTo>
                <a:lnTo>
                  <a:pt x="846" y="268"/>
                </a:lnTo>
                <a:lnTo>
                  <a:pt x="848" y="266"/>
                </a:lnTo>
                <a:lnTo>
                  <a:pt x="855" y="270"/>
                </a:lnTo>
                <a:lnTo>
                  <a:pt x="859" y="268"/>
                </a:lnTo>
                <a:lnTo>
                  <a:pt x="861" y="268"/>
                </a:lnTo>
                <a:lnTo>
                  <a:pt x="861" y="266"/>
                </a:lnTo>
                <a:lnTo>
                  <a:pt x="863" y="261"/>
                </a:lnTo>
                <a:lnTo>
                  <a:pt x="866" y="266"/>
                </a:lnTo>
                <a:lnTo>
                  <a:pt x="870" y="261"/>
                </a:lnTo>
                <a:lnTo>
                  <a:pt x="872" y="261"/>
                </a:lnTo>
                <a:lnTo>
                  <a:pt x="872" y="259"/>
                </a:lnTo>
                <a:lnTo>
                  <a:pt x="876" y="259"/>
                </a:lnTo>
                <a:lnTo>
                  <a:pt x="878" y="261"/>
                </a:lnTo>
                <a:lnTo>
                  <a:pt x="881" y="261"/>
                </a:lnTo>
                <a:lnTo>
                  <a:pt x="878" y="261"/>
                </a:lnTo>
                <a:lnTo>
                  <a:pt x="878" y="266"/>
                </a:lnTo>
                <a:lnTo>
                  <a:pt x="881" y="261"/>
                </a:lnTo>
                <a:lnTo>
                  <a:pt x="881" y="266"/>
                </a:lnTo>
                <a:lnTo>
                  <a:pt x="883" y="266"/>
                </a:lnTo>
                <a:lnTo>
                  <a:pt x="885" y="268"/>
                </a:lnTo>
                <a:lnTo>
                  <a:pt x="896" y="266"/>
                </a:lnTo>
                <a:lnTo>
                  <a:pt x="894" y="261"/>
                </a:lnTo>
                <a:lnTo>
                  <a:pt x="896" y="266"/>
                </a:lnTo>
                <a:lnTo>
                  <a:pt x="898" y="266"/>
                </a:lnTo>
                <a:lnTo>
                  <a:pt x="898" y="261"/>
                </a:lnTo>
                <a:lnTo>
                  <a:pt x="900" y="261"/>
                </a:lnTo>
                <a:lnTo>
                  <a:pt x="900" y="259"/>
                </a:lnTo>
                <a:lnTo>
                  <a:pt x="902" y="257"/>
                </a:lnTo>
                <a:lnTo>
                  <a:pt x="909" y="259"/>
                </a:lnTo>
                <a:lnTo>
                  <a:pt x="911" y="259"/>
                </a:lnTo>
                <a:lnTo>
                  <a:pt x="911" y="261"/>
                </a:lnTo>
                <a:lnTo>
                  <a:pt x="913" y="259"/>
                </a:lnTo>
                <a:lnTo>
                  <a:pt x="913" y="261"/>
                </a:lnTo>
                <a:lnTo>
                  <a:pt x="913" y="266"/>
                </a:lnTo>
                <a:lnTo>
                  <a:pt x="915" y="261"/>
                </a:lnTo>
                <a:lnTo>
                  <a:pt x="917" y="266"/>
                </a:lnTo>
                <a:lnTo>
                  <a:pt x="917" y="268"/>
                </a:lnTo>
                <a:lnTo>
                  <a:pt x="917" y="266"/>
                </a:lnTo>
                <a:lnTo>
                  <a:pt x="920" y="268"/>
                </a:lnTo>
                <a:lnTo>
                  <a:pt x="924" y="268"/>
                </a:lnTo>
                <a:lnTo>
                  <a:pt x="926" y="268"/>
                </a:lnTo>
                <a:lnTo>
                  <a:pt x="926" y="270"/>
                </a:lnTo>
                <a:lnTo>
                  <a:pt x="928" y="272"/>
                </a:lnTo>
                <a:lnTo>
                  <a:pt x="930" y="274"/>
                </a:lnTo>
                <a:lnTo>
                  <a:pt x="930" y="276"/>
                </a:lnTo>
                <a:lnTo>
                  <a:pt x="935" y="276"/>
                </a:lnTo>
                <a:lnTo>
                  <a:pt x="937" y="276"/>
                </a:lnTo>
                <a:lnTo>
                  <a:pt x="941" y="276"/>
                </a:lnTo>
                <a:lnTo>
                  <a:pt x="937" y="279"/>
                </a:lnTo>
                <a:lnTo>
                  <a:pt x="941" y="279"/>
                </a:lnTo>
                <a:lnTo>
                  <a:pt x="941" y="283"/>
                </a:lnTo>
                <a:lnTo>
                  <a:pt x="945" y="283"/>
                </a:lnTo>
                <a:lnTo>
                  <a:pt x="948" y="283"/>
                </a:lnTo>
                <a:lnTo>
                  <a:pt x="945" y="285"/>
                </a:lnTo>
                <a:lnTo>
                  <a:pt x="948" y="285"/>
                </a:lnTo>
                <a:lnTo>
                  <a:pt x="948" y="283"/>
                </a:lnTo>
                <a:lnTo>
                  <a:pt x="950" y="285"/>
                </a:lnTo>
                <a:lnTo>
                  <a:pt x="952" y="283"/>
                </a:lnTo>
                <a:lnTo>
                  <a:pt x="952" y="285"/>
                </a:lnTo>
                <a:lnTo>
                  <a:pt x="954" y="285"/>
                </a:lnTo>
                <a:lnTo>
                  <a:pt x="952" y="285"/>
                </a:lnTo>
                <a:lnTo>
                  <a:pt x="954" y="285"/>
                </a:lnTo>
                <a:lnTo>
                  <a:pt x="954" y="287"/>
                </a:lnTo>
                <a:lnTo>
                  <a:pt x="958" y="287"/>
                </a:lnTo>
                <a:lnTo>
                  <a:pt x="958" y="289"/>
                </a:lnTo>
                <a:lnTo>
                  <a:pt x="958" y="287"/>
                </a:lnTo>
                <a:lnTo>
                  <a:pt x="961" y="287"/>
                </a:lnTo>
                <a:lnTo>
                  <a:pt x="965" y="287"/>
                </a:lnTo>
                <a:lnTo>
                  <a:pt x="965" y="289"/>
                </a:lnTo>
                <a:lnTo>
                  <a:pt x="963" y="289"/>
                </a:lnTo>
                <a:lnTo>
                  <a:pt x="965" y="289"/>
                </a:lnTo>
                <a:lnTo>
                  <a:pt x="965" y="292"/>
                </a:lnTo>
                <a:lnTo>
                  <a:pt x="967" y="292"/>
                </a:lnTo>
                <a:lnTo>
                  <a:pt x="969" y="292"/>
                </a:lnTo>
                <a:lnTo>
                  <a:pt x="967" y="294"/>
                </a:lnTo>
                <a:lnTo>
                  <a:pt x="969" y="294"/>
                </a:lnTo>
                <a:lnTo>
                  <a:pt x="973" y="292"/>
                </a:lnTo>
                <a:lnTo>
                  <a:pt x="976" y="294"/>
                </a:lnTo>
                <a:lnTo>
                  <a:pt x="976" y="292"/>
                </a:lnTo>
                <a:lnTo>
                  <a:pt x="978" y="292"/>
                </a:lnTo>
                <a:lnTo>
                  <a:pt x="978" y="294"/>
                </a:lnTo>
                <a:lnTo>
                  <a:pt x="980" y="289"/>
                </a:lnTo>
                <a:lnTo>
                  <a:pt x="980" y="292"/>
                </a:lnTo>
                <a:lnTo>
                  <a:pt x="980" y="294"/>
                </a:lnTo>
                <a:lnTo>
                  <a:pt x="982" y="294"/>
                </a:lnTo>
                <a:lnTo>
                  <a:pt x="982" y="292"/>
                </a:lnTo>
                <a:lnTo>
                  <a:pt x="984" y="289"/>
                </a:lnTo>
                <a:lnTo>
                  <a:pt x="984" y="292"/>
                </a:lnTo>
                <a:lnTo>
                  <a:pt x="991" y="292"/>
                </a:lnTo>
                <a:lnTo>
                  <a:pt x="993" y="292"/>
                </a:lnTo>
                <a:lnTo>
                  <a:pt x="995" y="294"/>
                </a:lnTo>
                <a:lnTo>
                  <a:pt x="995" y="320"/>
                </a:lnTo>
                <a:lnTo>
                  <a:pt x="995" y="343"/>
                </a:lnTo>
                <a:lnTo>
                  <a:pt x="995" y="356"/>
                </a:lnTo>
                <a:lnTo>
                  <a:pt x="997" y="374"/>
                </a:lnTo>
                <a:lnTo>
                  <a:pt x="997" y="404"/>
                </a:lnTo>
                <a:lnTo>
                  <a:pt x="997" y="421"/>
                </a:lnTo>
                <a:lnTo>
                  <a:pt x="997" y="438"/>
                </a:lnTo>
                <a:lnTo>
                  <a:pt x="999" y="440"/>
                </a:lnTo>
                <a:lnTo>
                  <a:pt x="1002" y="443"/>
                </a:lnTo>
                <a:lnTo>
                  <a:pt x="1002" y="447"/>
                </a:lnTo>
                <a:lnTo>
                  <a:pt x="1008" y="447"/>
                </a:lnTo>
                <a:lnTo>
                  <a:pt x="1008" y="449"/>
                </a:lnTo>
                <a:lnTo>
                  <a:pt x="1010" y="449"/>
                </a:lnTo>
                <a:lnTo>
                  <a:pt x="1010" y="451"/>
                </a:lnTo>
                <a:lnTo>
                  <a:pt x="1010" y="453"/>
                </a:lnTo>
                <a:lnTo>
                  <a:pt x="1012" y="456"/>
                </a:lnTo>
                <a:lnTo>
                  <a:pt x="1015" y="456"/>
                </a:lnTo>
                <a:lnTo>
                  <a:pt x="1015" y="458"/>
                </a:lnTo>
                <a:lnTo>
                  <a:pt x="1015" y="462"/>
                </a:lnTo>
                <a:lnTo>
                  <a:pt x="1017" y="464"/>
                </a:lnTo>
                <a:lnTo>
                  <a:pt x="1017" y="466"/>
                </a:lnTo>
                <a:lnTo>
                  <a:pt x="1017" y="469"/>
                </a:lnTo>
                <a:lnTo>
                  <a:pt x="1017" y="471"/>
                </a:lnTo>
                <a:lnTo>
                  <a:pt x="1017" y="473"/>
                </a:lnTo>
                <a:lnTo>
                  <a:pt x="1015" y="473"/>
                </a:lnTo>
                <a:lnTo>
                  <a:pt x="1015" y="475"/>
                </a:lnTo>
                <a:lnTo>
                  <a:pt x="1017" y="479"/>
                </a:lnTo>
                <a:lnTo>
                  <a:pt x="1017" y="481"/>
                </a:lnTo>
                <a:lnTo>
                  <a:pt x="1019" y="481"/>
                </a:lnTo>
                <a:lnTo>
                  <a:pt x="1019" y="484"/>
                </a:lnTo>
                <a:lnTo>
                  <a:pt x="1023" y="481"/>
                </a:lnTo>
                <a:lnTo>
                  <a:pt x="1023" y="484"/>
                </a:lnTo>
                <a:lnTo>
                  <a:pt x="1025" y="484"/>
                </a:lnTo>
                <a:lnTo>
                  <a:pt x="1025" y="486"/>
                </a:lnTo>
                <a:lnTo>
                  <a:pt x="1023" y="486"/>
                </a:lnTo>
                <a:lnTo>
                  <a:pt x="1025" y="488"/>
                </a:lnTo>
                <a:lnTo>
                  <a:pt x="1027" y="488"/>
                </a:lnTo>
                <a:lnTo>
                  <a:pt x="1025" y="490"/>
                </a:lnTo>
                <a:lnTo>
                  <a:pt x="1027" y="490"/>
                </a:lnTo>
                <a:lnTo>
                  <a:pt x="1027" y="492"/>
                </a:lnTo>
                <a:lnTo>
                  <a:pt x="1030" y="492"/>
                </a:lnTo>
                <a:lnTo>
                  <a:pt x="1030" y="497"/>
                </a:lnTo>
                <a:lnTo>
                  <a:pt x="1032" y="497"/>
                </a:lnTo>
                <a:lnTo>
                  <a:pt x="1027" y="501"/>
                </a:lnTo>
                <a:lnTo>
                  <a:pt x="1027" y="503"/>
                </a:lnTo>
                <a:lnTo>
                  <a:pt x="1030" y="505"/>
                </a:lnTo>
                <a:lnTo>
                  <a:pt x="1030" y="503"/>
                </a:lnTo>
                <a:lnTo>
                  <a:pt x="1032" y="505"/>
                </a:lnTo>
                <a:lnTo>
                  <a:pt x="1034" y="507"/>
                </a:lnTo>
                <a:lnTo>
                  <a:pt x="1034" y="512"/>
                </a:lnTo>
                <a:lnTo>
                  <a:pt x="1034" y="514"/>
                </a:lnTo>
                <a:lnTo>
                  <a:pt x="1034" y="516"/>
                </a:lnTo>
                <a:lnTo>
                  <a:pt x="1038" y="516"/>
                </a:lnTo>
                <a:lnTo>
                  <a:pt x="1040" y="514"/>
                </a:lnTo>
                <a:lnTo>
                  <a:pt x="1040" y="516"/>
                </a:lnTo>
                <a:lnTo>
                  <a:pt x="1040" y="518"/>
                </a:lnTo>
                <a:lnTo>
                  <a:pt x="1040" y="520"/>
                </a:lnTo>
                <a:lnTo>
                  <a:pt x="1038" y="520"/>
                </a:lnTo>
                <a:lnTo>
                  <a:pt x="1038" y="522"/>
                </a:lnTo>
                <a:lnTo>
                  <a:pt x="1040" y="522"/>
                </a:lnTo>
                <a:lnTo>
                  <a:pt x="1043" y="522"/>
                </a:lnTo>
                <a:lnTo>
                  <a:pt x="1040" y="525"/>
                </a:lnTo>
                <a:lnTo>
                  <a:pt x="1043" y="529"/>
                </a:lnTo>
                <a:lnTo>
                  <a:pt x="1040" y="531"/>
                </a:lnTo>
                <a:lnTo>
                  <a:pt x="1038" y="531"/>
                </a:lnTo>
                <a:lnTo>
                  <a:pt x="1038" y="533"/>
                </a:lnTo>
                <a:lnTo>
                  <a:pt x="1040" y="533"/>
                </a:lnTo>
                <a:lnTo>
                  <a:pt x="1040" y="535"/>
                </a:lnTo>
                <a:lnTo>
                  <a:pt x="1043" y="538"/>
                </a:lnTo>
                <a:lnTo>
                  <a:pt x="1040" y="538"/>
                </a:lnTo>
                <a:lnTo>
                  <a:pt x="1040" y="540"/>
                </a:lnTo>
                <a:lnTo>
                  <a:pt x="1038" y="540"/>
                </a:lnTo>
                <a:lnTo>
                  <a:pt x="1038" y="544"/>
                </a:lnTo>
                <a:lnTo>
                  <a:pt x="1040" y="544"/>
                </a:lnTo>
                <a:lnTo>
                  <a:pt x="1040" y="546"/>
                </a:lnTo>
                <a:lnTo>
                  <a:pt x="1038" y="546"/>
                </a:lnTo>
                <a:lnTo>
                  <a:pt x="1040" y="546"/>
                </a:lnTo>
                <a:lnTo>
                  <a:pt x="1040" y="548"/>
                </a:lnTo>
                <a:lnTo>
                  <a:pt x="1038" y="551"/>
                </a:lnTo>
                <a:lnTo>
                  <a:pt x="1038" y="553"/>
                </a:lnTo>
                <a:lnTo>
                  <a:pt x="1034" y="555"/>
                </a:lnTo>
                <a:lnTo>
                  <a:pt x="1034" y="557"/>
                </a:lnTo>
                <a:lnTo>
                  <a:pt x="1034" y="561"/>
                </a:lnTo>
                <a:lnTo>
                  <a:pt x="1030" y="564"/>
                </a:lnTo>
                <a:lnTo>
                  <a:pt x="1030" y="566"/>
                </a:lnTo>
                <a:lnTo>
                  <a:pt x="1027" y="566"/>
                </a:lnTo>
                <a:lnTo>
                  <a:pt x="1030" y="568"/>
                </a:lnTo>
                <a:lnTo>
                  <a:pt x="1027" y="568"/>
                </a:lnTo>
                <a:lnTo>
                  <a:pt x="1030" y="568"/>
                </a:lnTo>
                <a:lnTo>
                  <a:pt x="1027" y="568"/>
                </a:lnTo>
                <a:lnTo>
                  <a:pt x="1027" y="570"/>
                </a:lnTo>
                <a:lnTo>
                  <a:pt x="1027" y="572"/>
                </a:lnTo>
                <a:lnTo>
                  <a:pt x="1025" y="576"/>
                </a:lnTo>
                <a:lnTo>
                  <a:pt x="1027" y="576"/>
                </a:lnTo>
                <a:lnTo>
                  <a:pt x="1027" y="579"/>
                </a:lnTo>
                <a:lnTo>
                  <a:pt x="1027" y="581"/>
                </a:lnTo>
                <a:lnTo>
                  <a:pt x="1027" y="583"/>
                </a:lnTo>
                <a:lnTo>
                  <a:pt x="1030" y="583"/>
                </a:lnTo>
                <a:lnTo>
                  <a:pt x="1027" y="585"/>
                </a:lnTo>
                <a:lnTo>
                  <a:pt x="1025" y="587"/>
                </a:lnTo>
                <a:lnTo>
                  <a:pt x="1025" y="589"/>
                </a:lnTo>
                <a:lnTo>
                  <a:pt x="1025" y="594"/>
                </a:lnTo>
                <a:lnTo>
                  <a:pt x="1027" y="598"/>
                </a:lnTo>
                <a:lnTo>
                  <a:pt x="1030" y="598"/>
                </a:lnTo>
                <a:lnTo>
                  <a:pt x="1027" y="602"/>
                </a:lnTo>
                <a:lnTo>
                  <a:pt x="1027" y="605"/>
                </a:lnTo>
                <a:lnTo>
                  <a:pt x="1027" y="607"/>
                </a:lnTo>
                <a:lnTo>
                  <a:pt x="1030" y="607"/>
                </a:lnTo>
                <a:lnTo>
                  <a:pt x="1030" y="611"/>
                </a:lnTo>
                <a:lnTo>
                  <a:pt x="1030" y="613"/>
                </a:lnTo>
                <a:lnTo>
                  <a:pt x="1030" y="615"/>
                </a:lnTo>
                <a:lnTo>
                  <a:pt x="1027" y="615"/>
                </a:lnTo>
                <a:lnTo>
                  <a:pt x="1027" y="620"/>
                </a:lnTo>
                <a:lnTo>
                  <a:pt x="1025" y="626"/>
                </a:lnTo>
                <a:lnTo>
                  <a:pt x="1017" y="626"/>
                </a:lnTo>
                <a:lnTo>
                  <a:pt x="1017" y="628"/>
                </a:lnTo>
                <a:lnTo>
                  <a:pt x="1010" y="643"/>
                </a:lnTo>
                <a:lnTo>
                  <a:pt x="1019" y="654"/>
                </a:lnTo>
                <a:lnTo>
                  <a:pt x="999" y="654"/>
                </a:lnTo>
                <a:lnTo>
                  <a:pt x="978" y="667"/>
                </a:lnTo>
                <a:lnTo>
                  <a:pt x="976" y="667"/>
                </a:lnTo>
                <a:lnTo>
                  <a:pt x="950" y="680"/>
                </a:lnTo>
                <a:lnTo>
                  <a:pt x="943" y="684"/>
                </a:lnTo>
                <a:lnTo>
                  <a:pt x="950" y="676"/>
                </a:lnTo>
                <a:lnTo>
                  <a:pt x="961" y="669"/>
                </a:lnTo>
                <a:lnTo>
                  <a:pt x="965" y="671"/>
                </a:lnTo>
                <a:lnTo>
                  <a:pt x="967" y="667"/>
                </a:lnTo>
                <a:lnTo>
                  <a:pt x="965" y="669"/>
                </a:lnTo>
                <a:lnTo>
                  <a:pt x="963" y="667"/>
                </a:lnTo>
                <a:lnTo>
                  <a:pt x="961" y="665"/>
                </a:lnTo>
                <a:lnTo>
                  <a:pt x="943" y="669"/>
                </a:lnTo>
                <a:lnTo>
                  <a:pt x="948" y="658"/>
                </a:lnTo>
                <a:lnTo>
                  <a:pt x="948" y="650"/>
                </a:lnTo>
                <a:lnTo>
                  <a:pt x="945" y="646"/>
                </a:lnTo>
                <a:lnTo>
                  <a:pt x="937" y="650"/>
                </a:lnTo>
                <a:lnTo>
                  <a:pt x="932" y="658"/>
                </a:lnTo>
                <a:lnTo>
                  <a:pt x="930" y="658"/>
                </a:lnTo>
                <a:lnTo>
                  <a:pt x="917" y="646"/>
                </a:lnTo>
                <a:lnTo>
                  <a:pt x="920" y="654"/>
                </a:lnTo>
                <a:lnTo>
                  <a:pt x="926" y="658"/>
                </a:lnTo>
                <a:lnTo>
                  <a:pt x="924" y="667"/>
                </a:lnTo>
                <a:lnTo>
                  <a:pt x="930" y="671"/>
                </a:lnTo>
                <a:lnTo>
                  <a:pt x="926" y="678"/>
                </a:lnTo>
                <a:lnTo>
                  <a:pt x="928" y="678"/>
                </a:lnTo>
                <a:lnTo>
                  <a:pt x="928" y="680"/>
                </a:lnTo>
                <a:lnTo>
                  <a:pt x="930" y="680"/>
                </a:lnTo>
                <a:lnTo>
                  <a:pt x="930" y="678"/>
                </a:lnTo>
                <a:lnTo>
                  <a:pt x="932" y="682"/>
                </a:lnTo>
                <a:lnTo>
                  <a:pt x="941" y="684"/>
                </a:lnTo>
                <a:lnTo>
                  <a:pt x="932" y="682"/>
                </a:lnTo>
                <a:lnTo>
                  <a:pt x="932" y="693"/>
                </a:lnTo>
                <a:lnTo>
                  <a:pt x="928" y="691"/>
                </a:lnTo>
                <a:lnTo>
                  <a:pt x="920" y="702"/>
                </a:lnTo>
                <a:lnTo>
                  <a:pt x="911" y="702"/>
                </a:lnTo>
                <a:lnTo>
                  <a:pt x="911" y="710"/>
                </a:lnTo>
                <a:lnTo>
                  <a:pt x="909" y="710"/>
                </a:lnTo>
                <a:lnTo>
                  <a:pt x="904" y="721"/>
                </a:lnTo>
                <a:lnTo>
                  <a:pt x="881" y="741"/>
                </a:lnTo>
                <a:lnTo>
                  <a:pt x="868" y="747"/>
                </a:lnTo>
                <a:lnTo>
                  <a:pt x="870" y="745"/>
                </a:lnTo>
                <a:lnTo>
                  <a:pt x="861" y="745"/>
                </a:lnTo>
                <a:lnTo>
                  <a:pt x="848" y="749"/>
                </a:lnTo>
                <a:lnTo>
                  <a:pt x="846" y="758"/>
                </a:lnTo>
                <a:lnTo>
                  <a:pt x="868" y="747"/>
                </a:lnTo>
                <a:lnTo>
                  <a:pt x="827" y="769"/>
                </a:lnTo>
                <a:lnTo>
                  <a:pt x="844" y="760"/>
                </a:lnTo>
                <a:lnTo>
                  <a:pt x="844" y="751"/>
                </a:lnTo>
                <a:lnTo>
                  <a:pt x="822" y="760"/>
                </a:lnTo>
                <a:lnTo>
                  <a:pt x="831" y="758"/>
                </a:lnTo>
                <a:lnTo>
                  <a:pt x="822" y="753"/>
                </a:lnTo>
                <a:lnTo>
                  <a:pt x="831" y="743"/>
                </a:lnTo>
                <a:lnTo>
                  <a:pt x="827" y="749"/>
                </a:lnTo>
                <a:lnTo>
                  <a:pt x="818" y="751"/>
                </a:lnTo>
                <a:lnTo>
                  <a:pt x="820" y="747"/>
                </a:lnTo>
                <a:lnTo>
                  <a:pt x="816" y="753"/>
                </a:lnTo>
                <a:lnTo>
                  <a:pt x="814" y="758"/>
                </a:lnTo>
                <a:lnTo>
                  <a:pt x="812" y="751"/>
                </a:lnTo>
                <a:lnTo>
                  <a:pt x="812" y="747"/>
                </a:lnTo>
                <a:lnTo>
                  <a:pt x="809" y="747"/>
                </a:lnTo>
                <a:lnTo>
                  <a:pt x="805" y="745"/>
                </a:lnTo>
                <a:lnTo>
                  <a:pt x="805" y="749"/>
                </a:lnTo>
                <a:lnTo>
                  <a:pt x="809" y="747"/>
                </a:lnTo>
                <a:lnTo>
                  <a:pt x="809" y="753"/>
                </a:lnTo>
                <a:lnTo>
                  <a:pt x="812" y="758"/>
                </a:lnTo>
                <a:lnTo>
                  <a:pt x="801" y="762"/>
                </a:lnTo>
                <a:lnTo>
                  <a:pt x="805" y="758"/>
                </a:lnTo>
                <a:lnTo>
                  <a:pt x="805" y="751"/>
                </a:lnTo>
                <a:lnTo>
                  <a:pt x="803" y="758"/>
                </a:lnTo>
                <a:lnTo>
                  <a:pt x="801" y="758"/>
                </a:lnTo>
                <a:lnTo>
                  <a:pt x="801" y="753"/>
                </a:lnTo>
                <a:lnTo>
                  <a:pt x="796" y="753"/>
                </a:lnTo>
                <a:lnTo>
                  <a:pt x="796" y="749"/>
                </a:lnTo>
                <a:lnTo>
                  <a:pt x="796" y="741"/>
                </a:lnTo>
                <a:lnTo>
                  <a:pt x="796" y="749"/>
                </a:lnTo>
                <a:lnTo>
                  <a:pt x="794" y="747"/>
                </a:lnTo>
                <a:lnTo>
                  <a:pt x="788" y="747"/>
                </a:lnTo>
                <a:lnTo>
                  <a:pt x="788" y="749"/>
                </a:lnTo>
                <a:lnTo>
                  <a:pt x="794" y="753"/>
                </a:lnTo>
                <a:lnTo>
                  <a:pt x="790" y="762"/>
                </a:lnTo>
                <a:lnTo>
                  <a:pt x="796" y="760"/>
                </a:lnTo>
                <a:lnTo>
                  <a:pt x="803" y="766"/>
                </a:lnTo>
                <a:lnTo>
                  <a:pt x="796" y="769"/>
                </a:lnTo>
                <a:lnTo>
                  <a:pt x="799" y="773"/>
                </a:lnTo>
                <a:lnTo>
                  <a:pt x="803" y="766"/>
                </a:lnTo>
                <a:lnTo>
                  <a:pt x="812" y="775"/>
                </a:lnTo>
                <a:lnTo>
                  <a:pt x="788" y="784"/>
                </a:lnTo>
                <a:lnTo>
                  <a:pt x="783" y="782"/>
                </a:lnTo>
                <a:lnTo>
                  <a:pt x="783" y="777"/>
                </a:lnTo>
                <a:lnTo>
                  <a:pt x="781" y="777"/>
                </a:lnTo>
                <a:lnTo>
                  <a:pt x="779" y="769"/>
                </a:lnTo>
                <a:lnTo>
                  <a:pt x="773" y="773"/>
                </a:lnTo>
                <a:lnTo>
                  <a:pt x="779" y="773"/>
                </a:lnTo>
                <a:lnTo>
                  <a:pt x="779" y="775"/>
                </a:lnTo>
                <a:lnTo>
                  <a:pt x="779" y="777"/>
                </a:lnTo>
                <a:lnTo>
                  <a:pt x="771" y="777"/>
                </a:lnTo>
                <a:lnTo>
                  <a:pt x="777" y="782"/>
                </a:lnTo>
                <a:lnTo>
                  <a:pt x="779" y="784"/>
                </a:lnTo>
                <a:lnTo>
                  <a:pt x="777" y="790"/>
                </a:lnTo>
                <a:lnTo>
                  <a:pt x="779" y="792"/>
                </a:lnTo>
                <a:lnTo>
                  <a:pt x="777" y="794"/>
                </a:lnTo>
                <a:lnTo>
                  <a:pt x="764" y="801"/>
                </a:lnTo>
                <a:lnTo>
                  <a:pt x="766" y="790"/>
                </a:lnTo>
                <a:lnTo>
                  <a:pt x="762" y="794"/>
                </a:lnTo>
                <a:lnTo>
                  <a:pt x="764" y="797"/>
                </a:lnTo>
                <a:lnTo>
                  <a:pt x="762" y="801"/>
                </a:lnTo>
                <a:lnTo>
                  <a:pt x="755" y="801"/>
                </a:lnTo>
                <a:lnTo>
                  <a:pt x="758" y="794"/>
                </a:lnTo>
                <a:lnTo>
                  <a:pt x="749" y="801"/>
                </a:lnTo>
                <a:lnTo>
                  <a:pt x="749" y="799"/>
                </a:lnTo>
                <a:lnTo>
                  <a:pt x="747" y="799"/>
                </a:lnTo>
                <a:lnTo>
                  <a:pt x="747" y="801"/>
                </a:lnTo>
                <a:lnTo>
                  <a:pt x="738" y="807"/>
                </a:lnTo>
                <a:lnTo>
                  <a:pt x="738" y="810"/>
                </a:lnTo>
                <a:lnTo>
                  <a:pt x="736" y="812"/>
                </a:lnTo>
                <a:lnTo>
                  <a:pt x="738" y="810"/>
                </a:lnTo>
                <a:lnTo>
                  <a:pt x="749" y="810"/>
                </a:lnTo>
                <a:lnTo>
                  <a:pt x="755" y="803"/>
                </a:lnTo>
                <a:lnTo>
                  <a:pt x="758" y="812"/>
                </a:lnTo>
                <a:lnTo>
                  <a:pt x="749" y="823"/>
                </a:lnTo>
                <a:lnTo>
                  <a:pt x="745" y="831"/>
                </a:lnTo>
                <a:lnTo>
                  <a:pt x="738" y="829"/>
                </a:lnTo>
                <a:lnTo>
                  <a:pt x="740" y="829"/>
                </a:lnTo>
                <a:lnTo>
                  <a:pt x="736" y="825"/>
                </a:lnTo>
                <a:lnTo>
                  <a:pt x="729" y="829"/>
                </a:lnTo>
                <a:lnTo>
                  <a:pt x="732" y="825"/>
                </a:lnTo>
                <a:lnTo>
                  <a:pt x="719" y="827"/>
                </a:lnTo>
                <a:lnTo>
                  <a:pt x="719" y="825"/>
                </a:lnTo>
                <a:lnTo>
                  <a:pt x="717" y="827"/>
                </a:lnTo>
                <a:lnTo>
                  <a:pt x="719" y="827"/>
                </a:lnTo>
                <a:lnTo>
                  <a:pt x="719" y="829"/>
                </a:lnTo>
                <a:lnTo>
                  <a:pt x="727" y="829"/>
                </a:lnTo>
                <a:lnTo>
                  <a:pt x="727" y="833"/>
                </a:lnTo>
                <a:lnTo>
                  <a:pt x="734" y="840"/>
                </a:lnTo>
                <a:lnTo>
                  <a:pt x="729" y="840"/>
                </a:lnTo>
                <a:lnTo>
                  <a:pt x="732" y="842"/>
                </a:lnTo>
                <a:lnTo>
                  <a:pt x="729" y="846"/>
                </a:lnTo>
                <a:lnTo>
                  <a:pt x="727" y="846"/>
                </a:lnTo>
                <a:lnTo>
                  <a:pt x="729" y="846"/>
                </a:lnTo>
                <a:lnTo>
                  <a:pt x="734" y="842"/>
                </a:lnTo>
                <a:lnTo>
                  <a:pt x="738" y="842"/>
                </a:lnTo>
                <a:lnTo>
                  <a:pt x="732" y="855"/>
                </a:lnTo>
                <a:lnTo>
                  <a:pt x="723" y="877"/>
                </a:lnTo>
                <a:lnTo>
                  <a:pt x="717" y="877"/>
                </a:lnTo>
                <a:lnTo>
                  <a:pt x="717" y="866"/>
                </a:lnTo>
                <a:lnTo>
                  <a:pt x="714" y="874"/>
                </a:lnTo>
                <a:lnTo>
                  <a:pt x="708" y="879"/>
                </a:lnTo>
                <a:lnTo>
                  <a:pt x="697" y="866"/>
                </a:lnTo>
                <a:lnTo>
                  <a:pt x="701" y="879"/>
                </a:lnTo>
                <a:lnTo>
                  <a:pt x="695" y="879"/>
                </a:lnTo>
                <a:lnTo>
                  <a:pt x="714" y="883"/>
                </a:lnTo>
                <a:lnTo>
                  <a:pt x="723" y="881"/>
                </a:lnTo>
                <a:lnTo>
                  <a:pt x="717" y="898"/>
                </a:lnTo>
                <a:lnTo>
                  <a:pt x="719" y="907"/>
                </a:lnTo>
                <a:lnTo>
                  <a:pt x="712" y="909"/>
                </a:lnTo>
                <a:lnTo>
                  <a:pt x="712" y="922"/>
                </a:lnTo>
                <a:lnTo>
                  <a:pt x="717" y="926"/>
                </a:lnTo>
                <a:lnTo>
                  <a:pt x="719" y="943"/>
                </a:lnTo>
                <a:lnTo>
                  <a:pt x="721" y="950"/>
                </a:lnTo>
                <a:lnTo>
                  <a:pt x="719" y="956"/>
                </a:lnTo>
                <a:lnTo>
                  <a:pt x="721" y="963"/>
                </a:lnTo>
                <a:lnTo>
                  <a:pt x="727" y="965"/>
                </a:lnTo>
                <a:lnTo>
                  <a:pt x="729" y="982"/>
                </a:lnTo>
                <a:lnTo>
                  <a:pt x="736" y="993"/>
                </a:lnTo>
                <a:lnTo>
                  <a:pt x="734" y="1002"/>
                </a:lnTo>
                <a:lnTo>
                  <a:pt x="738" y="997"/>
                </a:lnTo>
                <a:lnTo>
                  <a:pt x="745" y="1004"/>
                </a:lnTo>
                <a:lnTo>
                  <a:pt x="732" y="1004"/>
                </a:lnTo>
                <a:lnTo>
                  <a:pt x="732" y="1006"/>
                </a:lnTo>
                <a:lnTo>
                  <a:pt x="723" y="1008"/>
                </a:lnTo>
                <a:lnTo>
                  <a:pt x="723" y="1013"/>
                </a:lnTo>
                <a:lnTo>
                  <a:pt x="721" y="1013"/>
                </a:lnTo>
                <a:lnTo>
                  <a:pt x="706" y="1006"/>
                </a:lnTo>
                <a:lnTo>
                  <a:pt x="708" y="1004"/>
                </a:lnTo>
                <a:lnTo>
                  <a:pt x="706" y="1004"/>
                </a:lnTo>
                <a:lnTo>
                  <a:pt x="701" y="997"/>
                </a:lnTo>
                <a:lnTo>
                  <a:pt x="684" y="993"/>
                </a:lnTo>
                <a:lnTo>
                  <a:pt x="669" y="993"/>
                </a:lnTo>
                <a:lnTo>
                  <a:pt x="667" y="995"/>
                </a:lnTo>
                <a:lnTo>
                  <a:pt x="665" y="993"/>
                </a:lnTo>
                <a:lnTo>
                  <a:pt x="654" y="993"/>
                </a:lnTo>
                <a:lnTo>
                  <a:pt x="647" y="989"/>
                </a:lnTo>
                <a:lnTo>
                  <a:pt x="650" y="989"/>
                </a:lnTo>
                <a:lnTo>
                  <a:pt x="647" y="987"/>
                </a:lnTo>
                <a:lnTo>
                  <a:pt x="643" y="989"/>
                </a:lnTo>
                <a:lnTo>
                  <a:pt x="643" y="982"/>
                </a:lnTo>
                <a:lnTo>
                  <a:pt x="639" y="982"/>
                </a:lnTo>
                <a:lnTo>
                  <a:pt x="634" y="978"/>
                </a:lnTo>
                <a:lnTo>
                  <a:pt x="632" y="978"/>
                </a:lnTo>
                <a:lnTo>
                  <a:pt x="622" y="974"/>
                </a:lnTo>
                <a:lnTo>
                  <a:pt x="615" y="976"/>
                </a:lnTo>
                <a:lnTo>
                  <a:pt x="604" y="961"/>
                </a:lnTo>
                <a:lnTo>
                  <a:pt x="598" y="963"/>
                </a:lnTo>
                <a:lnTo>
                  <a:pt x="593" y="961"/>
                </a:lnTo>
                <a:lnTo>
                  <a:pt x="581" y="956"/>
                </a:lnTo>
                <a:lnTo>
                  <a:pt x="581" y="950"/>
                </a:lnTo>
                <a:lnTo>
                  <a:pt x="574" y="946"/>
                </a:lnTo>
                <a:lnTo>
                  <a:pt x="574" y="941"/>
                </a:lnTo>
                <a:lnTo>
                  <a:pt x="565" y="915"/>
                </a:lnTo>
                <a:lnTo>
                  <a:pt x="557" y="907"/>
                </a:lnTo>
                <a:lnTo>
                  <a:pt x="557" y="905"/>
                </a:lnTo>
                <a:lnTo>
                  <a:pt x="552" y="898"/>
                </a:lnTo>
                <a:lnTo>
                  <a:pt x="555" y="883"/>
                </a:lnTo>
                <a:lnTo>
                  <a:pt x="552" y="877"/>
                </a:lnTo>
                <a:lnTo>
                  <a:pt x="544" y="872"/>
                </a:lnTo>
                <a:lnTo>
                  <a:pt x="550" y="857"/>
                </a:lnTo>
                <a:lnTo>
                  <a:pt x="548" y="855"/>
                </a:lnTo>
                <a:lnTo>
                  <a:pt x="548" y="844"/>
                </a:lnTo>
                <a:lnTo>
                  <a:pt x="533" y="840"/>
                </a:lnTo>
                <a:lnTo>
                  <a:pt x="524" y="829"/>
                </a:lnTo>
                <a:lnTo>
                  <a:pt x="520" y="827"/>
                </a:lnTo>
                <a:lnTo>
                  <a:pt x="516" y="810"/>
                </a:lnTo>
                <a:lnTo>
                  <a:pt x="509" y="807"/>
                </a:lnTo>
                <a:lnTo>
                  <a:pt x="503" y="792"/>
                </a:lnTo>
                <a:lnTo>
                  <a:pt x="492" y="786"/>
                </a:lnTo>
                <a:lnTo>
                  <a:pt x="492" y="784"/>
                </a:lnTo>
                <a:lnTo>
                  <a:pt x="488" y="779"/>
                </a:lnTo>
                <a:lnTo>
                  <a:pt x="488" y="777"/>
                </a:lnTo>
                <a:lnTo>
                  <a:pt x="483" y="769"/>
                </a:lnTo>
                <a:lnTo>
                  <a:pt x="479" y="762"/>
                </a:lnTo>
                <a:lnTo>
                  <a:pt x="483" y="760"/>
                </a:lnTo>
                <a:lnTo>
                  <a:pt x="477" y="753"/>
                </a:lnTo>
                <a:lnTo>
                  <a:pt x="479" y="749"/>
                </a:lnTo>
                <a:lnTo>
                  <a:pt x="473" y="745"/>
                </a:lnTo>
                <a:lnTo>
                  <a:pt x="466" y="721"/>
                </a:lnTo>
                <a:lnTo>
                  <a:pt x="460" y="719"/>
                </a:lnTo>
                <a:lnTo>
                  <a:pt x="460" y="704"/>
                </a:lnTo>
                <a:lnTo>
                  <a:pt x="453" y="695"/>
                </a:lnTo>
                <a:lnTo>
                  <a:pt x="451" y="687"/>
                </a:lnTo>
                <a:lnTo>
                  <a:pt x="434" y="676"/>
                </a:lnTo>
                <a:lnTo>
                  <a:pt x="427" y="665"/>
                </a:lnTo>
                <a:lnTo>
                  <a:pt x="412" y="661"/>
                </a:lnTo>
                <a:lnTo>
                  <a:pt x="416" y="650"/>
                </a:lnTo>
                <a:lnTo>
                  <a:pt x="410" y="654"/>
                </a:lnTo>
                <a:lnTo>
                  <a:pt x="410" y="648"/>
                </a:lnTo>
                <a:lnTo>
                  <a:pt x="406" y="648"/>
                </a:lnTo>
                <a:lnTo>
                  <a:pt x="403" y="637"/>
                </a:lnTo>
                <a:lnTo>
                  <a:pt x="403" y="635"/>
                </a:lnTo>
                <a:lnTo>
                  <a:pt x="397" y="637"/>
                </a:lnTo>
                <a:lnTo>
                  <a:pt x="397" y="635"/>
                </a:lnTo>
                <a:lnTo>
                  <a:pt x="393" y="635"/>
                </a:lnTo>
                <a:lnTo>
                  <a:pt x="391" y="633"/>
                </a:lnTo>
                <a:lnTo>
                  <a:pt x="388" y="635"/>
                </a:lnTo>
                <a:lnTo>
                  <a:pt x="384" y="635"/>
                </a:lnTo>
                <a:lnTo>
                  <a:pt x="373" y="633"/>
                </a:lnTo>
                <a:lnTo>
                  <a:pt x="371" y="633"/>
                </a:lnTo>
                <a:lnTo>
                  <a:pt x="369" y="630"/>
                </a:lnTo>
                <a:lnTo>
                  <a:pt x="360" y="633"/>
                </a:lnTo>
                <a:lnTo>
                  <a:pt x="356" y="628"/>
                </a:lnTo>
                <a:lnTo>
                  <a:pt x="347" y="633"/>
                </a:lnTo>
                <a:lnTo>
                  <a:pt x="328" y="620"/>
                </a:lnTo>
                <a:lnTo>
                  <a:pt x="326" y="626"/>
                </a:lnTo>
                <a:lnTo>
                  <a:pt x="324" y="633"/>
                </a:lnTo>
                <a:lnTo>
                  <a:pt x="313" y="630"/>
                </a:lnTo>
                <a:lnTo>
                  <a:pt x="308" y="633"/>
                </a:lnTo>
                <a:lnTo>
                  <a:pt x="308" y="630"/>
                </a:lnTo>
                <a:lnTo>
                  <a:pt x="304" y="633"/>
                </a:lnTo>
                <a:lnTo>
                  <a:pt x="298" y="633"/>
                </a:lnTo>
                <a:lnTo>
                  <a:pt x="289" y="650"/>
                </a:lnTo>
                <a:lnTo>
                  <a:pt x="287" y="663"/>
                </a:lnTo>
                <a:lnTo>
                  <a:pt x="280" y="667"/>
                </a:lnTo>
                <a:lnTo>
                  <a:pt x="276" y="676"/>
                </a:lnTo>
                <a:lnTo>
                  <a:pt x="280" y="680"/>
                </a:lnTo>
                <a:lnTo>
                  <a:pt x="272" y="682"/>
                </a:lnTo>
                <a:lnTo>
                  <a:pt x="257" y="700"/>
                </a:lnTo>
                <a:lnTo>
                  <a:pt x="246" y="697"/>
                </a:lnTo>
                <a:lnTo>
                  <a:pt x="244" y="700"/>
                </a:lnTo>
                <a:lnTo>
                  <a:pt x="242" y="693"/>
                </a:lnTo>
                <a:lnTo>
                  <a:pt x="237" y="695"/>
                </a:lnTo>
                <a:lnTo>
                  <a:pt x="229" y="691"/>
                </a:lnTo>
                <a:lnTo>
                  <a:pt x="226" y="682"/>
                </a:lnTo>
                <a:lnTo>
                  <a:pt x="211" y="678"/>
                </a:lnTo>
                <a:lnTo>
                  <a:pt x="209" y="671"/>
                </a:lnTo>
                <a:lnTo>
                  <a:pt x="207" y="671"/>
                </a:lnTo>
                <a:lnTo>
                  <a:pt x="207" y="667"/>
                </a:lnTo>
                <a:lnTo>
                  <a:pt x="207" y="669"/>
                </a:lnTo>
                <a:lnTo>
                  <a:pt x="183" y="663"/>
                </a:lnTo>
                <a:lnTo>
                  <a:pt x="177" y="654"/>
                </a:lnTo>
                <a:lnTo>
                  <a:pt x="175" y="648"/>
                </a:lnTo>
                <a:lnTo>
                  <a:pt x="159" y="639"/>
                </a:lnTo>
                <a:lnTo>
                  <a:pt x="147" y="626"/>
                </a:lnTo>
                <a:lnTo>
                  <a:pt x="144" y="613"/>
                </a:lnTo>
                <a:lnTo>
                  <a:pt x="140" y="602"/>
                </a:lnTo>
                <a:lnTo>
                  <a:pt x="136" y="589"/>
                </a:lnTo>
                <a:lnTo>
                  <a:pt x="142" y="581"/>
                </a:lnTo>
                <a:lnTo>
                  <a:pt x="140" y="572"/>
                </a:lnTo>
                <a:lnTo>
                  <a:pt x="131" y="561"/>
                </a:lnTo>
                <a:lnTo>
                  <a:pt x="131" y="557"/>
                </a:lnTo>
                <a:lnTo>
                  <a:pt x="129" y="557"/>
                </a:lnTo>
                <a:lnTo>
                  <a:pt x="127" y="540"/>
                </a:lnTo>
                <a:lnTo>
                  <a:pt x="118" y="533"/>
                </a:lnTo>
                <a:lnTo>
                  <a:pt x="118" y="529"/>
                </a:lnTo>
                <a:lnTo>
                  <a:pt x="114" y="529"/>
                </a:lnTo>
                <a:lnTo>
                  <a:pt x="101" y="516"/>
                </a:lnTo>
                <a:lnTo>
                  <a:pt x="99" y="516"/>
                </a:lnTo>
                <a:lnTo>
                  <a:pt x="97" y="514"/>
                </a:lnTo>
                <a:lnTo>
                  <a:pt x="95" y="514"/>
                </a:lnTo>
                <a:lnTo>
                  <a:pt x="90" y="512"/>
                </a:lnTo>
                <a:lnTo>
                  <a:pt x="90" y="505"/>
                </a:lnTo>
                <a:lnTo>
                  <a:pt x="77" y="497"/>
                </a:lnTo>
                <a:lnTo>
                  <a:pt x="75" y="486"/>
                </a:lnTo>
                <a:lnTo>
                  <a:pt x="62" y="479"/>
                </a:lnTo>
                <a:lnTo>
                  <a:pt x="47" y="456"/>
                </a:lnTo>
              </a:path>
            </a:pathLst>
          </a:custGeom>
          <a:solidFill>
            <a:srgbClr val="FFC000"/>
          </a:solidFill>
          <a:ln w="9525">
            <a:solidFill>
              <a:schemeClr val="tx1"/>
            </a:solidFill>
            <a:headEnd/>
            <a:tailEnd/>
          </a:ln>
        </p:spPr>
        <p:style>
          <a:lnRef idx="3">
            <a:schemeClr val="accent4"/>
          </a:lnRef>
          <a:fillRef idx="0">
            <a:schemeClr val="accent4"/>
          </a:fillRef>
          <a:effectRef idx="2">
            <a:schemeClr val="accent4"/>
          </a:effectRef>
          <a:fontRef idx="minor">
            <a:schemeClr val="tx1"/>
          </a:fontRef>
        </p:style>
        <p:txBody>
          <a:bodyPr/>
          <a:lstStyle/>
          <a:p>
            <a:endParaRPr lang="en-US" dirty="0">
              <a:solidFill>
                <a:prstClr val="black"/>
              </a:solidFill>
            </a:endParaRPr>
          </a:p>
        </p:txBody>
      </p:sp>
      <p:sp>
        <p:nvSpPr>
          <p:cNvPr id="268" name="Freeform 101">
            <a:extLst>
              <a:ext uri="{FF2B5EF4-FFF2-40B4-BE49-F238E27FC236}">
                <a16:creationId xmlns:a16="http://schemas.microsoft.com/office/drawing/2014/main" id="{DA321592-2B26-4B62-959B-254DB0FB3969}"/>
              </a:ext>
            </a:extLst>
          </p:cNvPr>
          <p:cNvSpPr>
            <a:spLocks/>
          </p:cNvSpPr>
          <p:nvPr>
            <p:custDataLst>
              <p:tags r:id="rId92"/>
            </p:custDataLst>
          </p:nvPr>
        </p:nvSpPr>
        <p:spPr bwMode="auto">
          <a:xfrm>
            <a:off x="4000811" y="4126876"/>
            <a:ext cx="1054353" cy="1147863"/>
          </a:xfrm>
          <a:custGeom>
            <a:avLst/>
            <a:gdLst>
              <a:gd name="T0" fmla="*/ 2147483647 w 521"/>
              <a:gd name="T1" fmla="*/ 2147483647 h 531"/>
              <a:gd name="T2" fmla="*/ 2147483647 w 521"/>
              <a:gd name="T3" fmla="*/ 2147483647 h 531"/>
              <a:gd name="T4" fmla="*/ 2147483647 w 521"/>
              <a:gd name="T5" fmla="*/ 2147483647 h 531"/>
              <a:gd name="T6" fmla="*/ 2147483647 w 521"/>
              <a:gd name="T7" fmla="*/ 2147483647 h 531"/>
              <a:gd name="T8" fmla="*/ 2147483647 w 521"/>
              <a:gd name="T9" fmla="*/ 2147483647 h 531"/>
              <a:gd name="T10" fmla="*/ 2147483647 w 521"/>
              <a:gd name="T11" fmla="*/ 2147483647 h 531"/>
              <a:gd name="T12" fmla="*/ 2147483647 w 521"/>
              <a:gd name="T13" fmla="*/ 2147483647 h 531"/>
              <a:gd name="T14" fmla="*/ 2147483647 w 521"/>
              <a:gd name="T15" fmla="*/ 0 h 531"/>
              <a:gd name="T16" fmla="*/ 2147483647 w 521"/>
              <a:gd name="T17" fmla="*/ 2147483647 h 531"/>
              <a:gd name="T18" fmla="*/ 2147483647 w 521"/>
              <a:gd name="T19" fmla="*/ 2147483647 h 531"/>
              <a:gd name="T20" fmla="*/ 2147483647 w 521"/>
              <a:gd name="T21" fmla="*/ 2147483647 h 531"/>
              <a:gd name="T22" fmla="*/ 2147483647 w 521"/>
              <a:gd name="T23" fmla="*/ 2147483647 h 531"/>
              <a:gd name="T24" fmla="*/ 2147483647 w 521"/>
              <a:gd name="T25" fmla="*/ 2147483647 h 531"/>
              <a:gd name="T26" fmla="*/ 2147483647 w 521"/>
              <a:gd name="T27" fmla="*/ 2147483647 h 531"/>
              <a:gd name="T28" fmla="*/ 2147483647 w 521"/>
              <a:gd name="T29" fmla="*/ 2147483647 h 531"/>
              <a:gd name="T30" fmla="*/ 2147483647 w 521"/>
              <a:gd name="T31" fmla="*/ 2147483647 h 531"/>
              <a:gd name="T32" fmla="*/ 2147483647 w 521"/>
              <a:gd name="T33" fmla="*/ 2147483647 h 531"/>
              <a:gd name="T34" fmla="*/ 2147483647 w 521"/>
              <a:gd name="T35" fmla="*/ 2147483647 h 531"/>
              <a:gd name="T36" fmla="*/ 2147483647 w 521"/>
              <a:gd name="T37" fmla="*/ 2147483647 h 531"/>
              <a:gd name="T38" fmla="*/ 2147483647 w 521"/>
              <a:gd name="T39" fmla="*/ 2147483647 h 531"/>
              <a:gd name="T40" fmla="*/ 2147483647 w 521"/>
              <a:gd name="T41" fmla="*/ 2147483647 h 531"/>
              <a:gd name="T42" fmla="*/ 2147483647 w 521"/>
              <a:gd name="T43" fmla="*/ 2147483647 h 531"/>
              <a:gd name="T44" fmla="*/ 2147483647 w 521"/>
              <a:gd name="T45" fmla="*/ 2147483647 h 531"/>
              <a:gd name="T46" fmla="*/ 2147483647 w 521"/>
              <a:gd name="T47" fmla="*/ 2147483647 h 531"/>
              <a:gd name="T48" fmla="*/ 2147483647 w 521"/>
              <a:gd name="T49" fmla="*/ 2147483647 h 531"/>
              <a:gd name="T50" fmla="*/ 2147483647 w 521"/>
              <a:gd name="T51" fmla="*/ 2147483647 h 531"/>
              <a:gd name="T52" fmla="*/ 2147483647 w 521"/>
              <a:gd name="T53" fmla="*/ 2147483647 h 531"/>
              <a:gd name="T54" fmla="*/ 2147483647 w 521"/>
              <a:gd name="T55" fmla="*/ 2147483647 h 531"/>
              <a:gd name="T56" fmla="*/ 2147483647 w 521"/>
              <a:gd name="T57" fmla="*/ 2147483647 h 531"/>
              <a:gd name="T58" fmla="*/ 2147483647 w 521"/>
              <a:gd name="T59" fmla="*/ 2147483647 h 531"/>
              <a:gd name="T60" fmla="*/ 2147483647 w 521"/>
              <a:gd name="T61" fmla="*/ 2147483647 h 531"/>
              <a:gd name="T62" fmla="*/ 2147483647 w 521"/>
              <a:gd name="T63" fmla="*/ 2147483647 h 531"/>
              <a:gd name="T64" fmla="*/ 2147483647 w 521"/>
              <a:gd name="T65" fmla="*/ 2147483647 h 531"/>
              <a:gd name="T66" fmla="*/ 2147483647 w 521"/>
              <a:gd name="T67" fmla="*/ 2147483647 h 531"/>
              <a:gd name="T68" fmla="*/ 2147483647 w 521"/>
              <a:gd name="T69" fmla="*/ 2147483647 h 531"/>
              <a:gd name="T70" fmla="*/ 2147483647 w 521"/>
              <a:gd name="T71" fmla="*/ 2147483647 h 531"/>
              <a:gd name="T72" fmla="*/ 2147483647 w 521"/>
              <a:gd name="T73" fmla="*/ 2147483647 h 531"/>
              <a:gd name="T74" fmla="*/ 2147483647 w 521"/>
              <a:gd name="T75" fmla="*/ 2147483647 h 531"/>
              <a:gd name="T76" fmla="*/ 2147483647 w 521"/>
              <a:gd name="T77" fmla="*/ 2147483647 h 531"/>
              <a:gd name="T78" fmla="*/ 2147483647 w 521"/>
              <a:gd name="T79" fmla="*/ 2147483647 h 531"/>
              <a:gd name="T80" fmla="*/ 2147483647 w 521"/>
              <a:gd name="T81" fmla="*/ 2147483647 h 531"/>
              <a:gd name="T82" fmla="*/ 2147483647 w 521"/>
              <a:gd name="T83" fmla="*/ 2147483647 h 531"/>
              <a:gd name="T84" fmla="*/ 2147483647 w 521"/>
              <a:gd name="T85" fmla="*/ 2147483647 h 531"/>
              <a:gd name="T86" fmla="*/ 2147483647 w 521"/>
              <a:gd name="T87" fmla="*/ 2147483647 h 531"/>
              <a:gd name="T88" fmla="*/ 2147483647 w 521"/>
              <a:gd name="T89" fmla="*/ 2147483647 h 531"/>
              <a:gd name="T90" fmla="*/ 2147483647 w 521"/>
              <a:gd name="T91" fmla="*/ 2147483647 h 531"/>
              <a:gd name="T92" fmla="*/ 2147483647 w 521"/>
              <a:gd name="T93" fmla="*/ 2147483647 h 531"/>
              <a:gd name="T94" fmla="*/ 2147483647 w 521"/>
              <a:gd name="T95" fmla="*/ 2147483647 h 531"/>
              <a:gd name="T96" fmla="*/ 2147483647 w 521"/>
              <a:gd name="T97" fmla="*/ 2147483647 h 531"/>
              <a:gd name="T98" fmla="*/ 2147483647 w 521"/>
              <a:gd name="T99" fmla="*/ 2147483647 h 531"/>
              <a:gd name="T100" fmla="*/ 2147483647 w 521"/>
              <a:gd name="T101" fmla="*/ 2147483647 h 531"/>
              <a:gd name="T102" fmla="*/ 2147483647 w 521"/>
              <a:gd name="T103" fmla="*/ 2147483647 h 531"/>
              <a:gd name="T104" fmla="*/ 2147483647 w 521"/>
              <a:gd name="T105" fmla="*/ 2147483647 h 531"/>
              <a:gd name="T106" fmla="*/ 2147483647 w 521"/>
              <a:gd name="T107" fmla="*/ 2147483647 h 531"/>
              <a:gd name="T108" fmla="*/ 2147483647 w 521"/>
              <a:gd name="T109" fmla="*/ 2147483647 h 531"/>
              <a:gd name="T110" fmla="*/ 2147483647 w 521"/>
              <a:gd name="T111" fmla="*/ 2147483647 h 531"/>
              <a:gd name="T112" fmla="*/ 0 w 521"/>
              <a:gd name="T113" fmla="*/ 2147483647 h 531"/>
              <a:gd name="T114" fmla="*/ 2147483647 w 521"/>
              <a:gd name="T115" fmla="*/ 2147483647 h 5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1"/>
              <a:gd name="T175" fmla="*/ 0 h 531"/>
              <a:gd name="T176" fmla="*/ 521 w 521"/>
              <a:gd name="T177" fmla="*/ 531 h 5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1" h="531">
                <a:moveTo>
                  <a:pt x="15" y="421"/>
                </a:moveTo>
                <a:lnTo>
                  <a:pt x="17" y="389"/>
                </a:lnTo>
                <a:lnTo>
                  <a:pt x="26" y="350"/>
                </a:lnTo>
                <a:lnTo>
                  <a:pt x="33" y="298"/>
                </a:lnTo>
                <a:lnTo>
                  <a:pt x="43" y="223"/>
                </a:lnTo>
                <a:lnTo>
                  <a:pt x="48" y="188"/>
                </a:lnTo>
                <a:lnTo>
                  <a:pt x="61" y="91"/>
                </a:lnTo>
                <a:lnTo>
                  <a:pt x="74" y="0"/>
                </a:lnTo>
                <a:lnTo>
                  <a:pt x="123" y="7"/>
                </a:lnTo>
                <a:lnTo>
                  <a:pt x="190" y="15"/>
                </a:lnTo>
                <a:lnTo>
                  <a:pt x="195" y="15"/>
                </a:lnTo>
                <a:lnTo>
                  <a:pt x="231" y="20"/>
                </a:lnTo>
                <a:lnTo>
                  <a:pt x="233" y="22"/>
                </a:lnTo>
                <a:lnTo>
                  <a:pt x="264" y="24"/>
                </a:lnTo>
                <a:lnTo>
                  <a:pt x="298" y="26"/>
                </a:lnTo>
                <a:lnTo>
                  <a:pt x="320" y="28"/>
                </a:lnTo>
                <a:lnTo>
                  <a:pt x="356" y="35"/>
                </a:lnTo>
                <a:lnTo>
                  <a:pt x="361" y="35"/>
                </a:lnTo>
                <a:lnTo>
                  <a:pt x="445" y="41"/>
                </a:lnTo>
                <a:lnTo>
                  <a:pt x="516" y="48"/>
                </a:lnTo>
                <a:lnTo>
                  <a:pt x="521" y="48"/>
                </a:lnTo>
                <a:lnTo>
                  <a:pt x="518" y="93"/>
                </a:lnTo>
                <a:lnTo>
                  <a:pt x="516" y="93"/>
                </a:lnTo>
                <a:lnTo>
                  <a:pt x="512" y="136"/>
                </a:lnTo>
                <a:lnTo>
                  <a:pt x="510" y="164"/>
                </a:lnTo>
                <a:lnTo>
                  <a:pt x="508" y="175"/>
                </a:lnTo>
                <a:lnTo>
                  <a:pt x="505" y="216"/>
                </a:lnTo>
                <a:lnTo>
                  <a:pt x="505" y="236"/>
                </a:lnTo>
                <a:lnTo>
                  <a:pt x="503" y="257"/>
                </a:lnTo>
                <a:lnTo>
                  <a:pt x="501" y="298"/>
                </a:lnTo>
                <a:lnTo>
                  <a:pt x="495" y="343"/>
                </a:lnTo>
                <a:lnTo>
                  <a:pt x="493" y="367"/>
                </a:lnTo>
                <a:lnTo>
                  <a:pt x="493" y="385"/>
                </a:lnTo>
                <a:lnTo>
                  <a:pt x="488" y="426"/>
                </a:lnTo>
                <a:lnTo>
                  <a:pt x="486" y="464"/>
                </a:lnTo>
                <a:lnTo>
                  <a:pt x="484" y="503"/>
                </a:lnTo>
                <a:lnTo>
                  <a:pt x="480" y="512"/>
                </a:lnTo>
                <a:lnTo>
                  <a:pt x="458" y="512"/>
                </a:lnTo>
                <a:lnTo>
                  <a:pt x="428" y="508"/>
                </a:lnTo>
                <a:lnTo>
                  <a:pt x="408" y="508"/>
                </a:lnTo>
                <a:lnTo>
                  <a:pt x="406" y="508"/>
                </a:lnTo>
                <a:lnTo>
                  <a:pt x="339" y="499"/>
                </a:lnTo>
                <a:lnTo>
                  <a:pt x="333" y="499"/>
                </a:lnTo>
                <a:lnTo>
                  <a:pt x="249" y="492"/>
                </a:lnTo>
                <a:lnTo>
                  <a:pt x="218" y="490"/>
                </a:lnTo>
                <a:lnTo>
                  <a:pt x="199" y="486"/>
                </a:lnTo>
                <a:lnTo>
                  <a:pt x="197" y="486"/>
                </a:lnTo>
                <a:lnTo>
                  <a:pt x="199" y="490"/>
                </a:lnTo>
                <a:lnTo>
                  <a:pt x="197" y="495"/>
                </a:lnTo>
                <a:lnTo>
                  <a:pt x="197" y="497"/>
                </a:lnTo>
                <a:lnTo>
                  <a:pt x="199" y="501"/>
                </a:lnTo>
                <a:lnTo>
                  <a:pt x="199" y="503"/>
                </a:lnTo>
                <a:lnTo>
                  <a:pt x="205" y="508"/>
                </a:lnTo>
                <a:lnTo>
                  <a:pt x="145" y="499"/>
                </a:lnTo>
                <a:lnTo>
                  <a:pt x="74" y="492"/>
                </a:lnTo>
                <a:lnTo>
                  <a:pt x="67" y="531"/>
                </a:lnTo>
                <a:lnTo>
                  <a:pt x="0" y="525"/>
                </a:lnTo>
                <a:lnTo>
                  <a:pt x="15" y="421"/>
                </a:lnTo>
                <a:close/>
              </a:path>
            </a:pathLst>
          </a:custGeom>
          <a:solidFill>
            <a:schemeClr val="bg1"/>
          </a:solidFill>
          <a:ln w="9525">
            <a:noFill/>
            <a:round/>
            <a:headEnd/>
            <a:tailEnd/>
          </a:ln>
        </p:spPr>
        <p:txBody>
          <a:bodyPr/>
          <a:lstStyle/>
          <a:p>
            <a:endParaRPr lang="en-US" dirty="0">
              <a:solidFill>
                <a:prstClr val="black"/>
              </a:solidFill>
            </a:endParaRPr>
          </a:p>
        </p:txBody>
      </p:sp>
      <p:sp>
        <p:nvSpPr>
          <p:cNvPr id="269" name="Freeform 102">
            <a:extLst>
              <a:ext uri="{FF2B5EF4-FFF2-40B4-BE49-F238E27FC236}">
                <a16:creationId xmlns:a16="http://schemas.microsoft.com/office/drawing/2014/main" id="{73BA83A2-FF7B-4F14-B0E0-2EDD93712CCE}"/>
              </a:ext>
            </a:extLst>
          </p:cNvPr>
          <p:cNvSpPr>
            <a:spLocks/>
          </p:cNvSpPr>
          <p:nvPr>
            <p:custDataLst>
              <p:tags r:id="rId93"/>
            </p:custDataLst>
          </p:nvPr>
        </p:nvSpPr>
        <p:spPr bwMode="auto">
          <a:xfrm>
            <a:off x="4000811" y="4126876"/>
            <a:ext cx="1054353" cy="1147863"/>
          </a:xfrm>
          <a:custGeom>
            <a:avLst/>
            <a:gdLst>
              <a:gd name="T0" fmla="*/ 2147483647 w 521"/>
              <a:gd name="T1" fmla="*/ 2147483647 h 531"/>
              <a:gd name="T2" fmla="*/ 2147483647 w 521"/>
              <a:gd name="T3" fmla="*/ 2147483647 h 531"/>
              <a:gd name="T4" fmla="*/ 2147483647 w 521"/>
              <a:gd name="T5" fmla="*/ 2147483647 h 531"/>
              <a:gd name="T6" fmla="*/ 2147483647 w 521"/>
              <a:gd name="T7" fmla="*/ 2147483647 h 531"/>
              <a:gd name="T8" fmla="*/ 2147483647 w 521"/>
              <a:gd name="T9" fmla="*/ 2147483647 h 531"/>
              <a:gd name="T10" fmla="*/ 2147483647 w 521"/>
              <a:gd name="T11" fmla="*/ 2147483647 h 531"/>
              <a:gd name="T12" fmla="*/ 2147483647 w 521"/>
              <a:gd name="T13" fmla="*/ 2147483647 h 531"/>
              <a:gd name="T14" fmla="*/ 2147483647 w 521"/>
              <a:gd name="T15" fmla="*/ 0 h 531"/>
              <a:gd name="T16" fmla="*/ 2147483647 w 521"/>
              <a:gd name="T17" fmla="*/ 2147483647 h 531"/>
              <a:gd name="T18" fmla="*/ 2147483647 w 521"/>
              <a:gd name="T19" fmla="*/ 2147483647 h 531"/>
              <a:gd name="T20" fmla="*/ 2147483647 w 521"/>
              <a:gd name="T21" fmla="*/ 2147483647 h 531"/>
              <a:gd name="T22" fmla="*/ 2147483647 w 521"/>
              <a:gd name="T23" fmla="*/ 2147483647 h 531"/>
              <a:gd name="T24" fmla="*/ 2147483647 w 521"/>
              <a:gd name="T25" fmla="*/ 2147483647 h 531"/>
              <a:gd name="T26" fmla="*/ 2147483647 w 521"/>
              <a:gd name="T27" fmla="*/ 2147483647 h 531"/>
              <a:gd name="T28" fmla="*/ 2147483647 w 521"/>
              <a:gd name="T29" fmla="*/ 2147483647 h 531"/>
              <a:gd name="T30" fmla="*/ 2147483647 w 521"/>
              <a:gd name="T31" fmla="*/ 2147483647 h 531"/>
              <a:gd name="T32" fmla="*/ 2147483647 w 521"/>
              <a:gd name="T33" fmla="*/ 2147483647 h 531"/>
              <a:gd name="T34" fmla="*/ 2147483647 w 521"/>
              <a:gd name="T35" fmla="*/ 2147483647 h 531"/>
              <a:gd name="T36" fmla="*/ 2147483647 w 521"/>
              <a:gd name="T37" fmla="*/ 2147483647 h 531"/>
              <a:gd name="T38" fmla="*/ 2147483647 w 521"/>
              <a:gd name="T39" fmla="*/ 2147483647 h 531"/>
              <a:gd name="T40" fmla="*/ 2147483647 w 521"/>
              <a:gd name="T41" fmla="*/ 2147483647 h 531"/>
              <a:gd name="T42" fmla="*/ 2147483647 w 521"/>
              <a:gd name="T43" fmla="*/ 2147483647 h 531"/>
              <a:gd name="T44" fmla="*/ 2147483647 w 521"/>
              <a:gd name="T45" fmla="*/ 2147483647 h 531"/>
              <a:gd name="T46" fmla="*/ 2147483647 w 521"/>
              <a:gd name="T47" fmla="*/ 2147483647 h 531"/>
              <a:gd name="T48" fmla="*/ 2147483647 w 521"/>
              <a:gd name="T49" fmla="*/ 2147483647 h 531"/>
              <a:gd name="T50" fmla="*/ 2147483647 w 521"/>
              <a:gd name="T51" fmla="*/ 2147483647 h 531"/>
              <a:gd name="T52" fmla="*/ 2147483647 w 521"/>
              <a:gd name="T53" fmla="*/ 2147483647 h 531"/>
              <a:gd name="T54" fmla="*/ 2147483647 w 521"/>
              <a:gd name="T55" fmla="*/ 2147483647 h 531"/>
              <a:gd name="T56" fmla="*/ 2147483647 w 521"/>
              <a:gd name="T57" fmla="*/ 2147483647 h 531"/>
              <a:gd name="T58" fmla="*/ 2147483647 w 521"/>
              <a:gd name="T59" fmla="*/ 2147483647 h 531"/>
              <a:gd name="T60" fmla="*/ 2147483647 w 521"/>
              <a:gd name="T61" fmla="*/ 2147483647 h 531"/>
              <a:gd name="T62" fmla="*/ 2147483647 w 521"/>
              <a:gd name="T63" fmla="*/ 2147483647 h 531"/>
              <a:gd name="T64" fmla="*/ 2147483647 w 521"/>
              <a:gd name="T65" fmla="*/ 2147483647 h 531"/>
              <a:gd name="T66" fmla="*/ 2147483647 w 521"/>
              <a:gd name="T67" fmla="*/ 2147483647 h 531"/>
              <a:gd name="T68" fmla="*/ 2147483647 w 521"/>
              <a:gd name="T69" fmla="*/ 2147483647 h 531"/>
              <a:gd name="T70" fmla="*/ 2147483647 w 521"/>
              <a:gd name="T71" fmla="*/ 2147483647 h 531"/>
              <a:gd name="T72" fmla="*/ 2147483647 w 521"/>
              <a:gd name="T73" fmla="*/ 2147483647 h 531"/>
              <a:gd name="T74" fmla="*/ 2147483647 w 521"/>
              <a:gd name="T75" fmla="*/ 2147483647 h 531"/>
              <a:gd name="T76" fmla="*/ 2147483647 w 521"/>
              <a:gd name="T77" fmla="*/ 2147483647 h 531"/>
              <a:gd name="T78" fmla="*/ 2147483647 w 521"/>
              <a:gd name="T79" fmla="*/ 2147483647 h 531"/>
              <a:gd name="T80" fmla="*/ 2147483647 w 521"/>
              <a:gd name="T81" fmla="*/ 2147483647 h 531"/>
              <a:gd name="T82" fmla="*/ 2147483647 w 521"/>
              <a:gd name="T83" fmla="*/ 2147483647 h 531"/>
              <a:gd name="T84" fmla="*/ 2147483647 w 521"/>
              <a:gd name="T85" fmla="*/ 2147483647 h 531"/>
              <a:gd name="T86" fmla="*/ 2147483647 w 521"/>
              <a:gd name="T87" fmla="*/ 2147483647 h 531"/>
              <a:gd name="T88" fmla="*/ 2147483647 w 521"/>
              <a:gd name="T89" fmla="*/ 2147483647 h 531"/>
              <a:gd name="T90" fmla="*/ 2147483647 w 521"/>
              <a:gd name="T91" fmla="*/ 2147483647 h 531"/>
              <a:gd name="T92" fmla="*/ 2147483647 w 521"/>
              <a:gd name="T93" fmla="*/ 2147483647 h 531"/>
              <a:gd name="T94" fmla="*/ 2147483647 w 521"/>
              <a:gd name="T95" fmla="*/ 2147483647 h 531"/>
              <a:gd name="T96" fmla="*/ 2147483647 w 521"/>
              <a:gd name="T97" fmla="*/ 2147483647 h 531"/>
              <a:gd name="T98" fmla="*/ 2147483647 w 521"/>
              <a:gd name="T99" fmla="*/ 2147483647 h 531"/>
              <a:gd name="T100" fmla="*/ 2147483647 w 521"/>
              <a:gd name="T101" fmla="*/ 2147483647 h 531"/>
              <a:gd name="T102" fmla="*/ 2147483647 w 521"/>
              <a:gd name="T103" fmla="*/ 2147483647 h 531"/>
              <a:gd name="T104" fmla="*/ 2147483647 w 521"/>
              <a:gd name="T105" fmla="*/ 2147483647 h 531"/>
              <a:gd name="T106" fmla="*/ 2147483647 w 521"/>
              <a:gd name="T107" fmla="*/ 2147483647 h 531"/>
              <a:gd name="T108" fmla="*/ 2147483647 w 521"/>
              <a:gd name="T109" fmla="*/ 2147483647 h 531"/>
              <a:gd name="T110" fmla="*/ 2147483647 w 521"/>
              <a:gd name="T111" fmla="*/ 2147483647 h 531"/>
              <a:gd name="T112" fmla="*/ 0 w 521"/>
              <a:gd name="T113" fmla="*/ 2147483647 h 531"/>
              <a:gd name="T114" fmla="*/ 2147483647 w 521"/>
              <a:gd name="T115" fmla="*/ 2147483647 h 5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1"/>
              <a:gd name="T175" fmla="*/ 0 h 531"/>
              <a:gd name="T176" fmla="*/ 521 w 521"/>
              <a:gd name="T177" fmla="*/ 531 h 5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1" h="531">
                <a:moveTo>
                  <a:pt x="15" y="421"/>
                </a:moveTo>
                <a:lnTo>
                  <a:pt x="17" y="389"/>
                </a:lnTo>
                <a:lnTo>
                  <a:pt x="26" y="350"/>
                </a:lnTo>
                <a:lnTo>
                  <a:pt x="33" y="298"/>
                </a:lnTo>
                <a:lnTo>
                  <a:pt x="43" y="223"/>
                </a:lnTo>
                <a:lnTo>
                  <a:pt x="48" y="188"/>
                </a:lnTo>
                <a:lnTo>
                  <a:pt x="61" y="91"/>
                </a:lnTo>
                <a:lnTo>
                  <a:pt x="74" y="0"/>
                </a:lnTo>
                <a:lnTo>
                  <a:pt x="123" y="7"/>
                </a:lnTo>
                <a:lnTo>
                  <a:pt x="190" y="15"/>
                </a:lnTo>
                <a:lnTo>
                  <a:pt x="195" y="15"/>
                </a:lnTo>
                <a:lnTo>
                  <a:pt x="231" y="20"/>
                </a:lnTo>
                <a:lnTo>
                  <a:pt x="233" y="22"/>
                </a:lnTo>
                <a:lnTo>
                  <a:pt x="264" y="24"/>
                </a:lnTo>
                <a:lnTo>
                  <a:pt x="298" y="26"/>
                </a:lnTo>
                <a:lnTo>
                  <a:pt x="320" y="28"/>
                </a:lnTo>
                <a:lnTo>
                  <a:pt x="356" y="35"/>
                </a:lnTo>
                <a:lnTo>
                  <a:pt x="361" y="35"/>
                </a:lnTo>
                <a:lnTo>
                  <a:pt x="445" y="41"/>
                </a:lnTo>
                <a:lnTo>
                  <a:pt x="516" y="48"/>
                </a:lnTo>
                <a:lnTo>
                  <a:pt x="521" y="48"/>
                </a:lnTo>
                <a:lnTo>
                  <a:pt x="518" y="93"/>
                </a:lnTo>
                <a:lnTo>
                  <a:pt x="516" y="93"/>
                </a:lnTo>
                <a:lnTo>
                  <a:pt x="512" y="136"/>
                </a:lnTo>
                <a:lnTo>
                  <a:pt x="510" y="164"/>
                </a:lnTo>
                <a:lnTo>
                  <a:pt x="508" y="175"/>
                </a:lnTo>
                <a:lnTo>
                  <a:pt x="505" y="216"/>
                </a:lnTo>
                <a:lnTo>
                  <a:pt x="505" y="236"/>
                </a:lnTo>
                <a:lnTo>
                  <a:pt x="503" y="257"/>
                </a:lnTo>
                <a:lnTo>
                  <a:pt x="501" y="298"/>
                </a:lnTo>
                <a:lnTo>
                  <a:pt x="495" y="343"/>
                </a:lnTo>
                <a:lnTo>
                  <a:pt x="493" y="367"/>
                </a:lnTo>
                <a:lnTo>
                  <a:pt x="493" y="385"/>
                </a:lnTo>
                <a:lnTo>
                  <a:pt x="488" y="426"/>
                </a:lnTo>
                <a:lnTo>
                  <a:pt x="486" y="464"/>
                </a:lnTo>
                <a:lnTo>
                  <a:pt x="484" y="503"/>
                </a:lnTo>
                <a:lnTo>
                  <a:pt x="480" y="512"/>
                </a:lnTo>
                <a:lnTo>
                  <a:pt x="458" y="512"/>
                </a:lnTo>
                <a:lnTo>
                  <a:pt x="428" y="508"/>
                </a:lnTo>
                <a:lnTo>
                  <a:pt x="408" y="508"/>
                </a:lnTo>
                <a:lnTo>
                  <a:pt x="406" y="508"/>
                </a:lnTo>
                <a:lnTo>
                  <a:pt x="339" y="499"/>
                </a:lnTo>
                <a:lnTo>
                  <a:pt x="333" y="499"/>
                </a:lnTo>
                <a:lnTo>
                  <a:pt x="249" y="492"/>
                </a:lnTo>
                <a:lnTo>
                  <a:pt x="218" y="490"/>
                </a:lnTo>
                <a:lnTo>
                  <a:pt x="199" y="486"/>
                </a:lnTo>
                <a:lnTo>
                  <a:pt x="197" y="486"/>
                </a:lnTo>
                <a:lnTo>
                  <a:pt x="199" y="490"/>
                </a:lnTo>
                <a:lnTo>
                  <a:pt x="197" y="495"/>
                </a:lnTo>
                <a:lnTo>
                  <a:pt x="197" y="497"/>
                </a:lnTo>
                <a:lnTo>
                  <a:pt x="199" y="501"/>
                </a:lnTo>
                <a:lnTo>
                  <a:pt x="199" y="503"/>
                </a:lnTo>
                <a:lnTo>
                  <a:pt x="205" y="508"/>
                </a:lnTo>
                <a:lnTo>
                  <a:pt x="145" y="499"/>
                </a:lnTo>
                <a:lnTo>
                  <a:pt x="74" y="492"/>
                </a:lnTo>
                <a:lnTo>
                  <a:pt x="67" y="531"/>
                </a:lnTo>
                <a:lnTo>
                  <a:pt x="0" y="525"/>
                </a:lnTo>
                <a:lnTo>
                  <a:pt x="15" y="421"/>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70" name="Freeform 103">
            <a:extLst>
              <a:ext uri="{FF2B5EF4-FFF2-40B4-BE49-F238E27FC236}">
                <a16:creationId xmlns:a16="http://schemas.microsoft.com/office/drawing/2014/main" id="{0AC4CD15-CD2B-4444-B95D-DAC94BDE9762}"/>
              </a:ext>
            </a:extLst>
          </p:cNvPr>
          <p:cNvSpPr>
            <a:spLocks/>
          </p:cNvSpPr>
          <p:nvPr>
            <p:custDataLst>
              <p:tags r:id="rId94"/>
            </p:custDataLst>
          </p:nvPr>
        </p:nvSpPr>
        <p:spPr bwMode="auto">
          <a:xfrm>
            <a:off x="7310723" y="4585150"/>
            <a:ext cx="576498" cy="994383"/>
          </a:xfrm>
          <a:custGeom>
            <a:avLst/>
            <a:gdLst>
              <a:gd name="T0" fmla="*/ 2147483647 w 285"/>
              <a:gd name="T1" fmla="*/ 2147483647 h 460"/>
              <a:gd name="T2" fmla="*/ 2147483647 w 285"/>
              <a:gd name="T3" fmla="*/ 2147483647 h 460"/>
              <a:gd name="T4" fmla="*/ 2147483647 w 285"/>
              <a:gd name="T5" fmla="*/ 2147483647 h 460"/>
              <a:gd name="T6" fmla="*/ 2147483647 w 285"/>
              <a:gd name="T7" fmla="*/ 2147483647 h 460"/>
              <a:gd name="T8" fmla="*/ 2147483647 w 285"/>
              <a:gd name="T9" fmla="*/ 2147483647 h 460"/>
              <a:gd name="T10" fmla="*/ 2147483647 w 285"/>
              <a:gd name="T11" fmla="*/ 2147483647 h 460"/>
              <a:gd name="T12" fmla="*/ 2147483647 w 285"/>
              <a:gd name="T13" fmla="*/ 2147483647 h 460"/>
              <a:gd name="T14" fmla="*/ 2147483647 w 285"/>
              <a:gd name="T15" fmla="*/ 2147483647 h 460"/>
              <a:gd name="T16" fmla="*/ 2147483647 w 285"/>
              <a:gd name="T17" fmla="*/ 2147483647 h 460"/>
              <a:gd name="T18" fmla="*/ 2147483647 w 285"/>
              <a:gd name="T19" fmla="*/ 2147483647 h 460"/>
              <a:gd name="T20" fmla="*/ 2147483647 w 285"/>
              <a:gd name="T21" fmla="*/ 2147483647 h 460"/>
              <a:gd name="T22" fmla="*/ 2147483647 w 285"/>
              <a:gd name="T23" fmla="*/ 2147483647 h 460"/>
              <a:gd name="T24" fmla="*/ 2147483647 w 285"/>
              <a:gd name="T25" fmla="*/ 2147483647 h 460"/>
              <a:gd name="T26" fmla="*/ 2147483647 w 285"/>
              <a:gd name="T27" fmla="*/ 2147483647 h 460"/>
              <a:gd name="T28" fmla="*/ 2147483647 w 285"/>
              <a:gd name="T29" fmla="*/ 2147483647 h 460"/>
              <a:gd name="T30" fmla="*/ 2147483647 w 285"/>
              <a:gd name="T31" fmla="*/ 2147483647 h 460"/>
              <a:gd name="T32" fmla="*/ 2147483647 w 285"/>
              <a:gd name="T33" fmla="*/ 2147483647 h 460"/>
              <a:gd name="T34" fmla="*/ 2147483647 w 285"/>
              <a:gd name="T35" fmla="*/ 2147483647 h 460"/>
              <a:gd name="T36" fmla="*/ 2147483647 w 285"/>
              <a:gd name="T37" fmla="*/ 2147483647 h 460"/>
              <a:gd name="T38" fmla="*/ 2147483647 w 285"/>
              <a:gd name="T39" fmla="*/ 2147483647 h 460"/>
              <a:gd name="T40" fmla="*/ 2147483647 w 285"/>
              <a:gd name="T41" fmla="*/ 2147483647 h 460"/>
              <a:gd name="T42" fmla="*/ 2147483647 w 285"/>
              <a:gd name="T43" fmla="*/ 2147483647 h 460"/>
              <a:gd name="T44" fmla="*/ 2147483647 w 285"/>
              <a:gd name="T45" fmla="*/ 2147483647 h 460"/>
              <a:gd name="T46" fmla="*/ 2147483647 w 285"/>
              <a:gd name="T47" fmla="*/ 2147483647 h 460"/>
              <a:gd name="T48" fmla="*/ 2147483647 w 285"/>
              <a:gd name="T49" fmla="*/ 2147483647 h 460"/>
              <a:gd name="T50" fmla="*/ 2147483647 w 285"/>
              <a:gd name="T51" fmla="*/ 2147483647 h 460"/>
              <a:gd name="T52" fmla="*/ 2147483647 w 285"/>
              <a:gd name="T53" fmla="*/ 2147483647 h 460"/>
              <a:gd name="T54" fmla="*/ 2147483647 w 285"/>
              <a:gd name="T55" fmla="*/ 2147483647 h 460"/>
              <a:gd name="T56" fmla="*/ 2147483647 w 285"/>
              <a:gd name="T57" fmla="*/ 2147483647 h 460"/>
              <a:gd name="T58" fmla="*/ 2147483647 w 285"/>
              <a:gd name="T59" fmla="*/ 2147483647 h 460"/>
              <a:gd name="T60" fmla="*/ 2147483647 w 285"/>
              <a:gd name="T61" fmla="*/ 2147483647 h 460"/>
              <a:gd name="T62" fmla="*/ 2147483647 w 285"/>
              <a:gd name="T63" fmla="*/ 2147483647 h 460"/>
              <a:gd name="T64" fmla="*/ 2147483647 w 285"/>
              <a:gd name="T65" fmla="*/ 2147483647 h 460"/>
              <a:gd name="T66" fmla="*/ 2147483647 w 285"/>
              <a:gd name="T67" fmla="*/ 2147483647 h 460"/>
              <a:gd name="T68" fmla="*/ 2147483647 w 285"/>
              <a:gd name="T69" fmla="*/ 2147483647 h 460"/>
              <a:gd name="T70" fmla="*/ 2147483647 w 285"/>
              <a:gd name="T71" fmla="*/ 2147483647 h 460"/>
              <a:gd name="T72" fmla="*/ 2147483647 w 285"/>
              <a:gd name="T73" fmla="*/ 2147483647 h 460"/>
              <a:gd name="T74" fmla="*/ 2147483647 w 285"/>
              <a:gd name="T75" fmla="*/ 2147483647 h 460"/>
              <a:gd name="T76" fmla="*/ 2147483647 w 285"/>
              <a:gd name="T77" fmla="*/ 2147483647 h 460"/>
              <a:gd name="T78" fmla="*/ 2147483647 w 285"/>
              <a:gd name="T79" fmla="*/ 2147483647 h 460"/>
              <a:gd name="T80" fmla="*/ 2147483647 w 285"/>
              <a:gd name="T81" fmla="*/ 2147483647 h 460"/>
              <a:gd name="T82" fmla="*/ 2147483647 w 285"/>
              <a:gd name="T83" fmla="*/ 2147483647 h 460"/>
              <a:gd name="T84" fmla="*/ 2147483647 w 285"/>
              <a:gd name="T85" fmla="*/ 2147483647 h 4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5"/>
              <a:gd name="T130" fmla="*/ 0 h 460"/>
              <a:gd name="T131" fmla="*/ 285 w 285"/>
              <a:gd name="T132" fmla="*/ 460 h 4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5" h="460">
                <a:moveTo>
                  <a:pt x="267" y="272"/>
                </a:moveTo>
                <a:lnTo>
                  <a:pt x="265" y="280"/>
                </a:lnTo>
                <a:lnTo>
                  <a:pt x="265" y="285"/>
                </a:lnTo>
                <a:lnTo>
                  <a:pt x="265" y="291"/>
                </a:lnTo>
                <a:lnTo>
                  <a:pt x="267" y="298"/>
                </a:lnTo>
                <a:lnTo>
                  <a:pt x="267" y="300"/>
                </a:lnTo>
                <a:lnTo>
                  <a:pt x="267" y="302"/>
                </a:lnTo>
                <a:lnTo>
                  <a:pt x="274" y="306"/>
                </a:lnTo>
                <a:lnTo>
                  <a:pt x="276" y="313"/>
                </a:lnTo>
                <a:lnTo>
                  <a:pt x="276" y="315"/>
                </a:lnTo>
                <a:lnTo>
                  <a:pt x="274" y="319"/>
                </a:lnTo>
                <a:lnTo>
                  <a:pt x="276" y="321"/>
                </a:lnTo>
                <a:lnTo>
                  <a:pt x="274" y="330"/>
                </a:lnTo>
                <a:lnTo>
                  <a:pt x="276" y="334"/>
                </a:lnTo>
                <a:lnTo>
                  <a:pt x="276" y="337"/>
                </a:lnTo>
                <a:lnTo>
                  <a:pt x="274" y="339"/>
                </a:lnTo>
                <a:lnTo>
                  <a:pt x="276" y="345"/>
                </a:lnTo>
                <a:lnTo>
                  <a:pt x="274" y="347"/>
                </a:lnTo>
                <a:lnTo>
                  <a:pt x="276" y="350"/>
                </a:lnTo>
                <a:lnTo>
                  <a:pt x="278" y="350"/>
                </a:lnTo>
                <a:lnTo>
                  <a:pt x="280" y="352"/>
                </a:lnTo>
                <a:lnTo>
                  <a:pt x="283" y="356"/>
                </a:lnTo>
                <a:lnTo>
                  <a:pt x="285" y="365"/>
                </a:lnTo>
                <a:lnTo>
                  <a:pt x="246" y="367"/>
                </a:lnTo>
                <a:lnTo>
                  <a:pt x="203" y="373"/>
                </a:lnTo>
                <a:lnTo>
                  <a:pt x="192" y="373"/>
                </a:lnTo>
                <a:lnTo>
                  <a:pt x="175" y="378"/>
                </a:lnTo>
                <a:lnTo>
                  <a:pt x="149" y="380"/>
                </a:lnTo>
                <a:lnTo>
                  <a:pt x="144" y="380"/>
                </a:lnTo>
                <a:lnTo>
                  <a:pt x="112" y="382"/>
                </a:lnTo>
                <a:lnTo>
                  <a:pt x="77" y="384"/>
                </a:lnTo>
                <a:lnTo>
                  <a:pt x="80" y="388"/>
                </a:lnTo>
                <a:lnTo>
                  <a:pt x="77" y="397"/>
                </a:lnTo>
                <a:lnTo>
                  <a:pt x="77" y="399"/>
                </a:lnTo>
                <a:lnTo>
                  <a:pt x="84" y="403"/>
                </a:lnTo>
                <a:lnTo>
                  <a:pt x="84" y="406"/>
                </a:lnTo>
                <a:lnTo>
                  <a:pt x="93" y="412"/>
                </a:lnTo>
                <a:lnTo>
                  <a:pt x="95" y="412"/>
                </a:lnTo>
                <a:lnTo>
                  <a:pt x="97" y="414"/>
                </a:lnTo>
                <a:lnTo>
                  <a:pt x="97" y="419"/>
                </a:lnTo>
                <a:lnTo>
                  <a:pt x="95" y="425"/>
                </a:lnTo>
                <a:lnTo>
                  <a:pt x="95" y="427"/>
                </a:lnTo>
                <a:lnTo>
                  <a:pt x="97" y="432"/>
                </a:lnTo>
                <a:lnTo>
                  <a:pt x="97" y="436"/>
                </a:lnTo>
                <a:lnTo>
                  <a:pt x="95" y="445"/>
                </a:lnTo>
                <a:lnTo>
                  <a:pt x="84" y="449"/>
                </a:lnTo>
                <a:lnTo>
                  <a:pt x="84" y="451"/>
                </a:lnTo>
                <a:lnTo>
                  <a:pt x="67" y="460"/>
                </a:lnTo>
                <a:lnTo>
                  <a:pt x="52" y="460"/>
                </a:lnTo>
                <a:lnTo>
                  <a:pt x="69" y="453"/>
                </a:lnTo>
                <a:lnTo>
                  <a:pt x="69" y="451"/>
                </a:lnTo>
                <a:lnTo>
                  <a:pt x="56" y="442"/>
                </a:lnTo>
                <a:lnTo>
                  <a:pt x="54" y="421"/>
                </a:lnTo>
                <a:lnTo>
                  <a:pt x="47" y="412"/>
                </a:lnTo>
                <a:lnTo>
                  <a:pt x="39" y="451"/>
                </a:lnTo>
                <a:lnTo>
                  <a:pt x="23" y="447"/>
                </a:lnTo>
                <a:lnTo>
                  <a:pt x="17" y="447"/>
                </a:lnTo>
                <a:lnTo>
                  <a:pt x="15" y="414"/>
                </a:lnTo>
                <a:lnTo>
                  <a:pt x="13" y="393"/>
                </a:lnTo>
                <a:lnTo>
                  <a:pt x="10" y="380"/>
                </a:lnTo>
                <a:lnTo>
                  <a:pt x="6" y="350"/>
                </a:lnTo>
                <a:lnTo>
                  <a:pt x="2" y="324"/>
                </a:lnTo>
                <a:lnTo>
                  <a:pt x="2" y="306"/>
                </a:lnTo>
                <a:lnTo>
                  <a:pt x="2" y="278"/>
                </a:lnTo>
                <a:lnTo>
                  <a:pt x="2" y="270"/>
                </a:lnTo>
                <a:lnTo>
                  <a:pt x="2" y="242"/>
                </a:lnTo>
                <a:lnTo>
                  <a:pt x="2" y="209"/>
                </a:lnTo>
                <a:lnTo>
                  <a:pt x="2" y="205"/>
                </a:lnTo>
                <a:lnTo>
                  <a:pt x="4" y="177"/>
                </a:lnTo>
                <a:lnTo>
                  <a:pt x="4" y="153"/>
                </a:lnTo>
                <a:lnTo>
                  <a:pt x="4" y="134"/>
                </a:lnTo>
                <a:lnTo>
                  <a:pt x="4" y="103"/>
                </a:lnTo>
                <a:lnTo>
                  <a:pt x="4" y="101"/>
                </a:lnTo>
                <a:lnTo>
                  <a:pt x="6" y="78"/>
                </a:lnTo>
                <a:lnTo>
                  <a:pt x="6" y="67"/>
                </a:lnTo>
                <a:lnTo>
                  <a:pt x="6" y="56"/>
                </a:lnTo>
                <a:lnTo>
                  <a:pt x="6" y="26"/>
                </a:lnTo>
                <a:lnTo>
                  <a:pt x="4" y="24"/>
                </a:lnTo>
                <a:lnTo>
                  <a:pt x="0" y="17"/>
                </a:lnTo>
                <a:lnTo>
                  <a:pt x="15" y="13"/>
                </a:lnTo>
                <a:lnTo>
                  <a:pt x="45" y="11"/>
                </a:lnTo>
                <a:lnTo>
                  <a:pt x="71" y="8"/>
                </a:lnTo>
                <a:lnTo>
                  <a:pt x="75" y="8"/>
                </a:lnTo>
                <a:lnTo>
                  <a:pt x="101" y="8"/>
                </a:lnTo>
                <a:lnTo>
                  <a:pt x="108" y="6"/>
                </a:lnTo>
                <a:lnTo>
                  <a:pt x="142" y="4"/>
                </a:lnTo>
                <a:lnTo>
                  <a:pt x="177" y="2"/>
                </a:lnTo>
                <a:lnTo>
                  <a:pt x="196" y="0"/>
                </a:lnTo>
                <a:lnTo>
                  <a:pt x="198" y="11"/>
                </a:lnTo>
                <a:lnTo>
                  <a:pt x="203" y="32"/>
                </a:lnTo>
                <a:lnTo>
                  <a:pt x="207" y="37"/>
                </a:lnTo>
                <a:lnTo>
                  <a:pt x="209" y="41"/>
                </a:lnTo>
                <a:lnTo>
                  <a:pt x="213" y="62"/>
                </a:lnTo>
                <a:lnTo>
                  <a:pt x="218" y="82"/>
                </a:lnTo>
                <a:lnTo>
                  <a:pt x="222" y="93"/>
                </a:lnTo>
                <a:lnTo>
                  <a:pt x="224" y="99"/>
                </a:lnTo>
                <a:lnTo>
                  <a:pt x="231" y="121"/>
                </a:lnTo>
                <a:lnTo>
                  <a:pt x="233" y="136"/>
                </a:lnTo>
                <a:lnTo>
                  <a:pt x="235" y="140"/>
                </a:lnTo>
                <a:lnTo>
                  <a:pt x="244" y="168"/>
                </a:lnTo>
                <a:lnTo>
                  <a:pt x="250" y="192"/>
                </a:lnTo>
                <a:lnTo>
                  <a:pt x="252" y="198"/>
                </a:lnTo>
                <a:lnTo>
                  <a:pt x="257" y="201"/>
                </a:lnTo>
                <a:lnTo>
                  <a:pt x="257" y="203"/>
                </a:lnTo>
                <a:lnTo>
                  <a:pt x="259" y="207"/>
                </a:lnTo>
                <a:lnTo>
                  <a:pt x="259" y="209"/>
                </a:lnTo>
                <a:lnTo>
                  <a:pt x="259" y="214"/>
                </a:lnTo>
                <a:lnTo>
                  <a:pt x="261" y="214"/>
                </a:lnTo>
                <a:lnTo>
                  <a:pt x="261" y="216"/>
                </a:lnTo>
                <a:lnTo>
                  <a:pt x="261" y="218"/>
                </a:lnTo>
                <a:lnTo>
                  <a:pt x="267" y="222"/>
                </a:lnTo>
                <a:lnTo>
                  <a:pt x="272" y="229"/>
                </a:lnTo>
                <a:lnTo>
                  <a:pt x="272" y="231"/>
                </a:lnTo>
                <a:lnTo>
                  <a:pt x="272" y="235"/>
                </a:lnTo>
                <a:lnTo>
                  <a:pt x="274" y="235"/>
                </a:lnTo>
                <a:lnTo>
                  <a:pt x="272" y="237"/>
                </a:lnTo>
                <a:lnTo>
                  <a:pt x="272" y="239"/>
                </a:lnTo>
                <a:lnTo>
                  <a:pt x="276" y="242"/>
                </a:lnTo>
                <a:lnTo>
                  <a:pt x="278" y="246"/>
                </a:lnTo>
                <a:lnTo>
                  <a:pt x="278" y="248"/>
                </a:lnTo>
                <a:lnTo>
                  <a:pt x="278" y="250"/>
                </a:lnTo>
                <a:lnTo>
                  <a:pt x="274" y="250"/>
                </a:lnTo>
                <a:lnTo>
                  <a:pt x="276" y="252"/>
                </a:lnTo>
                <a:lnTo>
                  <a:pt x="272" y="255"/>
                </a:lnTo>
                <a:lnTo>
                  <a:pt x="267" y="261"/>
                </a:lnTo>
                <a:lnTo>
                  <a:pt x="267" y="263"/>
                </a:lnTo>
                <a:lnTo>
                  <a:pt x="267" y="265"/>
                </a:lnTo>
                <a:lnTo>
                  <a:pt x="267" y="267"/>
                </a:lnTo>
                <a:lnTo>
                  <a:pt x="267" y="270"/>
                </a:lnTo>
                <a:lnTo>
                  <a:pt x="267" y="272"/>
                </a:lnTo>
                <a:close/>
              </a:path>
            </a:pathLst>
          </a:custGeom>
          <a:noFill/>
          <a:ln w="9525">
            <a:noFill/>
            <a:round/>
            <a:headEnd/>
            <a:tailEnd/>
          </a:ln>
        </p:spPr>
        <p:txBody>
          <a:bodyPr/>
          <a:lstStyle/>
          <a:p>
            <a:endParaRPr lang="en-US" dirty="0">
              <a:solidFill>
                <a:prstClr val="black"/>
              </a:solidFill>
            </a:endParaRPr>
          </a:p>
        </p:txBody>
      </p:sp>
      <p:sp>
        <p:nvSpPr>
          <p:cNvPr id="271" name="Freeform 104">
            <a:extLst>
              <a:ext uri="{FF2B5EF4-FFF2-40B4-BE49-F238E27FC236}">
                <a16:creationId xmlns:a16="http://schemas.microsoft.com/office/drawing/2014/main" id="{48B420FE-7585-418B-AAE1-958B9CEE9A45}"/>
              </a:ext>
            </a:extLst>
          </p:cNvPr>
          <p:cNvSpPr>
            <a:spLocks/>
          </p:cNvSpPr>
          <p:nvPr>
            <p:custDataLst>
              <p:tags r:id="rId95"/>
            </p:custDataLst>
          </p:nvPr>
        </p:nvSpPr>
        <p:spPr bwMode="auto">
          <a:xfrm>
            <a:off x="7310723" y="4585150"/>
            <a:ext cx="576498" cy="994383"/>
          </a:xfrm>
          <a:custGeom>
            <a:avLst/>
            <a:gdLst>
              <a:gd name="T0" fmla="*/ 2147483647 w 285"/>
              <a:gd name="T1" fmla="*/ 2147483647 h 460"/>
              <a:gd name="T2" fmla="*/ 2147483647 w 285"/>
              <a:gd name="T3" fmla="*/ 2147483647 h 460"/>
              <a:gd name="T4" fmla="*/ 2147483647 w 285"/>
              <a:gd name="T5" fmla="*/ 2147483647 h 460"/>
              <a:gd name="T6" fmla="*/ 2147483647 w 285"/>
              <a:gd name="T7" fmla="*/ 2147483647 h 460"/>
              <a:gd name="T8" fmla="*/ 2147483647 w 285"/>
              <a:gd name="T9" fmla="*/ 2147483647 h 460"/>
              <a:gd name="T10" fmla="*/ 2147483647 w 285"/>
              <a:gd name="T11" fmla="*/ 2147483647 h 460"/>
              <a:gd name="T12" fmla="*/ 2147483647 w 285"/>
              <a:gd name="T13" fmla="*/ 2147483647 h 460"/>
              <a:gd name="T14" fmla="*/ 2147483647 w 285"/>
              <a:gd name="T15" fmla="*/ 2147483647 h 460"/>
              <a:gd name="T16" fmla="*/ 2147483647 w 285"/>
              <a:gd name="T17" fmla="*/ 2147483647 h 460"/>
              <a:gd name="T18" fmla="*/ 2147483647 w 285"/>
              <a:gd name="T19" fmla="*/ 2147483647 h 460"/>
              <a:gd name="T20" fmla="*/ 2147483647 w 285"/>
              <a:gd name="T21" fmla="*/ 2147483647 h 460"/>
              <a:gd name="T22" fmla="*/ 2147483647 w 285"/>
              <a:gd name="T23" fmla="*/ 2147483647 h 460"/>
              <a:gd name="T24" fmla="*/ 2147483647 w 285"/>
              <a:gd name="T25" fmla="*/ 2147483647 h 460"/>
              <a:gd name="T26" fmla="*/ 2147483647 w 285"/>
              <a:gd name="T27" fmla="*/ 2147483647 h 460"/>
              <a:gd name="T28" fmla="*/ 2147483647 w 285"/>
              <a:gd name="T29" fmla="*/ 2147483647 h 460"/>
              <a:gd name="T30" fmla="*/ 2147483647 w 285"/>
              <a:gd name="T31" fmla="*/ 2147483647 h 460"/>
              <a:gd name="T32" fmla="*/ 2147483647 w 285"/>
              <a:gd name="T33" fmla="*/ 2147483647 h 460"/>
              <a:gd name="T34" fmla="*/ 2147483647 w 285"/>
              <a:gd name="T35" fmla="*/ 2147483647 h 460"/>
              <a:gd name="T36" fmla="*/ 2147483647 w 285"/>
              <a:gd name="T37" fmla="*/ 2147483647 h 460"/>
              <a:gd name="T38" fmla="*/ 2147483647 w 285"/>
              <a:gd name="T39" fmla="*/ 2147483647 h 460"/>
              <a:gd name="T40" fmla="*/ 2147483647 w 285"/>
              <a:gd name="T41" fmla="*/ 2147483647 h 460"/>
              <a:gd name="T42" fmla="*/ 2147483647 w 285"/>
              <a:gd name="T43" fmla="*/ 2147483647 h 460"/>
              <a:gd name="T44" fmla="*/ 2147483647 w 285"/>
              <a:gd name="T45" fmla="*/ 2147483647 h 460"/>
              <a:gd name="T46" fmla="*/ 2147483647 w 285"/>
              <a:gd name="T47" fmla="*/ 2147483647 h 460"/>
              <a:gd name="T48" fmla="*/ 2147483647 w 285"/>
              <a:gd name="T49" fmla="*/ 2147483647 h 460"/>
              <a:gd name="T50" fmla="*/ 2147483647 w 285"/>
              <a:gd name="T51" fmla="*/ 2147483647 h 460"/>
              <a:gd name="T52" fmla="*/ 2147483647 w 285"/>
              <a:gd name="T53" fmla="*/ 2147483647 h 460"/>
              <a:gd name="T54" fmla="*/ 2147483647 w 285"/>
              <a:gd name="T55" fmla="*/ 2147483647 h 460"/>
              <a:gd name="T56" fmla="*/ 2147483647 w 285"/>
              <a:gd name="T57" fmla="*/ 2147483647 h 460"/>
              <a:gd name="T58" fmla="*/ 2147483647 w 285"/>
              <a:gd name="T59" fmla="*/ 2147483647 h 460"/>
              <a:gd name="T60" fmla="*/ 2147483647 w 285"/>
              <a:gd name="T61" fmla="*/ 2147483647 h 460"/>
              <a:gd name="T62" fmla="*/ 2147483647 w 285"/>
              <a:gd name="T63" fmla="*/ 2147483647 h 460"/>
              <a:gd name="T64" fmla="*/ 2147483647 w 285"/>
              <a:gd name="T65" fmla="*/ 2147483647 h 460"/>
              <a:gd name="T66" fmla="*/ 2147483647 w 285"/>
              <a:gd name="T67" fmla="*/ 2147483647 h 460"/>
              <a:gd name="T68" fmla="*/ 2147483647 w 285"/>
              <a:gd name="T69" fmla="*/ 2147483647 h 460"/>
              <a:gd name="T70" fmla="*/ 2147483647 w 285"/>
              <a:gd name="T71" fmla="*/ 2147483647 h 460"/>
              <a:gd name="T72" fmla="*/ 2147483647 w 285"/>
              <a:gd name="T73" fmla="*/ 2147483647 h 460"/>
              <a:gd name="T74" fmla="*/ 2147483647 w 285"/>
              <a:gd name="T75" fmla="*/ 2147483647 h 460"/>
              <a:gd name="T76" fmla="*/ 2147483647 w 285"/>
              <a:gd name="T77" fmla="*/ 2147483647 h 460"/>
              <a:gd name="T78" fmla="*/ 2147483647 w 285"/>
              <a:gd name="T79" fmla="*/ 2147483647 h 460"/>
              <a:gd name="T80" fmla="*/ 2147483647 w 285"/>
              <a:gd name="T81" fmla="*/ 2147483647 h 460"/>
              <a:gd name="T82" fmla="*/ 2147483647 w 285"/>
              <a:gd name="T83" fmla="*/ 2147483647 h 460"/>
              <a:gd name="T84" fmla="*/ 2147483647 w 285"/>
              <a:gd name="T85" fmla="*/ 2147483647 h 4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5"/>
              <a:gd name="T130" fmla="*/ 0 h 460"/>
              <a:gd name="T131" fmla="*/ 285 w 285"/>
              <a:gd name="T132" fmla="*/ 460 h 4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5" h="460">
                <a:moveTo>
                  <a:pt x="267" y="272"/>
                </a:moveTo>
                <a:lnTo>
                  <a:pt x="265" y="280"/>
                </a:lnTo>
                <a:lnTo>
                  <a:pt x="265" y="285"/>
                </a:lnTo>
                <a:lnTo>
                  <a:pt x="265" y="291"/>
                </a:lnTo>
                <a:lnTo>
                  <a:pt x="267" y="298"/>
                </a:lnTo>
                <a:lnTo>
                  <a:pt x="267" y="300"/>
                </a:lnTo>
                <a:lnTo>
                  <a:pt x="267" y="302"/>
                </a:lnTo>
                <a:lnTo>
                  <a:pt x="274" y="306"/>
                </a:lnTo>
                <a:lnTo>
                  <a:pt x="276" y="313"/>
                </a:lnTo>
                <a:lnTo>
                  <a:pt x="276" y="315"/>
                </a:lnTo>
                <a:lnTo>
                  <a:pt x="274" y="319"/>
                </a:lnTo>
                <a:lnTo>
                  <a:pt x="276" y="321"/>
                </a:lnTo>
                <a:lnTo>
                  <a:pt x="274" y="330"/>
                </a:lnTo>
                <a:lnTo>
                  <a:pt x="276" y="334"/>
                </a:lnTo>
                <a:lnTo>
                  <a:pt x="276" y="337"/>
                </a:lnTo>
                <a:lnTo>
                  <a:pt x="274" y="339"/>
                </a:lnTo>
                <a:lnTo>
                  <a:pt x="276" y="345"/>
                </a:lnTo>
                <a:lnTo>
                  <a:pt x="274" y="347"/>
                </a:lnTo>
                <a:lnTo>
                  <a:pt x="276" y="350"/>
                </a:lnTo>
                <a:lnTo>
                  <a:pt x="278" y="350"/>
                </a:lnTo>
                <a:lnTo>
                  <a:pt x="280" y="352"/>
                </a:lnTo>
                <a:lnTo>
                  <a:pt x="283" y="356"/>
                </a:lnTo>
                <a:lnTo>
                  <a:pt x="285" y="365"/>
                </a:lnTo>
                <a:lnTo>
                  <a:pt x="246" y="367"/>
                </a:lnTo>
                <a:lnTo>
                  <a:pt x="203" y="373"/>
                </a:lnTo>
                <a:lnTo>
                  <a:pt x="192" y="373"/>
                </a:lnTo>
                <a:lnTo>
                  <a:pt x="175" y="378"/>
                </a:lnTo>
                <a:lnTo>
                  <a:pt x="149" y="380"/>
                </a:lnTo>
                <a:lnTo>
                  <a:pt x="144" y="380"/>
                </a:lnTo>
                <a:lnTo>
                  <a:pt x="112" y="382"/>
                </a:lnTo>
                <a:lnTo>
                  <a:pt x="77" y="384"/>
                </a:lnTo>
                <a:lnTo>
                  <a:pt x="80" y="388"/>
                </a:lnTo>
                <a:lnTo>
                  <a:pt x="77" y="397"/>
                </a:lnTo>
                <a:lnTo>
                  <a:pt x="77" y="399"/>
                </a:lnTo>
                <a:lnTo>
                  <a:pt x="84" y="403"/>
                </a:lnTo>
                <a:lnTo>
                  <a:pt x="84" y="406"/>
                </a:lnTo>
                <a:lnTo>
                  <a:pt x="93" y="412"/>
                </a:lnTo>
                <a:lnTo>
                  <a:pt x="95" y="412"/>
                </a:lnTo>
                <a:lnTo>
                  <a:pt x="97" y="414"/>
                </a:lnTo>
                <a:lnTo>
                  <a:pt x="97" y="419"/>
                </a:lnTo>
                <a:lnTo>
                  <a:pt x="95" y="425"/>
                </a:lnTo>
                <a:lnTo>
                  <a:pt x="95" y="427"/>
                </a:lnTo>
                <a:lnTo>
                  <a:pt x="97" y="432"/>
                </a:lnTo>
                <a:lnTo>
                  <a:pt x="97" y="436"/>
                </a:lnTo>
                <a:lnTo>
                  <a:pt x="95" y="445"/>
                </a:lnTo>
                <a:lnTo>
                  <a:pt x="84" y="449"/>
                </a:lnTo>
                <a:lnTo>
                  <a:pt x="84" y="451"/>
                </a:lnTo>
                <a:lnTo>
                  <a:pt x="67" y="460"/>
                </a:lnTo>
                <a:lnTo>
                  <a:pt x="52" y="460"/>
                </a:lnTo>
                <a:lnTo>
                  <a:pt x="69" y="453"/>
                </a:lnTo>
                <a:lnTo>
                  <a:pt x="69" y="451"/>
                </a:lnTo>
                <a:lnTo>
                  <a:pt x="56" y="442"/>
                </a:lnTo>
                <a:lnTo>
                  <a:pt x="54" y="421"/>
                </a:lnTo>
                <a:lnTo>
                  <a:pt x="47" y="412"/>
                </a:lnTo>
                <a:lnTo>
                  <a:pt x="39" y="451"/>
                </a:lnTo>
                <a:lnTo>
                  <a:pt x="23" y="447"/>
                </a:lnTo>
                <a:lnTo>
                  <a:pt x="17" y="447"/>
                </a:lnTo>
                <a:lnTo>
                  <a:pt x="15" y="414"/>
                </a:lnTo>
                <a:lnTo>
                  <a:pt x="13" y="393"/>
                </a:lnTo>
                <a:lnTo>
                  <a:pt x="10" y="380"/>
                </a:lnTo>
                <a:lnTo>
                  <a:pt x="6" y="350"/>
                </a:lnTo>
                <a:lnTo>
                  <a:pt x="2" y="324"/>
                </a:lnTo>
                <a:lnTo>
                  <a:pt x="2" y="306"/>
                </a:lnTo>
                <a:lnTo>
                  <a:pt x="2" y="278"/>
                </a:lnTo>
                <a:lnTo>
                  <a:pt x="2" y="270"/>
                </a:lnTo>
                <a:lnTo>
                  <a:pt x="2" y="242"/>
                </a:lnTo>
                <a:lnTo>
                  <a:pt x="2" y="209"/>
                </a:lnTo>
                <a:lnTo>
                  <a:pt x="2" y="205"/>
                </a:lnTo>
                <a:lnTo>
                  <a:pt x="4" y="177"/>
                </a:lnTo>
                <a:lnTo>
                  <a:pt x="4" y="153"/>
                </a:lnTo>
                <a:lnTo>
                  <a:pt x="4" y="134"/>
                </a:lnTo>
                <a:lnTo>
                  <a:pt x="4" y="103"/>
                </a:lnTo>
                <a:lnTo>
                  <a:pt x="4" y="101"/>
                </a:lnTo>
                <a:lnTo>
                  <a:pt x="6" y="78"/>
                </a:lnTo>
                <a:lnTo>
                  <a:pt x="6" y="67"/>
                </a:lnTo>
                <a:lnTo>
                  <a:pt x="6" y="56"/>
                </a:lnTo>
                <a:lnTo>
                  <a:pt x="6" y="26"/>
                </a:lnTo>
                <a:lnTo>
                  <a:pt x="4" y="24"/>
                </a:lnTo>
                <a:lnTo>
                  <a:pt x="0" y="17"/>
                </a:lnTo>
                <a:lnTo>
                  <a:pt x="15" y="13"/>
                </a:lnTo>
                <a:lnTo>
                  <a:pt x="45" y="11"/>
                </a:lnTo>
                <a:lnTo>
                  <a:pt x="71" y="8"/>
                </a:lnTo>
                <a:lnTo>
                  <a:pt x="75" y="8"/>
                </a:lnTo>
                <a:lnTo>
                  <a:pt x="101" y="8"/>
                </a:lnTo>
                <a:lnTo>
                  <a:pt x="108" y="6"/>
                </a:lnTo>
                <a:lnTo>
                  <a:pt x="142" y="4"/>
                </a:lnTo>
                <a:lnTo>
                  <a:pt x="177" y="2"/>
                </a:lnTo>
                <a:lnTo>
                  <a:pt x="196" y="0"/>
                </a:lnTo>
                <a:lnTo>
                  <a:pt x="198" y="11"/>
                </a:lnTo>
                <a:lnTo>
                  <a:pt x="203" y="32"/>
                </a:lnTo>
                <a:lnTo>
                  <a:pt x="207" y="37"/>
                </a:lnTo>
                <a:lnTo>
                  <a:pt x="209" y="41"/>
                </a:lnTo>
                <a:lnTo>
                  <a:pt x="213" y="62"/>
                </a:lnTo>
                <a:lnTo>
                  <a:pt x="218" y="82"/>
                </a:lnTo>
                <a:lnTo>
                  <a:pt x="222" y="93"/>
                </a:lnTo>
                <a:lnTo>
                  <a:pt x="224" y="99"/>
                </a:lnTo>
                <a:lnTo>
                  <a:pt x="231" y="121"/>
                </a:lnTo>
                <a:lnTo>
                  <a:pt x="233" y="136"/>
                </a:lnTo>
                <a:lnTo>
                  <a:pt x="235" y="140"/>
                </a:lnTo>
                <a:lnTo>
                  <a:pt x="244" y="168"/>
                </a:lnTo>
                <a:lnTo>
                  <a:pt x="250" y="192"/>
                </a:lnTo>
                <a:lnTo>
                  <a:pt x="252" y="198"/>
                </a:lnTo>
                <a:lnTo>
                  <a:pt x="257" y="201"/>
                </a:lnTo>
                <a:lnTo>
                  <a:pt x="257" y="203"/>
                </a:lnTo>
                <a:lnTo>
                  <a:pt x="259" y="207"/>
                </a:lnTo>
                <a:lnTo>
                  <a:pt x="259" y="209"/>
                </a:lnTo>
                <a:lnTo>
                  <a:pt x="259" y="214"/>
                </a:lnTo>
                <a:lnTo>
                  <a:pt x="261" y="214"/>
                </a:lnTo>
                <a:lnTo>
                  <a:pt x="261" y="216"/>
                </a:lnTo>
                <a:lnTo>
                  <a:pt x="261" y="218"/>
                </a:lnTo>
                <a:lnTo>
                  <a:pt x="267" y="222"/>
                </a:lnTo>
                <a:lnTo>
                  <a:pt x="272" y="229"/>
                </a:lnTo>
                <a:lnTo>
                  <a:pt x="272" y="231"/>
                </a:lnTo>
                <a:lnTo>
                  <a:pt x="272" y="235"/>
                </a:lnTo>
                <a:lnTo>
                  <a:pt x="274" y="235"/>
                </a:lnTo>
                <a:lnTo>
                  <a:pt x="272" y="237"/>
                </a:lnTo>
                <a:lnTo>
                  <a:pt x="272" y="239"/>
                </a:lnTo>
                <a:lnTo>
                  <a:pt x="276" y="242"/>
                </a:lnTo>
                <a:lnTo>
                  <a:pt x="278" y="246"/>
                </a:lnTo>
                <a:lnTo>
                  <a:pt x="278" y="248"/>
                </a:lnTo>
                <a:lnTo>
                  <a:pt x="278" y="250"/>
                </a:lnTo>
                <a:lnTo>
                  <a:pt x="274" y="250"/>
                </a:lnTo>
                <a:lnTo>
                  <a:pt x="276" y="252"/>
                </a:lnTo>
                <a:lnTo>
                  <a:pt x="272" y="255"/>
                </a:lnTo>
                <a:lnTo>
                  <a:pt x="267" y="261"/>
                </a:lnTo>
                <a:lnTo>
                  <a:pt x="267" y="263"/>
                </a:lnTo>
                <a:lnTo>
                  <a:pt x="267" y="265"/>
                </a:lnTo>
                <a:lnTo>
                  <a:pt x="267" y="267"/>
                </a:lnTo>
                <a:lnTo>
                  <a:pt x="267" y="270"/>
                </a:lnTo>
                <a:lnTo>
                  <a:pt x="267" y="272"/>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272" name="Freeform 105">
            <a:extLst>
              <a:ext uri="{FF2B5EF4-FFF2-40B4-BE49-F238E27FC236}">
                <a16:creationId xmlns:a16="http://schemas.microsoft.com/office/drawing/2014/main" id="{09D3674D-8A64-4EB5-9FB6-CE20D0FCDAB7}"/>
              </a:ext>
            </a:extLst>
          </p:cNvPr>
          <p:cNvSpPr>
            <a:spLocks/>
          </p:cNvSpPr>
          <p:nvPr>
            <p:custDataLst>
              <p:tags r:id="rId96"/>
            </p:custDataLst>
          </p:nvPr>
        </p:nvSpPr>
        <p:spPr bwMode="auto">
          <a:xfrm>
            <a:off x="6813149" y="4621877"/>
            <a:ext cx="534849" cy="979252"/>
          </a:xfrm>
          <a:custGeom>
            <a:avLst/>
            <a:gdLst>
              <a:gd name="T0" fmla="*/ 2147483647 w 265"/>
              <a:gd name="T1" fmla="*/ 2147483647 h 453"/>
              <a:gd name="T2" fmla="*/ 2147483647 w 265"/>
              <a:gd name="T3" fmla="*/ 2147483647 h 453"/>
              <a:gd name="T4" fmla="*/ 2147483647 w 265"/>
              <a:gd name="T5" fmla="*/ 2147483647 h 453"/>
              <a:gd name="T6" fmla="*/ 2147483647 w 265"/>
              <a:gd name="T7" fmla="*/ 2147483647 h 453"/>
              <a:gd name="T8" fmla="*/ 2147483647 w 265"/>
              <a:gd name="T9" fmla="*/ 2147483647 h 453"/>
              <a:gd name="T10" fmla="*/ 2147483647 w 265"/>
              <a:gd name="T11" fmla="*/ 2147483647 h 453"/>
              <a:gd name="T12" fmla="*/ 2147483647 w 265"/>
              <a:gd name="T13" fmla="*/ 2147483647 h 453"/>
              <a:gd name="T14" fmla="*/ 2147483647 w 265"/>
              <a:gd name="T15" fmla="*/ 2147483647 h 453"/>
              <a:gd name="T16" fmla="*/ 2147483647 w 265"/>
              <a:gd name="T17" fmla="*/ 2147483647 h 453"/>
              <a:gd name="T18" fmla="*/ 2147483647 w 265"/>
              <a:gd name="T19" fmla="*/ 2147483647 h 453"/>
              <a:gd name="T20" fmla="*/ 2147483647 w 265"/>
              <a:gd name="T21" fmla="*/ 2147483647 h 453"/>
              <a:gd name="T22" fmla="*/ 0 w 265"/>
              <a:gd name="T23" fmla="*/ 2147483647 h 453"/>
              <a:gd name="T24" fmla="*/ 2147483647 w 265"/>
              <a:gd name="T25" fmla="*/ 2147483647 h 453"/>
              <a:gd name="T26" fmla="*/ 2147483647 w 265"/>
              <a:gd name="T27" fmla="*/ 2147483647 h 453"/>
              <a:gd name="T28" fmla="*/ 2147483647 w 265"/>
              <a:gd name="T29" fmla="*/ 2147483647 h 453"/>
              <a:gd name="T30" fmla="*/ 2147483647 w 265"/>
              <a:gd name="T31" fmla="*/ 2147483647 h 453"/>
              <a:gd name="T32" fmla="*/ 2147483647 w 265"/>
              <a:gd name="T33" fmla="*/ 2147483647 h 453"/>
              <a:gd name="T34" fmla="*/ 2147483647 w 265"/>
              <a:gd name="T35" fmla="*/ 2147483647 h 453"/>
              <a:gd name="T36" fmla="*/ 2147483647 w 265"/>
              <a:gd name="T37" fmla="*/ 2147483647 h 453"/>
              <a:gd name="T38" fmla="*/ 2147483647 w 265"/>
              <a:gd name="T39" fmla="*/ 2147483647 h 453"/>
              <a:gd name="T40" fmla="*/ 2147483647 w 265"/>
              <a:gd name="T41" fmla="*/ 2147483647 h 453"/>
              <a:gd name="T42" fmla="*/ 2147483647 w 265"/>
              <a:gd name="T43" fmla="*/ 2147483647 h 453"/>
              <a:gd name="T44" fmla="*/ 2147483647 w 265"/>
              <a:gd name="T45" fmla="*/ 2147483647 h 453"/>
              <a:gd name="T46" fmla="*/ 2147483647 w 265"/>
              <a:gd name="T47" fmla="*/ 2147483647 h 453"/>
              <a:gd name="T48" fmla="*/ 2147483647 w 265"/>
              <a:gd name="T49" fmla="*/ 2147483647 h 453"/>
              <a:gd name="T50" fmla="*/ 2147483647 w 265"/>
              <a:gd name="T51" fmla="*/ 2147483647 h 453"/>
              <a:gd name="T52" fmla="*/ 2147483647 w 265"/>
              <a:gd name="T53" fmla="*/ 2147483647 h 453"/>
              <a:gd name="T54" fmla="*/ 2147483647 w 265"/>
              <a:gd name="T55" fmla="*/ 2147483647 h 453"/>
              <a:gd name="T56" fmla="*/ 2147483647 w 265"/>
              <a:gd name="T57" fmla="*/ 2147483647 h 453"/>
              <a:gd name="T58" fmla="*/ 2147483647 w 265"/>
              <a:gd name="T59" fmla="*/ 2147483647 h 453"/>
              <a:gd name="T60" fmla="*/ 2147483647 w 265"/>
              <a:gd name="T61" fmla="*/ 2147483647 h 453"/>
              <a:gd name="T62" fmla="*/ 2147483647 w 265"/>
              <a:gd name="T63" fmla="*/ 2147483647 h 453"/>
              <a:gd name="T64" fmla="*/ 2147483647 w 265"/>
              <a:gd name="T65" fmla="*/ 2147483647 h 453"/>
              <a:gd name="T66" fmla="*/ 2147483647 w 265"/>
              <a:gd name="T67" fmla="*/ 2147483647 h 453"/>
              <a:gd name="T68" fmla="*/ 2147483647 w 265"/>
              <a:gd name="T69" fmla="*/ 2147483647 h 453"/>
              <a:gd name="T70" fmla="*/ 2147483647 w 265"/>
              <a:gd name="T71" fmla="*/ 2147483647 h 453"/>
              <a:gd name="T72" fmla="*/ 2147483647 w 265"/>
              <a:gd name="T73" fmla="*/ 2147483647 h 453"/>
              <a:gd name="T74" fmla="*/ 2147483647 w 265"/>
              <a:gd name="T75" fmla="*/ 2147483647 h 453"/>
              <a:gd name="T76" fmla="*/ 2147483647 w 265"/>
              <a:gd name="T77" fmla="*/ 2147483647 h 453"/>
              <a:gd name="T78" fmla="*/ 2147483647 w 265"/>
              <a:gd name="T79" fmla="*/ 2147483647 h 453"/>
              <a:gd name="T80" fmla="*/ 2147483647 w 265"/>
              <a:gd name="T81" fmla="*/ 2147483647 h 453"/>
              <a:gd name="T82" fmla="*/ 2147483647 w 265"/>
              <a:gd name="T83" fmla="*/ 2147483647 h 453"/>
              <a:gd name="T84" fmla="*/ 2147483647 w 265"/>
              <a:gd name="T85" fmla="*/ 2147483647 h 453"/>
              <a:gd name="T86" fmla="*/ 2147483647 w 265"/>
              <a:gd name="T87" fmla="*/ 2147483647 h 453"/>
              <a:gd name="T88" fmla="*/ 2147483647 w 265"/>
              <a:gd name="T89" fmla="*/ 2147483647 h 453"/>
              <a:gd name="T90" fmla="*/ 2147483647 w 265"/>
              <a:gd name="T91" fmla="*/ 2147483647 h 453"/>
              <a:gd name="T92" fmla="*/ 2147483647 w 265"/>
              <a:gd name="T93" fmla="*/ 2147483647 h 453"/>
              <a:gd name="T94" fmla="*/ 2147483647 w 265"/>
              <a:gd name="T95" fmla="*/ 2147483647 h 453"/>
              <a:gd name="T96" fmla="*/ 2147483647 w 265"/>
              <a:gd name="T97" fmla="*/ 2147483647 h 453"/>
              <a:gd name="T98" fmla="*/ 2147483647 w 265"/>
              <a:gd name="T99" fmla="*/ 2147483647 h 453"/>
              <a:gd name="T100" fmla="*/ 2147483647 w 265"/>
              <a:gd name="T101" fmla="*/ 2147483647 h 453"/>
              <a:gd name="T102" fmla="*/ 2147483647 w 265"/>
              <a:gd name="T103" fmla="*/ 2147483647 h 453"/>
              <a:gd name="T104" fmla="*/ 2147483647 w 265"/>
              <a:gd name="T105" fmla="*/ 2147483647 h 453"/>
              <a:gd name="T106" fmla="*/ 2147483647 w 265"/>
              <a:gd name="T107" fmla="*/ 2147483647 h 453"/>
              <a:gd name="T108" fmla="*/ 2147483647 w 265"/>
              <a:gd name="T109" fmla="*/ 2147483647 h 453"/>
              <a:gd name="T110" fmla="*/ 2147483647 w 265"/>
              <a:gd name="T111" fmla="*/ 2147483647 h 453"/>
              <a:gd name="T112" fmla="*/ 2147483647 w 265"/>
              <a:gd name="T113" fmla="*/ 2147483647 h 453"/>
              <a:gd name="T114" fmla="*/ 2147483647 w 265"/>
              <a:gd name="T115" fmla="*/ 2147483647 h 453"/>
              <a:gd name="T116" fmla="*/ 2147483647 w 265"/>
              <a:gd name="T117" fmla="*/ 2147483647 h 4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5"/>
              <a:gd name="T178" fmla="*/ 0 h 453"/>
              <a:gd name="T179" fmla="*/ 265 w 265"/>
              <a:gd name="T180" fmla="*/ 453 h 4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5" h="453">
                <a:moveTo>
                  <a:pt x="252" y="333"/>
                </a:moveTo>
                <a:lnTo>
                  <a:pt x="256" y="363"/>
                </a:lnTo>
                <a:lnTo>
                  <a:pt x="259" y="376"/>
                </a:lnTo>
                <a:lnTo>
                  <a:pt x="261" y="397"/>
                </a:lnTo>
                <a:lnTo>
                  <a:pt x="263" y="430"/>
                </a:lnTo>
                <a:lnTo>
                  <a:pt x="265" y="434"/>
                </a:lnTo>
                <a:lnTo>
                  <a:pt x="259" y="436"/>
                </a:lnTo>
                <a:lnTo>
                  <a:pt x="250" y="432"/>
                </a:lnTo>
                <a:lnTo>
                  <a:pt x="241" y="436"/>
                </a:lnTo>
                <a:lnTo>
                  <a:pt x="226" y="430"/>
                </a:lnTo>
                <a:lnTo>
                  <a:pt x="220" y="432"/>
                </a:lnTo>
                <a:lnTo>
                  <a:pt x="226" y="432"/>
                </a:lnTo>
                <a:lnTo>
                  <a:pt x="194" y="443"/>
                </a:lnTo>
                <a:lnTo>
                  <a:pt x="194" y="436"/>
                </a:lnTo>
                <a:lnTo>
                  <a:pt x="187" y="436"/>
                </a:lnTo>
                <a:lnTo>
                  <a:pt x="185" y="440"/>
                </a:lnTo>
                <a:lnTo>
                  <a:pt x="192" y="443"/>
                </a:lnTo>
                <a:lnTo>
                  <a:pt x="183" y="449"/>
                </a:lnTo>
                <a:lnTo>
                  <a:pt x="181" y="453"/>
                </a:lnTo>
                <a:lnTo>
                  <a:pt x="170" y="453"/>
                </a:lnTo>
                <a:lnTo>
                  <a:pt x="168" y="451"/>
                </a:lnTo>
                <a:lnTo>
                  <a:pt x="166" y="449"/>
                </a:lnTo>
                <a:lnTo>
                  <a:pt x="166" y="447"/>
                </a:lnTo>
                <a:lnTo>
                  <a:pt x="164" y="447"/>
                </a:lnTo>
                <a:lnTo>
                  <a:pt x="164" y="445"/>
                </a:lnTo>
                <a:lnTo>
                  <a:pt x="166" y="445"/>
                </a:lnTo>
                <a:lnTo>
                  <a:pt x="166" y="443"/>
                </a:lnTo>
                <a:lnTo>
                  <a:pt x="164" y="443"/>
                </a:lnTo>
                <a:lnTo>
                  <a:pt x="164" y="440"/>
                </a:lnTo>
                <a:lnTo>
                  <a:pt x="161" y="436"/>
                </a:lnTo>
                <a:lnTo>
                  <a:pt x="161" y="432"/>
                </a:lnTo>
                <a:lnTo>
                  <a:pt x="159" y="430"/>
                </a:lnTo>
                <a:lnTo>
                  <a:pt x="157" y="428"/>
                </a:lnTo>
                <a:lnTo>
                  <a:pt x="153" y="428"/>
                </a:lnTo>
                <a:lnTo>
                  <a:pt x="151" y="425"/>
                </a:lnTo>
                <a:lnTo>
                  <a:pt x="151" y="421"/>
                </a:lnTo>
                <a:lnTo>
                  <a:pt x="149" y="417"/>
                </a:lnTo>
                <a:lnTo>
                  <a:pt x="149" y="415"/>
                </a:lnTo>
                <a:lnTo>
                  <a:pt x="146" y="412"/>
                </a:lnTo>
                <a:lnTo>
                  <a:pt x="146" y="410"/>
                </a:lnTo>
                <a:lnTo>
                  <a:pt x="146" y="408"/>
                </a:lnTo>
                <a:lnTo>
                  <a:pt x="146" y="404"/>
                </a:lnTo>
                <a:lnTo>
                  <a:pt x="149" y="404"/>
                </a:lnTo>
                <a:lnTo>
                  <a:pt x="146" y="402"/>
                </a:lnTo>
                <a:lnTo>
                  <a:pt x="149" y="399"/>
                </a:lnTo>
                <a:lnTo>
                  <a:pt x="149" y="397"/>
                </a:lnTo>
                <a:lnTo>
                  <a:pt x="151" y="397"/>
                </a:lnTo>
                <a:lnTo>
                  <a:pt x="149" y="395"/>
                </a:lnTo>
                <a:lnTo>
                  <a:pt x="151" y="395"/>
                </a:lnTo>
                <a:lnTo>
                  <a:pt x="151" y="389"/>
                </a:lnTo>
                <a:lnTo>
                  <a:pt x="153" y="386"/>
                </a:lnTo>
                <a:lnTo>
                  <a:pt x="151" y="386"/>
                </a:lnTo>
                <a:lnTo>
                  <a:pt x="153" y="384"/>
                </a:lnTo>
                <a:lnTo>
                  <a:pt x="153" y="382"/>
                </a:lnTo>
                <a:lnTo>
                  <a:pt x="153" y="380"/>
                </a:lnTo>
                <a:lnTo>
                  <a:pt x="144" y="382"/>
                </a:lnTo>
                <a:lnTo>
                  <a:pt x="112" y="382"/>
                </a:lnTo>
                <a:lnTo>
                  <a:pt x="103" y="384"/>
                </a:lnTo>
                <a:lnTo>
                  <a:pt x="88" y="384"/>
                </a:lnTo>
                <a:lnTo>
                  <a:pt x="86" y="384"/>
                </a:lnTo>
                <a:lnTo>
                  <a:pt x="64" y="386"/>
                </a:lnTo>
                <a:lnTo>
                  <a:pt x="47" y="386"/>
                </a:lnTo>
                <a:lnTo>
                  <a:pt x="36" y="386"/>
                </a:lnTo>
                <a:lnTo>
                  <a:pt x="2" y="389"/>
                </a:lnTo>
                <a:lnTo>
                  <a:pt x="4" y="386"/>
                </a:lnTo>
                <a:lnTo>
                  <a:pt x="6" y="384"/>
                </a:lnTo>
                <a:lnTo>
                  <a:pt x="6" y="382"/>
                </a:lnTo>
                <a:lnTo>
                  <a:pt x="2" y="378"/>
                </a:lnTo>
                <a:lnTo>
                  <a:pt x="4" y="371"/>
                </a:lnTo>
                <a:lnTo>
                  <a:pt x="2" y="369"/>
                </a:lnTo>
                <a:lnTo>
                  <a:pt x="0" y="367"/>
                </a:lnTo>
                <a:lnTo>
                  <a:pt x="0" y="365"/>
                </a:lnTo>
                <a:lnTo>
                  <a:pt x="4" y="365"/>
                </a:lnTo>
                <a:lnTo>
                  <a:pt x="10" y="363"/>
                </a:lnTo>
                <a:lnTo>
                  <a:pt x="10" y="361"/>
                </a:lnTo>
                <a:lnTo>
                  <a:pt x="6" y="356"/>
                </a:lnTo>
                <a:lnTo>
                  <a:pt x="6" y="354"/>
                </a:lnTo>
                <a:lnTo>
                  <a:pt x="4" y="352"/>
                </a:lnTo>
                <a:lnTo>
                  <a:pt x="4" y="350"/>
                </a:lnTo>
                <a:lnTo>
                  <a:pt x="6" y="350"/>
                </a:lnTo>
                <a:lnTo>
                  <a:pt x="6" y="352"/>
                </a:lnTo>
                <a:lnTo>
                  <a:pt x="10" y="354"/>
                </a:lnTo>
                <a:lnTo>
                  <a:pt x="13" y="354"/>
                </a:lnTo>
                <a:lnTo>
                  <a:pt x="13" y="352"/>
                </a:lnTo>
                <a:lnTo>
                  <a:pt x="13" y="350"/>
                </a:lnTo>
                <a:lnTo>
                  <a:pt x="10" y="348"/>
                </a:lnTo>
                <a:lnTo>
                  <a:pt x="10" y="339"/>
                </a:lnTo>
                <a:lnTo>
                  <a:pt x="13" y="337"/>
                </a:lnTo>
                <a:lnTo>
                  <a:pt x="15" y="337"/>
                </a:lnTo>
                <a:lnTo>
                  <a:pt x="17" y="335"/>
                </a:lnTo>
                <a:lnTo>
                  <a:pt x="15" y="333"/>
                </a:lnTo>
                <a:lnTo>
                  <a:pt x="10" y="333"/>
                </a:lnTo>
                <a:lnTo>
                  <a:pt x="6" y="333"/>
                </a:lnTo>
                <a:lnTo>
                  <a:pt x="6" y="330"/>
                </a:lnTo>
                <a:lnTo>
                  <a:pt x="10" y="328"/>
                </a:lnTo>
                <a:lnTo>
                  <a:pt x="13" y="330"/>
                </a:lnTo>
                <a:lnTo>
                  <a:pt x="17" y="330"/>
                </a:lnTo>
                <a:lnTo>
                  <a:pt x="17" y="328"/>
                </a:lnTo>
                <a:lnTo>
                  <a:pt x="17" y="322"/>
                </a:lnTo>
                <a:lnTo>
                  <a:pt x="19" y="317"/>
                </a:lnTo>
                <a:lnTo>
                  <a:pt x="21" y="317"/>
                </a:lnTo>
                <a:lnTo>
                  <a:pt x="23" y="317"/>
                </a:lnTo>
                <a:lnTo>
                  <a:pt x="28" y="317"/>
                </a:lnTo>
                <a:lnTo>
                  <a:pt x="28" y="315"/>
                </a:lnTo>
                <a:lnTo>
                  <a:pt x="21" y="317"/>
                </a:lnTo>
                <a:lnTo>
                  <a:pt x="19" y="317"/>
                </a:lnTo>
                <a:lnTo>
                  <a:pt x="19" y="315"/>
                </a:lnTo>
                <a:lnTo>
                  <a:pt x="21" y="311"/>
                </a:lnTo>
                <a:lnTo>
                  <a:pt x="21" y="307"/>
                </a:lnTo>
                <a:lnTo>
                  <a:pt x="23" y="307"/>
                </a:lnTo>
                <a:lnTo>
                  <a:pt x="23" y="311"/>
                </a:lnTo>
                <a:lnTo>
                  <a:pt x="28" y="313"/>
                </a:lnTo>
                <a:lnTo>
                  <a:pt x="30" y="311"/>
                </a:lnTo>
                <a:lnTo>
                  <a:pt x="28" y="307"/>
                </a:lnTo>
                <a:lnTo>
                  <a:pt x="32" y="302"/>
                </a:lnTo>
                <a:lnTo>
                  <a:pt x="34" y="296"/>
                </a:lnTo>
                <a:lnTo>
                  <a:pt x="36" y="296"/>
                </a:lnTo>
                <a:lnTo>
                  <a:pt x="43" y="294"/>
                </a:lnTo>
                <a:lnTo>
                  <a:pt x="43" y="289"/>
                </a:lnTo>
                <a:lnTo>
                  <a:pt x="38" y="289"/>
                </a:lnTo>
                <a:lnTo>
                  <a:pt x="34" y="287"/>
                </a:lnTo>
                <a:lnTo>
                  <a:pt x="36" y="285"/>
                </a:lnTo>
                <a:lnTo>
                  <a:pt x="38" y="289"/>
                </a:lnTo>
                <a:lnTo>
                  <a:pt x="43" y="287"/>
                </a:lnTo>
                <a:lnTo>
                  <a:pt x="38" y="285"/>
                </a:lnTo>
                <a:lnTo>
                  <a:pt x="43" y="285"/>
                </a:lnTo>
                <a:lnTo>
                  <a:pt x="45" y="283"/>
                </a:lnTo>
                <a:lnTo>
                  <a:pt x="45" y="279"/>
                </a:lnTo>
                <a:lnTo>
                  <a:pt x="43" y="279"/>
                </a:lnTo>
                <a:lnTo>
                  <a:pt x="43" y="281"/>
                </a:lnTo>
                <a:lnTo>
                  <a:pt x="43" y="283"/>
                </a:lnTo>
                <a:lnTo>
                  <a:pt x="38" y="281"/>
                </a:lnTo>
                <a:lnTo>
                  <a:pt x="36" y="283"/>
                </a:lnTo>
                <a:lnTo>
                  <a:pt x="34" y="281"/>
                </a:lnTo>
                <a:lnTo>
                  <a:pt x="32" y="279"/>
                </a:lnTo>
                <a:lnTo>
                  <a:pt x="32" y="274"/>
                </a:lnTo>
                <a:lnTo>
                  <a:pt x="36" y="272"/>
                </a:lnTo>
                <a:lnTo>
                  <a:pt x="36" y="274"/>
                </a:lnTo>
                <a:lnTo>
                  <a:pt x="38" y="272"/>
                </a:lnTo>
                <a:lnTo>
                  <a:pt x="43" y="270"/>
                </a:lnTo>
                <a:lnTo>
                  <a:pt x="47" y="272"/>
                </a:lnTo>
                <a:lnTo>
                  <a:pt x="47" y="268"/>
                </a:lnTo>
                <a:lnTo>
                  <a:pt x="47" y="266"/>
                </a:lnTo>
                <a:lnTo>
                  <a:pt x="51" y="266"/>
                </a:lnTo>
                <a:lnTo>
                  <a:pt x="54" y="257"/>
                </a:lnTo>
                <a:lnTo>
                  <a:pt x="51" y="261"/>
                </a:lnTo>
                <a:lnTo>
                  <a:pt x="47" y="261"/>
                </a:lnTo>
                <a:lnTo>
                  <a:pt x="45" y="261"/>
                </a:lnTo>
                <a:lnTo>
                  <a:pt x="45" y="257"/>
                </a:lnTo>
                <a:lnTo>
                  <a:pt x="47" y="255"/>
                </a:lnTo>
                <a:lnTo>
                  <a:pt x="47" y="253"/>
                </a:lnTo>
                <a:lnTo>
                  <a:pt x="45" y="253"/>
                </a:lnTo>
                <a:lnTo>
                  <a:pt x="43" y="253"/>
                </a:lnTo>
                <a:lnTo>
                  <a:pt x="38" y="253"/>
                </a:lnTo>
                <a:lnTo>
                  <a:pt x="34" y="248"/>
                </a:lnTo>
                <a:lnTo>
                  <a:pt x="34" y="246"/>
                </a:lnTo>
                <a:lnTo>
                  <a:pt x="36" y="244"/>
                </a:lnTo>
                <a:lnTo>
                  <a:pt x="43" y="248"/>
                </a:lnTo>
                <a:lnTo>
                  <a:pt x="45" y="248"/>
                </a:lnTo>
                <a:lnTo>
                  <a:pt x="45" y="246"/>
                </a:lnTo>
                <a:lnTo>
                  <a:pt x="38" y="244"/>
                </a:lnTo>
                <a:lnTo>
                  <a:pt x="36" y="244"/>
                </a:lnTo>
                <a:lnTo>
                  <a:pt x="38" y="240"/>
                </a:lnTo>
                <a:lnTo>
                  <a:pt x="43" y="240"/>
                </a:lnTo>
                <a:lnTo>
                  <a:pt x="45" y="235"/>
                </a:lnTo>
                <a:lnTo>
                  <a:pt x="43" y="233"/>
                </a:lnTo>
                <a:lnTo>
                  <a:pt x="43" y="235"/>
                </a:lnTo>
                <a:lnTo>
                  <a:pt x="38" y="238"/>
                </a:lnTo>
                <a:lnTo>
                  <a:pt x="34" y="238"/>
                </a:lnTo>
                <a:lnTo>
                  <a:pt x="32" y="235"/>
                </a:lnTo>
                <a:lnTo>
                  <a:pt x="32" y="233"/>
                </a:lnTo>
                <a:lnTo>
                  <a:pt x="38" y="229"/>
                </a:lnTo>
                <a:lnTo>
                  <a:pt x="34" y="225"/>
                </a:lnTo>
                <a:lnTo>
                  <a:pt x="32" y="225"/>
                </a:lnTo>
                <a:lnTo>
                  <a:pt x="30" y="222"/>
                </a:lnTo>
                <a:lnTo>
                  <a:pt x="32" y="216"/>
                </a:lnTo>
                <a:lnTo>
                  <a:pt x="36" y="214"/>
                </a:lnTo>
                <a:lnTo>
                  <a:pt x="36" y="205"/>
                </a:lnTo>
                <a:lnTo>
                  <a:pt x="34" y="203"/>
                </a:lnTo>
                <a:lnTo>
                  <a:pt x="32" y="203"/>
                </a:lnTo>
                <a:lnTo>
                  <a:pt x="32" y="207"/>
                </a:lnTo>
                <a:lnTo>
                  <a:pt x="30" y="212"/>
                </a:lnTo>
                <a:lnTo>
                  <a:pt x="28" y="212"/>
                </a:lnTo>
                <a:lnTo>
                  <a:pt x="23" y="207"/>
                </a:lnTo>
                <a:lnTo>
                  <a:pt x="30" y="201"/>
                </a:lnTo>
                <a:lnTo>
                  <a:pt x="30" y="199"/>
                </a:lnTo>
                <a:lnTo>
                  <a:pt x="32" y="199"/>
                </a:lnTo>
                <a:lnTo>
                  <a:pt x="32" y="197"/>
                </a:lnTo>
                <a:lnTo>
                  <a:pt x="30" y="192"/>
                </a:lnTo>
                <a:lnTo>
                  <a:pt x="28" y="190"/>
                </a:lnTo>
                <a:lnTo>
                  <a:pt x="23" y="188"/>
                </a:lnTo>
                <a:lnTo>
                  <a:pt x="28" y="188"/>
                </a:lnTo>
                <a:lnTo>
                  <a:pt x="32" y="188"/>
                </a:lnTo>
                <a:lnTo>
                  <a:pt x="34" y="188"/>
                </a:lnTo>
                <a:lnTo>
                  <a:pt x="34" y="186"/>
                </a:lnTo>
                <a:lnTo>
                  <a:pt x="34" y="181"/>
                </a:lnTo>
                <a:lnTo>
                  <a:pt x="36" y="179"/>
                </a:lnTo>
                <a:lnTo>
                  <a:pt x="36" y="175"/>
                </a:lnTo>
                <a:lnTo>
                  <a:pt x="36" y="173"/>
                </a:lnTo>
                <a:lnTo>
                  <a:pt x="34" y="173"/>
                </a:lnTo>
                <a:lnTo>
                  <a:pt x="32" y="179"/>
                </a:lnTo>
                <a:lnTo>
                  <a:pt x="32" y="175"/>
                </a:lnTo>
                <a:lnTo>
                  <a:pt x="30" y="171"/>
                </a:lnTo>
                <a:lnTo>
                  <a:pt x="30" y="168"/>
                </a:lnTo>
                <a:lnTo>
                  <a:pt x="32" y="164"/>
                </a:lnTo>
                <a:lnTo>
                  <a:pt x="34" y="164"/>
                </a:lnTo>
                <a:lnTo>
                  <a:pt x="34" y="160"/>
                </a:lnTo>
                <a:lnTo>
                  <a:pt x="34" y="158"/>
                </a:lnTo>
                <a:lnTo>
                  <a:pt x="32" y="158"/>
                </a:lnTo>
                <a:lnTo>
                  <a:pt x="32" y="164"/>
                </a:lnTo>
                <a:lnTo>
                  <a:pt x="30" y="166"/>
                </a:lnTo>
                <a:lnTo>
                  <a:pt x="23" y="166"/>
                </a:lnTo>
                <a:lnTo>
                  <a:pt x="23" y="164"/>
                </a:lnTo>
                <a:lnTo>
                  <a:pt x="30" y="160"/>
                </a:lnTo>
                <a:lnTo>
                  <a:pt x="30" y="158"/>
                </a:lnTo>
                <a:lnTo>
                  <a:pt x="30" y="156"/>
                </a:lnTo>
                <a:lnTo>
                  <a:pt x="28" y="153"/>
                </a:lnTo>
                <a:lnTo>
                  <a:pt x="23" y="153"/>
                </a:lnTo>
                <a:lnTo>
                  <a:pt x="28" y="158"/>
                </a:lnTo>
                <a:lnTo>
                  <a:pt x="23" y="160"/>
                </a:lnTo>
                <a:lnTo>
                  <a:pt x="21" y="160"/>
                </a:lnTo>
                <a:lnTo>
                  <a:pt x="21" y="158"/>
                </a:lnTo>
                <a:lnTo>
                  <a:pt x="23" y="153"/>
                </a:lnTo>
                <a:lnTo>
                  <a:pt x="21" y="151"/>
                </a:lnTo>
                <a:lnTo>
                  <a:pt x="21" y="147"/>
                </a:lnTo>
                <a:lnTo>
                  <a:pt x="23" y="149"/>
                </a:lnTo>
                <a:lnTo>
                  <a:pt x="28" y="149"/>
                </a:lnTo>
                <a:lnTo>
                  <a:pt x="28" y="143"/>
                </a:lnTo>
                <a:lnTo>
                  <a:pt x="28" y="140"/>
                </a:lnTo>
                <a:lnTo>
                  <a:pt x="21" y="138"/>
                </a:lnTo>
                <a:lnTo>
                  <a:pt x="21" y="136"/>
                </a:lnTo>
                <a:lnTo>
                  <a:pt x="23" y="134"/>
                </a:lnTo>
                <a:lnTo>
                  <a:pt x="30" y="138"/>
                </a:lnTo>
                <a:lnTo>
                  <a:pt x="32" y="138"/>
                </a:lnTo>
                <a:lnTo>
                  <a:pt x="34" y="138"/>
                </a:lnTo>
                <a:lnTo>
                  <a:pt x="34" y="136"/>
                </a:lnTo>
                <a:lnTo>
                  <a:pt x="34" y="134"/>
                </a:lnTo>
                <a:lnTo>
                  <a:pt x="30" y="136"/>
                </a:lnTo>
                <a:lnTo>
                  <a:pt x="28" y="136"/>
                </a:lnTo>
                <a:lnTo>
                  <a:pt x="28" y="134"/>
                </a:lnTo>
                <a:lnTo>
                  <a:pt x="28" y="130"/>
                </a:lnTo>
                <a:lnTo>
                  <a:pt x="30" y="130"/>
                </a:lnTo>
                <a:lnTo>
                  <a:pt x="32" y="130"/>
                </a:lnTo>
                <a:lnTo>
                  <a:pt x="34" y="130"/>
                </a:lnTo>
                <a:lnTo>
                  <a:pt x="36" y="130"/>
                </a:lnTo>
                <a:lnTo>
                  <a:pt x="38" y="130"/>
                </a:lnTo>
                <a:lnTo>
                  <a:pt x="38" y="125"/>
                </a:lnTo>
                <a:lnTo>
                  <a:pt x="34" y="123"/>
                </a:lnTo>
                <a:lnTo>
                  <a:pt x="32" y="121"/>
                </a:lnTo>
                <a:lnTo>
                  <a:pt x="34" y="114"/>
                </a:lnTo>
                <a:lnTo>
                  <a:pt x="32" y="110"/>
                </a:lnTo>
                <a:lnTo>
                  <a:pt x="30" y="108"/>
                </a:lnTo>
                <a:lnTo>
                  <a:pt x="32" y="106"/>
                </a:lnTo>
                <a:lnTo>
                  <a:pt x="34" y="108"/>
                </a:lnTo>
                <a:lnTo>
                  <a:pt x="36" y="108"/>
                </a:lnTo>
                <a:lnTo>
                  <a:pt x="36" y="110"/>
                </a:lnTo>
                <a:lnTo>
                  <a:pt x="38" y="110"/>
                </a:lnTo>
                <a:lnTo>
                  <a:pt x="38" y="108"/>
                </a:lnTo>
                <a:lnTo>
                  <a:pt x="38" y="106"/>
                </a:lnTo>
                <a:lnTo>
                  <a:pt x="38" y="104"/>
                </a:lnTo>
                <a:lnTo>
                  <a:pt x="45" y="104"/>
                </a:lnTo>
                <a:lnTo>
                  <a:pt x="47" y="99"/>
                </a:lnTo>
                <a:lnTo>
                  <a:pt x="45" y="99"/>
                </a:lnTo>
                <a:lnTo>
                  <a:pt x="38" y="97"/>
                </a:lnTo>
                <a:lnTo>
                  <a:pt x="38" y="93"/>
                </a:lnTo>
                <a:lnTo>
                  <a:pt x="43" y="89"/>
                </a:lnTo>
                <a:lnTo>
                  <a:pt x="47" y="93"/>
                </a:lnTo>
                <a:lnTo>
                  <a:pt x="49" y="93"/>
                </a:lnTo>
                <a:lnTo>
                  <a:pt x="51" y="91"/>
                </a:lnTo>
                <a:lnTo>
                  <a:pt x="49" y="89"/>
                </a:lnTo>
                <a:lnTo>
                  <a:pt x="43" y="89"/>
                </a:lnTo>
                <a:lnTo>
                  <a:pt x="38" y="86"/>
                </a:lnTo>
                <a:lnTo>
                  <a:pt x="43" y="84"/>
                </a:lnTo>
                <a:lnTo>
                  <a:pt x="47" y="86"/>
                </a:lnTo>
                <a:lnTo>
                  <a:pt x="49" y="86"/>
                </a:lnTo>
                <a:lnTo>
                  <a:pt x="49" y="82"/>
                </a:lnTo>
                <a:lnTo>
                  <a:pt x="49" y="78"/>
                </a:lnTo>
                <a:lnTo>
                  <a:pt x="51" y="78"/>
                </a:lnTo>
                <a:lnTo>
                  <a:pt x="54" y="82"/>
                </a:lnTo>
                <a:lnTo>
                  <a:pt x="54" y="76"/>
                </a:lnTo>
                <a:lnTo>
                  <a:pt x="54" y="73"/>
                </a:lnTo>
                <a:lnTo>
                  <a:pt x="54" y="71"/>
                </a:lnTo>
                <a:lnTo>
                  <a:pt x="60" y="71"/>
                </a:lnTo>
                <a:lnTo>
                  <a:pt x="60" y="76"/>
                </a:lnTo>
                <a:lnTo>
                  <a:pt x="62" y="76"/>
                </a:lnTo>
                <a:lnTo>
                  <a:pt x="62" y="71"/>
                </a:lnTo>
                <a:lnTo>
                  <a:pt x="64" y="69"/>
                </a:lnTo>
                <a:lnTo>
                  <a:pt x="66" y="67"/>
                </a:lnTo>
                <a:lnTo>
                  <a:pt x="66" y="65"/>
                </a:lnTo>
                <a:lnTo>
                  <a:pt x="66" y="58"/>
                </a:lnTo>
                <a:lnTo>
                  <a:pt x="66" y="56"/>
                </a:lnTo>
                <a:lnTo>
                  <a:pt x="69" y="54"/>
                </a:lnTo>
                <a:lnTo>
                  <a:pt x="66" y="50"/>
                </a:lnTo>
                <a:lnTo>
                  <a:pt x="64" y="45"/>
                </a:lnTo>
                <a:lnTo>
                  <a:pt x="66" y="45"/>
                </a:lnTo>
                <a:lnTo>
                  <a:pt x="66" y="41"/>
                </a:lnTo>
                <a:lnTo>
                  <a:pt x="69" y="41"/>
                </a:lnTo>
                <a:lnTo>
                  <a:pt x="69" y="43"/>
                </a:lnTo>
                <a:lnTo>
                  <a:pt x="69" y="45"/>
                </a:lnTo>
                <a:lnTo>
                  <a:pt x="71" y="45"/>
                </a:lnTo>
                <a:lnTo>
                  <a:pt x="73" y="41"/>
                </a:lnTo>
                <a:lnTo>
                  <a:pt x="73" y="39"/>
                </a:lnTo>
                <a:lnTo>
                  <a:pt x="69" y="39"/>
                </a:lnTo>
                <a:lnTo>
                  <a:pt x="66" y="32"/>
                </a:lnTo>
                <a:lnTo>
                  <a:pt x="69" y="28"/>
                </a:lnTo>
                <a:lnTo>
                  <a:pt x="69" y="32"/>
                </a:lnTo>
                <a:lnTo>
                  <a:pt x="71" y="32"/>
                </a:lnTo>
                <a:lnTo>
                  <a:pt x="71" y="35"/>
                </a:lnTo>
                <a:lnTo>
                  <a:pt x="69" y="37"/>
                </a:lnTo>
                <a:lnTo>
                  <a:pt x="71" y="37"/>
                </a:lnTo>
                <a:lnTo>
                  <a:pt x="73" y="37"/>
                </a:lnTo>
                <a:lnTo>
                  <a:pt x="73" y="35"/>
                </a:lnTo>
                <a:lnTo>
                  <a:pt x="73" y="32"/>
                </a:lnTo>
                <a:lnTo>
                  <a:pt x="73" y="28"/>
                </a:lnTo>
                <a:lnTo>
                  <a:pt x="71" y="24"/>
                </a:lnTo>
                <a:lnTo>
                  <a:pt x="73" y="22"/>
                </a:lnTo>
                <a:lnTo>
                  <a:pt x="77" y="24"/>
                </a:lnTo>
                <a:lnTo>
                  <a:pt x="77" y="26"/>
                </a:lnTo>
                <a:lnTo>
                  <a:pt x="79" y="26"/>
                </a:lnTo>
                <a:lnTo>
                  <a:pt x="82" y="24"/>
                </a:lnTo>
                <a:lnTo>
                  <a:pt x="84" y="24"/>
                </a:lnTo>
                <a:lnTo>
                  <a:pt x="86" y="24"/>
                </a:lnTo>
                <a:lnTo>
                  <a:pt x="86" y="22"/>
                </a:lnTo>
                <a:lnTo>
                  <a:pt x="88" y="22"/>
                </a:lnTo>
                <a:lnTo>
                  <a:pt x="88" y="20"/>
                </a:lnTo>
                <a:lnTo>
                  <a:pt x="88" y="17"/>
                </a:lnTo>
                <a:lnTo>
                  <a:pt x="84" y="15"/>
                </a:lnTo>
                <a:lnTo>
                  <a:pt x="84" y="11"/>
                </a:lnTo>
                <a:lnTo>
                  <a:pt x="129" y="9"/>
                </a:lnTo>
                <a:lnTo>
                  <a:pt x="133" y="9"/>
                </a:lnTo>
                <a:lnTo>
                  <a:pt x="159" y="7"/>
                </a:lnTo>
                <a:lnTo>
                  <a:pt x="168" y="7"/>
                </a:lnTo>
                <a:lnTo>
                  <a:pt x="183" y="4"/>
                </a:lnTo>
                <a:lnTo>
                  <a:pt x="198" y="4"/>
                </a:lnTo>
                <a:lnTo>
                  <a:pt x="200" y="4"/>
                </a:lnTo>
                <a:lnTo>
                  <a:pt x="231" y="2"/>
                </a:lnTo>
                <a:lnTo>
                  <a:pt x="233" y="0"/>
                </a:lnTo>
                <a:lnTo>
                  <a:pt x="246" y="0"/>
                </a:lnTo>
                <a:lnTo>
                  <a:pt x="250" y="7"/>
                </a:lnTo>
                <a:lnTo>
                  <a:pt x="252" y="9"/>
                </a:lnTo>
                <a:lnTo>
                  <a:pt x="252" y="39"/>
                </a:lnTo>
                <a:lnTo>
                  <a:pt x="252" y="50"/>
                </a:lnTo>
                <a:lnTo>
                  <a:pt x="252" y="61"/>
                </a:lnTo>
                <a:lnTo>
                  <a:pt x="250" y="84"/>
                </a:lnTo>
                <a:lnTo>
                  <a:pt x="250" y="86"/>
                </a:lnTo>
                <a:lnTo>
                  <a:pt x="250" y="117"/>
                </a:lnTo>
                <a:lnTo>
                  <a:pt x="250" y="136"/>
                </a:lnTo>
                <a:lnTo>
                  <a:pt x="250" y="160"/>
                </a:lnTo>
                <a:lnTo>
                  <a:pt x="248" y="188"/>
                </a:lnTo>
                <a:lnTo>
                  <a:pt x="248" y="192"/>
                </a:lnTo>
                <a:lnTo>
                  <a:pt x="248" y="225"/>
                </a:lnTo>
                <a:lnTo>
                  <a:pt x="248" y="253"/>
                </a:lnTo>
                <a:lnTo>
                  <a:pt x="248" y="261"/>
                </a:lnTo>
                <a:lnTo>
                  <a:pt x="248" y="289"/>
                </a:lnTo>
                <a:lnTo>
                  <a:pt x="248" y="307"/>
                </a:lnTo>
                <a:lnTo>
                  <a:pt x="252" y="333"/>
                </a:lnTo>
                <a:close/>
              </a:path>
            </a:pathLst>
          </a:custGeom>
          <a:noFill/>
          <a:ln w="9525">
            <a:noFill/>
            <a:round/>
            <a:headEnd/>
            <a:tailEnd/>
          </a:ln>
        </p:spPr>
        <p:txBody>
          <a:bodyPr/>
          <a:lstStyle/>
          <a:p>
            <a:endParaRPr lang="en-US" dirty="0">
              <a:solidFill>
                <a:prstClr val="black"/>
              </a:solidFill>
            </a:endParaRPr>
          </a:p>
        </p:txBody>
      </p:sp>
      <p:sp>
        <p:nvSpPr>
          <p:cNvPr id="273" name="Freeform 106">
            <a:extLst>
              <a:ext uri="{FF2B5EF4-FFF2-40B4-BE49-F238E27FC236}">
                <a16:creationId xmlns:a16="http://schemas.microsoft.com/office/drawing/2014/main" id="{91D4D453-02DE-47AF-A641-73369BCECB82}"/>
              </a:ext>
            </a:extLst>
          </p:cNvPr>
          <p:cNvSpPr>
            <a:spLocks/>
          </p:cNvSpPr>
          <p:nvPr>
            <p:custDataLst>
              <p:tags r:id="rId97"/>
            </p:custDataLst>
          </p:nvPr>
        </p:nvSpPr>
        <p:spPr bwMode="auto">
          <a:xfrm>
            <a:off x="6813149" y="4621877"/>
            <a:ext cx="534849" cy="979252"/>
          </a:xfrm>
          <a:custGeom>
            <a:avLst/>
            <a:gdLst>
              <a:gd name="T0" fmla="*/ 2147483647 w 265"/>
              <a:gd name="T1" fmla="*/ 2147483647 h 453"/>
              <a:gd name="T2" fmla="*/ 2147483647 w 265"/>
              <a:gd name="T3" fmla="*/ 2147483647 h 453"/>
              <a:gd name="T4" fmla="*/ 2147483647 w 265"/>
              <a:gd name="T5" fmla="*/ 2147483647 h 453"/>
              <a:gd name="T6" fmla="*/ 2147483647 w 265"/>
              <a:gd name="T7" fmla="*/ 2147483647 h 453"/>
              <a:gd name="T8" fmla="*/ 2147483647 w 265"/>
              <a:gd name="T9" fmla="*/ 2147483647 h 453"/>
              <a:gd name="T10" fmla="*/ 2147483647 w 265"/>
              <a:gd name="T11" fmla="*/ 2147483647 h 453"/>
              <a:gd name="T12" fmla="*/ 2147483647 w 265"/>
              <a:gd name="T13" fmla="*/ 2147483647 h 453"/>
              <a:gd name="T14" fmla="*/ 2147483647 w 265"/>
              <a:gd name="T15" fmla="*/ 2147483647 h 453"/>
              <a:gd name="T16" fmla="*/ 2147483647 w 265"/>
              <a:gd name="T17" fmla="*/ 2147483647 h 453"/>
              <a:gd name="T18" fmla="*/ 2147483647 w 265"/>
              <a:gd name="T19" fmla="*/ 2147483647 h 453"/>
              <a:gd name="T20" fmla="*/ 2147483647 w 265"/>
              <a:gd name="T21" fmla="*/ 2147483647 h 453"/>
              <a:gd name="T22" fmla="*/ 0 w 265"/>
              <a:gd name="T23" fmla="*/ 2147483647 h 453"/>
              <a:gd name="T24" fmla="*/ 2147483647 w 265"/>
              <a:gd name="T25" fmla="*/ 2147483647 h 453"/>
              <a:gd name="T26" fmla="*/ 2147483647 w 265"/>
              <a:gd name="T27" fmla="*/ 2147483647 h 453"/>
              <a:gd name="T28" fmla="*/ 2147483647 w 265"/>
              <a:gd name="T29" fmla="*/ 2147483647 h 453"/>
              <a:gd name="T30" fmla="*/ 2147483647 w 265"/>
              <a:gd name="T31" fmla="*/ 2147483647 h 453"/>
              <a:gd name="T32" fmla="*/ 2147483647 w 265"/>
              <a:gd name="T33" fmla="*/ 2147483647 h 453"/>
              <a:gd name="T34" fmla="*/ 2147483647 w 265"/>
              <a:gd name="T35" fmla="*/ 2147483647 h 453"/>
              <a:gd name="T36" fmla="*/ 2147483647 w 265"/>
              <a:gd name="T37" fmla="*/ 2147483647 h 453"/>
              <a:gd name="T38" fmla="*/ 2147483647 w 265"/>
              <a:gd name="T39" fmla="*/ 2147483647 h 453"/>
              <a:gd name="T40" fmla="*/ 2147483647 w 265"/>
              <a:gd name="T41" fmla="*/ 2147483647 h 453"/>
              <a:gd name="T42" fmla="*/ 2147483647 w 265"/>
              <a:gd name="T43" fmla="*/ 2147483647 h 453"/>
              <a:gd name="T44" fmla="*/ 2147483647 w 265"/>
              <a:gd name="T45" fmla="*/ 2147483647 h 453"/>
              <a:gd name="T46" fmla="*/ 2147483647 w 265"/>
              <a:gd name="T47" fmla="*/ 2147483647 h 453"/>
              <a:gd name="T48" fmla="*/ 2147483647 w 265"/>
              <a:gd name="T49" fmla="*/ 2147483647 h 453"/>
              <a:gd name="T50" fmla="*/ 2147483647 w 265"/>
              <a:gd name="T51" fmla="*/ 2147483647 h 453"/>
              <a:gd name="T52" fmla="*/ 2147483647 w 265"/>
              <a:gd name="T53" fmla="*/ 2147483647 h 453"/>
              <a:gd name="T54" fmla="*/ 2147483647 w 265"/>
              <a:gd name="T55" fmla="*/ 2147483647 h 453"/>
              <a:gd name="T56" fmla="*/ 2147483647 w 265"/>
              <a:gd name="T57" fmla="*/ 2147483647 h 453"/>
              <a:gd name="T58" fmla="*/ 2147483647 w 265"/>
              <a:gd name="T59" fmla="*/ 2147483647 h 453"/>
              <a:gd name="T60" fmla="*/ 2147483647 w 265"/>
              <a:gd name="T61" fmla="*/ 2147483647 h 453"/>
              <a:gd name="T62" fmla="*/ 2147483647 w 265"/>
              <a:gd name="T63" fmla="*/ 2147483647 h 453"/>
              <a:gd name="T64" fmla="*/ 2147483647 w 265"/>
              <a:gd name="T65" fmla="*/ 2147483647 h 453"/>
              <a:gd name="T66" fmla="*/ 2147483647 w 265"/>
              <a:gd name="T67" fmla="*/ 2147483647 h 453"/>
              <a:gd name="T68" fmla="*/ 2147483647 w 265"/>
              <a:gd name="T69" fmla="*/ 2147483647 h 453"/>
              <a:gd name="T70" fmla="*/ 2147483647 w 265"/>
              <a:gd name="T71" fmla="*/ 2147483647 h 453"/>
              <a:gd name="T72" fmla="*/ 2147483647 w 265"/>
              <a:gd name="T73" fmla="*/ 2147483647 h 453"/>
              <a:gd name="T74" fmla="*/ 2147483647 w 265"/>
              <a:gd name="T75" fmla="*/ 2147483647 h 453"/>
              <a:gd name="T76" fmla="*/ 2147483647 w 265"/>
              <a:gd name="T77" fmla="*/ 2147483647 h 453"/>
              <a:gd name="T78" fmla="*/ 2147483647 w 265"/>
              <a:gd name="T79" fmla="*/ 2147483647 h 453"/>
              <a:gd name="T80" fmla="*/ 2147483647 w 265"/>
              <a:gd name="T81" fmla="*/ 2147483647 h 453"/>
              <a:gd name="T82" fmla="*/ 2147483647 w 265"/>
              <a:gd name="T83" fmla="*/ 2147483647 h 453"/>
              <a:gd name="T84" fmla="*/ 2147483647 w 265"/>
              <a:gd name="T85" fmla="*/ 2147483647 h 453"/>
              <a:gd name="T86" fmla="*/ 2147483647 w 265"/>
              <a:gd name="T87" fmla="*/ 2147483647 h 453"/>
              <a:gd name="T88" fmla="*/ 2147483647 w 265"/>
              <a:gd name="T89" fmla="*/ 2147483647 h 453"/>
              <a:gd name="T90" fmla="*/ 2147483647 w 265"/>
              <a:gd name="T91" fmla="*/ 2147483647 h 453"/>
              <a:gd name="T92" fmla="*/ 2147483647 w 265"/>
              <a:gd name="T93" fmla="*/ 2147483647 h 453"/>
              <a:gd name="T94" fmla="*/ 2147483647 w 265"/>
              <a:gd name="T95" fmla="*/ 2147483647 h 453"/>
              <a:gd name="T96" fmla="*/ 2147483647 w 265"/>
              <a:gd name="T97" fmla="*/ 2147483647 h 453"/>
              <a:gd name="T98" fmla="*/ 2147483647 w 265"/>
              <a:gd name="T99" fmla="*/ 2147483647 h 453"/>
              <a:gd name="T100" fmla="*/ 2147483647 w 265"/>
              <a:gd name="T101" fmla="*/ 2147483647 h 453"/>
              <a:gd name="T102" fmla="*/ 2147483647 w 265"/>
              <a:gd name="T103" fmla="*/ 2147483647 h 453"/>
              <a:gd name="T104" fmla="*/ 2147483647 w 265"/>
              <a:gd name="T105" fmla="*/ 2147483647 h 453"/>
              <a:gd name="T106" fmla="*/ 2147483647 w 265"/>
              <a:gd name="T107" fmla="*/ 2147483647 h 453"/>
              <a:gd name="T108" fmla="*/ 2147483647 w 265"/>
              <a:gd name="T109" fmla="*/ 2147483647 h 453"/>
              <a:gd name="T110" fmla="*/ 2147483647 w 265"/>
              <a:gd name="T111" fmla="*/ 2147483647 h 453"/>
              <a:gd name="T112" fmla="*/ 2147483647 w 265"/>
              <a:gd name="T113" fmla="*/ 2147483647 h 453"/>
              <a:gd name="T114" fmla="*/ 2147483647 w 265"/>
              <a:gd name="T115" fmla="*/ 2147483647 h 453"/>
              <a:gd name="T116" fmla="*/ 2147483647 w 265"/>
              <a:gd name="T117" fmla="*/ 2147483647 h 4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5"/>
              <a:gd name="T178" fmla="*/ 0 h 453"/>
              <a:gd name="T179" fmla="*/ 265 w 265"/>
              <a:gd name="T180" fmla="*/ 453 h 4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5" h="453">
                <a:moveTo>
                  <a:pt x="252" y="333"/>
                </a:moveTo>
                <a:lnTo>
                  <a:pt x="256" y="363"/>
                </a:lnTo>
                <a:lnTo>
                  <a:pt x="259" y="376"/>
                </a:lnTo>
                <a:lnTo>
                  <a:pt x="261" y="397"/>
                </a:lnTo>
                <a:lnTo>
                  <a:pt x="263" y="430"/>
                </a:lnTo>
                <a:lnTo>
                  <a:pt x="265" y="434"/>
                </a:lnTo>
                <a:lnTo>
                  <a:pt x="259" y="436"/>
                </a:lnTo>
                <a:lnTo>
                  <a:pt x="250" y="432"/>
                </a:lnTo>
                <a:lnTo>
                  <a:pt x="241" y="436"/>
                </a:lnTo>
                <a:lnTo>
                  <a:pt x="226" y="430"/>
                </a:lnTo>
                <a:lnTo>
                  <a:pt x="220" y="432"/>
                </a:lnTo>
                <a:lnTo>
                  <a:pt x="226" y="432"/>
                </a:lnTo>
                <a:lnTo>
                  <a:pt x="194" y="443"/>
                </a:lnTo>
                <a:lnTo>
                  <a:pt x="194" y="436"/>
                </a:lnTo>
                <a:lnTo>
                  <a:pt x="187" y="436"/>
                </a:lnTo>
                <a:lnTo>
                  <a:pt x="185" y="440"/>
                </a:lnTo>
                <a:lnTo>
                  <a:pt x="192" y="443"/>
                </a:lnTo>
                <a:lnTo>
                  <a:pt x="183" y="449"/>
                </a:lnTo>
                <a:lnTo>
                  <a:pt x="181" y="453"/>
                </a:lnTo>
                <a:lnTo>
                  <a:pt x="170" y="453"/>
                </a:lnTo>
                <a:lnTo>
                  <a:pt x="168" y="451"/>
                </a:lnTo>
                <a:lnTo>
                  <a:pt x="166" y="449"/>
                </a:lnTo>
                <a:lnTo>
                  <a:pt x="166" y="447"/>
                </a:lnTo>
                <a:lnTo>
                  <a:pt x="164" y="447"/>
                </a:lnTo>
                <a:lnTo>
                  <a:pt x="164" y="445"/>
                </a:lnTo>
                <a:lnTo>
                  <a:pt x="166" y="445"/>
                </a:lnTo>
                <a:lnTo>
                  <a:pt x="166" y="443"/>
                </a:lnTo>
                <a:lnTo>
                  <a:pt x="164" y="443"/>
                </a:lnTo>
                <a:lnTo>
                  <a:pt x="164" y="440"/>
                </a:lnTo>
                <a:lnTo>
                  <a:pt x="161" y="436"/>
                </a:lnTo>
                <a:lnTo>
                  <a:pt x="161" y="432"/>
                </a:lnTo>
                <a:lnTo>
                  <a:pt x="159" y="430"/>
                </a:lnTo>
                <a:lnTo>
                  <a:pt x="157" y="428"/>
                </a:lnTo>
                <a:lnTo>
                  <a:pt x="153" y="428"/>
                </a:lnTo>
                <a:lnTo>
                  <a:pt x="151" y="425"/>
                </a:lnTo>
                <a:lnTo>
                  <a:pt x="151" y="421"/>
                </a:lnTo>
                <a:lnTo>
                  <a:pt x="149" y="417"/>
                </a:lnTo>
                <a:lnTo>
                  <a:pt x="149" y="415"/>
                </a:lnTo>
                <a:lnTo>
                  <a:pt x="146" y="412"/>
                </a:lnTo>
                <a:lnTo>
                  <a:pt x="146" y="410"/>
                </a:lnTo>
                <a:lnTo>
                  <a:pt x="146" y="408"/>
                </a:lnTo>
                <a:lnTo>
                  <a:pt x="146" y="404"/>
                </a:lnTo>
                <a:lnTo>
                  <a:pt x="149" y="404"/>
                </a:lnTo>
                <a:lnTo>
                  <a:pt x="146" y="402"/>
                </a:lnTo>
                <a:lnTo>
                  <a:pt x="149" y="399"/>
                </a:lnTo>
                <a:lnTo>
                  <a:pt x="149" y="397"/>
                </a:lnTo>
                <a:lnTo>
                  <a:pt x="151" y="397"/>
                </a:lnTo>
                <a:lnTo>
                  <a:pt x="149" y="395"/>
                </a:lnTo>
                <a:lnTo>
                  <a:pt x="151" y="395"/>
                </a:lnTo>
                <a:lnTo>
                  <a:pt x="151" y="389"/>
                </a:lnTo>
                <a:lnTo>
                  <a:pt x="153" y="386"/>
                </a:lnTo>
                <a:lnTo>
                  <a:pt x="151" y="386"/>
                </a:lnTo>
                <a:lnTo>
                  <a:pt x="153" y="384"/>
                </a:lnTo>
                <a:lnTo>
                  <a:pt x="153" y="382"/>
                </a:lnTo>
                <a:lnTo>
                  <a:pt x="153" y="380"/>
                </a:lnTo>
                <a:lnTo>
                  <a:pt x="144" y="382"/>
                </a:lnTo>
                <a:lnTo>
                  <a:pt x="112" y="382"/>
                </a:lnTo>
                <a:lnTo>
                  <a:pt x="103" y="384"/>
                </a:lnTo>
                <a:lnTo>
                  <a:pt x="88" y="384"/>
                </a:lnTo>
                <a:lnTo>
                  <a:pt x="86" y="384"/>
                </a:lnTo>
                <a:lnTo>
                  <a:pt x="64" y="386"/>
                </a:lnTo>
                <a:lnTo>
                  <a:pt x="47" y="386"/>
                </a:lnTo>
                <a:lnTo>
                  <a:pt x="36" y="386"/>
                </a:lnTo>
                <a:lnTo>
                  <a:pt x="2" y="389"/>
                </a:lnTo>
                <a:lnTo>
                  <a:pt x="4" y="386"/>
                </a:lnTo>
                <a:lnTo>
                  <a:pt x="6" y="384"/>
                </a:lnTo>
                <a:lnTo>
                  <a:pt x="6" y="382"/>
                </a:lnTo>
                <a:lnTo>
                  <a:pt x="2" y="378"/>
                </a:lnTo>
                <a:lnTo>
                  <a:pt x="4" y="371"/>
                </a:lnTo>
                <a:lnTo>
                  <a:pt x="2" y="369"/>
                </a:lnTo>
                <a:lnTo>
                  <a:pt x="0" y="367"/>
                </a:lnTo>
                <a:lnTo>
                  <a:pt x="0" y="365"/>
                </a:lnTo>
                <a:lnTo>
                  <a:pt x="4" y="365"/>
                </a:lnTo>
                <a:lnTo>
                  <a:pt x="10" y="363"/>
                </a:lnTo>
                <a:lnTo>
                  <a:pt x="10" y="361"/>
                </a:lnTo>
                <a:lnTo>
                  <a:pt x="6" y="356"/>
                </a:lnTo>
                <a:lnTo>
                  <a:pt x="6" y="354"/>
                </a:lnTo>
                <a:lnTo>
                  <a:pt x="4" y="352"/>
                </a:lnTo>
                <a:lnTo>
                  <a:pt x="4" y="350"/>
                </a:lnTo>
                <a:lnTo>
                  <a:pt x="6" y="350"/>
                </a:lnTo>
                <a:lnTo>
                  <a:pt x="6" y="352"/>
                </a:lnTo>
                <a:lnTo>
                  <a:pt x="10" y="354"/>
                </a:lnTo>
                <a:lnTo>
                  <a:pt x="13" y="354"/>
                </a:lnTo>
                <a:lnTo>
                  <a:pt x="13" y="352"/>
                </a:lnTo>
                <a:lnTo>
                  <a:pt x="13" y="350"/>
                </a:lnTo>
                <a:lnTo>
                  <a:pt x="10" y="348"/>
                </a:lnTo>
                <a:lnTo>
                  <a:pt x="10" y="339"/>
                </a:lnTo>
                <a:lnTo>
                  <a:pt x="13" y="337"/>
                </a:lnTo>
                <a:lnTo>
                  <a:pt x="15" y="337"/>
                </a:lnTo>
                <a:lnTo>
                  <a:pt x="17" y="335"/>
                </a:lnTo>
                <a:lnTo>
                  <a:pt x="15" y="333"/>
                </a:lnTo>
                <a:lnTo>
                  <a:pt x="10" y="333"/>
                </a:lnTo>
                <a:lnTo>
                  <a:pt x="6" y="333"/>
                </a:lnTo>
                <a:lnTo>
                  <a:pt x="6" y="330"/>
                </a:lnTo>
                <a:lnTo>
                  <a:pt x="10" y="328"/>
                </a:lnTo>
                <a:lnTo>
                  <a:pt x="13" y="330"/>
                </a:lnTo>
                <a:lnTo>
                  <a:pt x="17" y="330"/>
                </a:lnTo>
                <a:lnTo>
                  <a:pt x="17" y="328"/>
                </a:lnTo>
                <a:lnTo>
                  <a:pt x="17" y="322"/>
                </a:lnTo>
                <a:lnTo>
                  <a:pt x="19" y="317"/>
                </a:lnTo>
                <a:lnTo>
                  <a:pt x="21" y="317"/>
                </a:lnTo>
                <a:lnTo>
                  <a:pt x="23" y="317"/>
                </a:lnTo>
                <a:lnTo>
                  <a:pt x="28" y="317"/>
                </a:lnTo>
                <a:lnTo>
                  <a:pt x="28" y="315"/>
                </a:lnTo>
                <a:lnTo>
                  <a:pt x="21" y="317"/>
                </a:lnTo>
                <a:lnTo>
                  <a:pt x="19" y="317"/>
                </a:lnTo>
                <a:lnTo>
                  <a:pt x="19" y="315"/>
                </a:lnTo>
                <a:lnTo>
                  <a:pt x="21" y="311"/>
                </a:lnTo>
                <a:lnTo>
                  <a:pt x="21" y="307"/>
                </a:lnTo>
                <a:lnTo>
                  <a:pt x="23" y="307"/>
                </a:lnTo>
                <a:lnTo>
                  <a:pt x="23" y="311"/>
                </a:lnTo>
                <a:lnTo>
                  <a:pt x="28" y="313"/>
                </a:lnTo>
                <a:lnTo>
                  <a:pt x="30" y="311"/>
                </a:lnTo>
                <a:lnTo>
                  <a:pt x="28" y="307"/>
                </a:lnTo>
                <a:lnTo>
                  <a:pt x="32" y="302"/>
                </a:lnTo>
                <a:lnTo>
                  <a:pt x="34" y="296"/>
                </a:lnTo>
                <a:lnTo>
                  <a:pt x="36" y="296"/>
                </a:lnTo>
                <a:lnTo>
                  <a:pt x="43" y="294"/>
                </a:lnTo>
                <a:lnTo>
                  <a:pt x="43" y="289"/>
                </a:lnTo>
                <a:lnTo>
                  <a:pt x="38" y="289"/>
                </a:lnTo>
                <a:lnTo>
                  <a:pt x="34" y="287"/>
                </a:lnTo>
                <a:lnTo>
                  <a:pt x="36" y="285"/>
                </a:lnTo>
                <a:lnTo>
                  <a:pt x="38" y="289"/>
                </a:lnTo>
                <a:lnTo>
                  <a:pt x="43" y="287"/>
                </a:lnTo>
                <a:lnTo>
                  <a:pt x="38" y="285"/>
                </a:lnTo>
                <a:lnTo>
                  <a:pt x="43" y="285"/>
                </a:lnTo>
                <a:lnTo>
                  <a:pt x="45" y="283"/>
                </a:lnTo>
                <a:lnTo>
                  <a:pt x="45" y="279"/>
                </a:lnTo>
                <a:lnTo>
                  <a:pt x="43" y="279"/>
                </a:lnTo>
                <a:lnTo>
                  <a:pt x="43" y="281"/>
                </a:lnTo>
                <a:lnTo>
                  <a:pt x="43" y="283"/>
                </a:lnTo>
                <a:lnTo>
                  <a:pt x="38" y="281"/>
                </a:lnTo>
                <a:lnTo>
                  <a:pt x="36" y="283"/>
                </a:lnTo>
                <a:lnTo>
                  <a:pt x="34" y="281"/>
                </a:lnTo>
                <a:lnTo>
                  <a:pt x="32" y="279"/>
                </a:lnTo>
                <a:lnTo>
                  <a:pt x="32" y="274"/>
                </a:lnTo>
                <a:lnTo>
                  <a:pt x="36" y="272"/>
                </a:lnTo>
                <a:lnTo>
                  <a:pt x="36" y="274"/>
                </a:lnTo>
                <a:lnTo>
                  <a:pt x="38" y="272"/>
                </a:lnTo>
                <a:lnTo>
                  <a:pt x="43" y="270"/>
                </a:lnTo>
                <a:lnTo>
                  <a:pt x="47" y="272"/>
                </a:lnTo>
                <a:lnTo>
                  <a:pt x="47" y="268"/>
                </a:lnTo>
                <a:lnTo>
                  <a:pt x="47" y="266"/>
                </a:lnTo>
                <a:lnTo>
                  <a:pt x="51" y="266"/>
                </a:lnTo>
                <a:lnTo>
                  <a:pt x="54" y="257"/>
                </a:lnTo>
                <a:lnTo>
                  <a:pt x="51" y="261"/>
                </a:lnTo>
                <a:lnTo>
                  <a:pt x="47" y="261"/>
                </a:lnTo>
                <a:lnTo>
                  <a:pt x="45" y="261"/>
                </a:lnTo>
                <a:lnTo>
                  <a:pt x="45" y="257"/>
                </a:lnTo>
                <a:lnTo>
                  <a:pt x="47" y="255"/>
                </a:lnTo>
                <a:lnTo>
                  <a:pt x="47" y="253"/>
                </a:lnTo>
                <a:lnTo>
                  <a:pt x="45" y="253"/>
                </a:lnTo>
                <a:lnTo>
                  <a:pt x="43" y="253"/>
                </a:lnTo>
                <a:lnTo>
                  <a:pt x="38" y="253"/>
                </a:lnTo>
                <a:lnTo>
                  <a:pt x="34" y="248"/>
                </a:lnTo>
                <a:lnTo>
                  <a:pt x="34" y="246"/>
                </a:lnTo>
                <a:lnTo>
                  <a:pt x="36" y="244"/>
                </a:lnTo>
                <a:lnTo>
                  <a:pt x="43" y="248"/>
                </a:lnTo>
                <a:lnTo>
                  <a:pt x="45" y="248"/>
                </a:lnTo>
                <a:lnTo>
                  <a:pt x="45" y="246"/>
                </a:lnTo>
                <a:lnTo>
                  <a:pt x="38" y="244"/>
                </a:lnTo>
                <a:lnTo>
                  <a:pt x="36" y="244"/>
                </a:lnTo>
                <a:lnTo>
                  <a:pt x="38" y="240"/>
                </a:lnTo>
                <a:lnTo>
                  <a:pt x="43" y="240"/>
                </a:lnTo>
                <a:lnTo>
                  <a:pt x="45" y="235"/>
                </a:lnTo>
                <a:lnTo>
                  <a:pt x="43" y="233"/>
                </a:lnTo>
                <a:lnTo>
                  <a:pt x="43" y="235"/>
                </a:lnTo>
                <a:lnTo>
                  <a:pt x="38" y="238"/>
                </a:lnTo>
                <a:lnTo>
                  <a:pt x="34" y="238"/>
                </a:lnTo>
                <a:lnTo>
                  <a:pt x="32" y="235"/>
                </a:lnTo>
                <a:lnTo>
                  <a:pt x="32" y="233"/>
                </a:lnTo>
                <a:lnTo>
                  <a:pt x="38" y="229"/>
                </a:lnTo>
                <a:lnTo>
                  <a:pt x="34" y="225"/>
                </a:lnTo>
                <a:lnTo>
                  <a:pt x="32" y="225"/>
                </a:lnTo>
                <a:lnTo>
                  <a:pt x="30" y="222"/>
                </a:lnTo>
                <a:lnTo>
                  <a:pt x="32" y="216"/>
                </a:lnTo>
                <a:lnTo>
                  <a:pt x="36" y="214"/>
                </a:lnTo>
                <a:lnTo>
                  <a:pt x="36" y="205"/>
                </a:lnTo>
                <a:lnTo>
                  <a:pt x="34" y="203"/>
                </a:lnTo>
                <a:lnTo>
                  <a:pt x="32" y="203"/>
                </a:lnTo>
                <a:lnTo>
                  <a:pt x="32" y="207"/>
                </a:lnTo>
                <a:lnTo>
                  <a:pt x="30" y="212"/>
                </a:lnTo>
                <a:lnTo>
                  <a:pt x="28" y="212"/>
                </a:lnTo>
                <a:lnTo>
                  <a:pt x="23" y="207"/>
                </a:lnTo>
                <a:lnTo>
                  <a:pt x="30" y="201"/>
                </a:lnTo>
                <a:lnTo>
                  <a:pt x="30" y="199"/>
                </a:lnTo>
                <a:lnTo>
                  <a:pt x="32" y="199"/>
                </a:lnTo>
                <a:lnTo>
                  <a:pt x="32" y="197"/>
                </a:lnTo>
                <a:lnTo>
                  <a:pt x="30" y="192"/>
                </a:lnTo>
                <a:lnTo>
                  <a:pt x="28" y="190"/>
                </a:lnTo>
                <a:lnTo>
                  <a:pt x="23" y="188"/>
                </a:lnTo>
                <a:lnTo>
                  <a:pt x="28" y="188"/>
                </a:lnTo>
                <a:lnTo>
                  <a:pt x="32" y="188"/>
                </a:lnTo>
                <a:lnTo>
                  <a:pt x="34" y="188"/>
                </a:lnTo>
                <a:lnTo>
                  <a:pt x="34" y="186"/>
                </a:lnTo>
                <a:lnTo>
                  <a:pt x="34" y="181"/>
                </a:lnTo>
                <a:lnTo>
                  <a:pt x="36" y="179"/>
                </a:lnTo>
                <a:lnTo>
                  <a:pt x="36" y="175"/>
                </a:lnTo>
                <a:lnTo>
                  <a:pt x="36" y="173"/>
                </a:lnTo>
                <a:lnTo>
                  <a:pt x="34" y="173"/>
                </a:lnTo>
                <a:lnTo>
                  <a:pt x="32" y="179"/>
                </a:lnTo>
                <a:lnTo>
                  <a:pt x="32" y="175"/>
                </a:lnTo>
                <a:lnTo>
                  <a:pt x="30" y="171"/>
                </a:lnTo>
                <a:lnTo>
                  <a:pt x="30" y="168"/>
                </a:lnTo>
                <a:lnTo>
                  <a:pt x="32" y="164"/>
                </a:lnTo>
                <a:lnTo>
                  <a:pt x="34" y="164"/>
                </a:lnTo>
                <a:lnTo>
                  <a:pt x="34" y="160"/>
                </a:lnTo>
                <a:lnTo>
                  <a:pt x="34" y="158"/>
                </a:lnTo>
                <a:lnTo>
                  <a:pt x="32" y="158"/>
                </a:lnTo>
                <a:lnTo>
                  <a:pt x="32" y="164"/>
                </a:lnTo>
                <a:lnTo>
                  <a:pt x="30" y="166"/>
                </a:lnTo>
                <a:lnTo>
                  <a:pt x="23" y="166"/>
                </a:lnTo>
                <a:lnTo>
                  <a:pt x="23" y="164"/>
                </a:lnTo>
                <a:lnTo>
                  <a:pt x="30" y="160"/>
                </a:lnTo>
                <a:lnTo>
                  <a:pt x="30" y="158"/>
                </a:lnTo>
                <a:lnTo>
                  <a:pt x="30" y="156"/>
                </a:lnTo>
                <a:lnTo>
                  <a:pt x="28" y="153"/>
                </a:lnTo>
                <a:lnTo>
                  <a:pt x="23" y="153"/>
                </a:lnTo>
                <a:lnTo>
                  <a:pt x="28" y="158"/>
                </a:lnTo>
                <a:lnTo>
                  <a:pt x="23" y="160"/>
                </a:lnTo>
                <a:lnTo>
                  <a:pt x="21" y="160"/>
                </a:lnTo>
                <a:lnTo>
                  <a:pt x="21" y="158"/>
                </a:lnTo>
                <a:lnTo>
                  <a:pt x="23" y="153"/>
                </a:lnTo>
                <a:lnTo>
                  <a:pt x="21" y="151"/>
                </a:lnTo>
                <a:lnTo>
                  <a:pt x="21" y="147"/>
                </a:lnTo>
                <a:lnTo>
                  <a:pt x="23" y="149"/>
                </a:lnTo>
                <a:lnTo>
                  <a:pt x="28" y="149"/>
                </a:lnTo>
                <a:lnTo>
                  <a:pt x="28" y="143"/>
                </a:lnTo>
                <a:lnTo>
                  <a:pt x="28" y="140"/>
                </a:lnTo>
                <a:lnTo>
                  <a:pt x="21" y="138"/>
                </a:lnTo>
                <a:lnTo>
                  <a:pt x="21" y="136"/>
                </a:lnTo>
                <a:lnTo>
                  <a:pt x="23" y="134"/>
                </a:lnTo>
                <a:lnTo>
                  <a:pt x="30" y="138"/>
                </a:lnTo>
                <a:lnTo>
                  <a:pt x="32" y="138"/>
                </a:lnTo>
                <a:lnTo>
                  <a:pt x="34" y="138"/>
                </a:lnTo>
                <a:lnTo>
                  <a:pt x="34" y="136"/>
                </a:lnTo>
                <a:lnTo>
                  <a:pt x="34" y="134"/>
                </a:lnTo>
                <a:lnTo>
                  <a:pt x="30" y="136"/>
                </a:lnTo>
                <a:lnTo>
                  <a:pt x="28" y="136"/>
                </a:lnTo>
                <a:lnTo>
                  <a:pt x="28" y="134"/>
                </a:lnTo>
                <a:lnTo>
                  <a:pt x="28" y="130"/>
                </a:lnTo>
                <a:lnTo>
                  <a:pt x="30" y="130"/>
                </a:lnTo>
                <a:lnTo>
                  <a:pt x="32" y="130"/>
                </a:lnTo>
                <a:lnTo>
                  <a:pt x="34" y="130"/>
                </a:lnTo>
                <a:lnTo>
                  <a:pt x="36" y="130"/>
                </a:lnTo>
                <a:lnTo>
                  <a:pt x="38" y="130"/>
                </a:lnTo>
                <a:lnTo>
                  <a:pt x="38" y="125"/>
                </a:lnTo>
                <a:lnTo>
                  <a:pt x="34" y="123"/>
                </a:lnTo>
                <a:lnTo>
                  <a:pt x="32" y="121"/>
                </a:lnTo>
                <a:lnTo>
                  <a:pt x="34" y="114"/>
                </a:lnTo>
                <a:lnTo>
                  <a:pt x="32" y="110"/>
                </a:lnTo>
                <a:lnTo>
                  <a:pt x="30" y="108"/>
                </a:lnTo>
                <a:lnTo>
                  <a:pt x="32" y="106"/>
                </a:lnTo>
                <a:lnTo>
                  <a:pt x="34" y="108"/>
                </a:lnTo>
                <a:lnTo>
                  <a:pt x="36" y="108"/>
                </a:lnTo>
                <a:lnTo>
                  <a:pt x="36" y="110"/>
                </a:lnTo>
                <a:lnTo>
                  <a:pt x="38" y="110"/>
                </a:lnTo>
                <a:lnTo>
                  <a:pt x="38" y="108"/>
                </a:lnTo>
                <a:lnTo>
                  <a:pt x="38" y="106"/>
                </a:lnTo>
                <a:lnTo>
                  <a:pt x="38" y="104"/>
                </a:lnTo>
                <a:lnTo>
                  <a:pt x="45" y="104"/>
                </a:lnTo>
                <a:lnTo>
                  <a:pt x="47" y="99"/>
                </a:lnTo>
                <a:lnTo>
                  <a:pt x="45" y="99"/>
                </a:lnTo>
                <a:lnTo>
                  <a:pt x="38" y="97"/>
                </a:lnTo>
                <a:lnTo>
                  <a:pt x="38" y="93"/>
                </a:lnTo>
                <a:lnTo>
                  <a:pt x="43" y="89"/>
                </a:lnTo>
                <a:lnTo>
                  <a:pt x="47" y="93"/>
                </a:lnTo>
                <a:lnTo>
                  <a:pt x="49" y="93"/>
                </a:lnTo>
                <a:lnTo>
                  <a:pt x="51" y="91"/>
                </a:lnTo>
                <a:lnTo>
                  <a:pt x="49" y="89"/>
                </a:lnTo>
                <a:lnTo>
                  <a:pt x="43" y="89"/>
                </a:lnTo>
                <a:lnTo>
                  <a:pt x="38" y="86"/>
                </a:lnTo>
                <a:lnTo>
                  <a:pt x="43" y="84"/>
                </a:lnTo>
                <a:lnTo>
                  <a:pt x="47" y="86"/>
                </a:lnTo>
                <a:lnTo>
                  <a:pt x="49" y="86"/>
                </a:lnTo>
                <a:lnTo>
                  <a:pt x="49" y="82"/>
                </a:lnTo>
                <a:lnTo>
                  <a:pt x="49" y="78"/>
                </a:lnTo>
                <a:lnTo>
                  <a:pt x="51" y="78"/>
                </a:lnTo>
                <a:lnTo>
                  <a:pt x="54" y="82"/>
                </a:lnTo>
                <a:lnTo>
                  <a:pt x="54" y="76"/>
                </a:lnTo>
                <a:lnTo>
                  <a:pt x="54" y="73"/>
                </a:lnTo>
                <a:lnTo>
                  <a:pt x="54" y="71"/>
                </a:lnTo>
                <a:lnTo>
                  <a:pt x="60" y="71"/>
                </a:lnTo>
                <a:lnTo>
                  <a:pt x="60" y="76"/>
                </a:lnTo>
                <a:lnTo>
                  <a:pt x="62" y="76"/>
                </a:lnTo>
                <a:lnTo>
                  <a:pt x="62" y="71"/>
                </a:lnTo>
                <a:lnTo>
                  <a:pt x="64" y="69"/>
                </a:lnTo>
                <a:lnTo>
                  <a:pt x="66" y="67"/>
                </a:lnTo>
                <a:lnTo>
                  <a:pt x="66" y="65"/>
                </a:lnTo>
                <a:lnTo>
                  <a:pt x="66" y="58"/>
                </a:lnTo>
                <a:lnTo>
                  <a:pt x="66" y="56"/>
                </a:lnTo>
                <a:lnTo>
                  <a:pt x="69" y="54"/>
                </a:lnTo>
                <a:lnTo>
                  <a:pt x="66" y="50"/>
                </a:lnTo>
                <a:lnTo>
                  <a:pt x="64" y="45"/>
                </a:lnTo>
                <a:lnTo>
                  <a:pt x="66" y="45"/>
                </a:lnTo>
                <a:lnTo>
                  <a:pt x="66" y="41"/>
                </a:lnTo>
                <a:lnTo>
                  <a:pt x="69" y="41"/>
                </a:lnTo>
                <a:lnTo>
                  <a:pt x="69" y="43"/>
                </a:lnTo>
                <a:lnTo>
                  <a:pt x="69" y="45"/>
                </a:lnTo>
                <a:lnTo>
                  <a:pt x="71" y="45"/>
                </a:lnTo>
                <a:lnTo>
                  <a:pt x="73" y="41"/>
                </a:lnTo>
                <a:lnTo>
                  <a:pt x="73" y="39"/>
                </a:lnTo>
                <a:lnTo>
                  <a:pt x="69" y="39"/>
                </a:lnTo>
                <a:lnTo>
                  <a:pt x="66" y="32"/>
                </a:lnTo>
                <a:lnTo>
                  <a:pt x="69" y="28"/>
                </a:lnTo>
                <a:lnTo>
                  <a:pt x="69" y="32"/>
                </a:lnTo>
                <a:lnTo>
                  <a:pt x="71" y="32"/>
                </a:lnTo>
                <a:lnTo>
                  <a:pt x="71" y="35"/>
                </a:lnTo>
                <a:lnTo>
                  <a:pt x="69" y="37"/>
                </a:lnTo>
                <a:lnTo>
                  <a:pt x="71" y="37"/>
                </a:lnTo>
                <a:lnTo>
                  <a:pt x="73" y="37"/>
                </a:lnTo>
                <a:lnTo>
                  <a:pt x="73" y="35"/>
                </a:lnTo>
                <a:lnTo>
                  <a:pt x="73" y="32"/>
                </a:lnTo>
                <a:lnTo>
                  <a:pt x="73" y="28"/>
                </a:lnTo>
                <a:lnTo>
                  <a:pt x="71" y="24"/>
                </a:lnTo>
                <a:lnTo>
                  <a:pt x="73" y="22"/>
                </a:lnTo>
                <a:lnTo>
                  <a:pt x="77" y="24"/>
                </a:lnTo>
                <a:lnTo>
                  <a:pt x="77" y="26"/>
                </a:lnTo>
                <a:lnTo>
                  <a:pt x="79" y="26"/>
                </a:lnTo>
                <a:lnTo>
                  <a:pt x="82" y="24"/>
                </a:lnTo>
                <a:lnTo>
                  <a:pt x="84" y="24"/>
                </a:lnTo>
                <a:lnTo>
                  <a:pt x="86" y="24"/>
                </a:lnTo>
                <a:lnTo>
                  <a:pt x="86" y="22"/>
                </a:lnTo>
                <a:lnTo>
                  <a:pt x="88" y="22"/>
                </a:lnTo>
                <a:lnTo>
                  <a:pt x="88" y="20"/>
                </a:lnTo>
                <a:lnTo>
                  <a:pt x="88" y="17"/>
                </a:lnTo>
                <a:lnTo>
                  <a:pt x="84" y="15"/>
                </a:lnTo>
                <a:lnTo>
                  <a:pt x="84" y="11"/>
                </a:lnTo>
                <a:lnTo>
                  <a:pt x="129" y="9"/>
                </a:lnTo>
                <a:lnTo>
                  <a:pt x="133" y="9"/>
                </a:lnTo>
                <a:lnTo>
                  <a:pt x="159" y="7"/>
                </a:lnTo>
                <a:lnTo>
                  <a:pt x="168" y="7"/>
                </a:lnTo>
                <a:lnTo>
                  <a:pt x="183" y="4"/>
                </a:lnTo>
                <a:lnTo>
                  <a:pt x="198" y="4"/>
                </a:lnTo>
                <a:lnTo>
                  <a:pt x="200" y="4"/>
                </a:lnTo>
                <a:lnTo>
                  <a:pt x="231" y="2"/>
                </a:lnTo>
                <a:lnTo>
                  <a:pt x="233" y="0"/>
                </a:lnTo>
                <a:lnTo>
                  <a:pt x="246" y="0"/>
                </a:lnTo>
                <a:lnTo>
                  <a:pt x="250" y="7"/>
                </a:lnTo>
                <a:lnTo>
                  <a:pt x="252" y="9"/>
                </a:lnTo>
                <a:lnTo>
                  <a:pt x="252" y="39"/>
                </a:lnTo>
                <a:lnTo>
                  <a:pt x="252" y="50"/>
                </a:lnTo>
                <a:lnTo>
                  <a:pt x="252" y="61"/>
                </a:lnTo>
                <a:lnTo>
                  <a:pt x="250" y="84"/>
                </a:lnTo>
                <a:lnTo>
                  <a:pt x="250" y="86"/>
                </a:lnTo>
                <a:lnTo>
                  <a:pt x="250" y="117"/>
                </a:lnTo>
                <a:lnTo>
                  <a:pt x="250" y="136"/>
                </a:lnTo>
                <a:lnTo>
                  <a:pt x="250" y="160"/>
                </a:lnTo>
                <a:lnTo>
                  <a:pt x="248" y="188"/>
                </a:lnTo>
                <a:lnTo>
                  <a:pt x="248" y="192"/>
                </a:lnTo>
                <a:lnTo>
                  <a:pt x="248" y="225"/>
                </a:lnTo>
                <a:lnTo>
                  <a:pt x="248" y="253"/>
                </a:lnTo>
                <a:lnTo>
                  <a:pt x="248" y="261"/>
                </a:lnTo>
                <a:lnTo>
                  <a:pt x="248" y="289"/>
                </a:lnTo>
                <a:lnTo>
                  <a:pt x="248" y="307"/>
                </a:lnTo>
                <a:lnTo>
                  <a:pt x="252" y="333"/>
                </a:lnTo>
              </a:path>
            </a:pathLst>
          </a:custGeom>
          <a:solidFill>
            <a:srgbClr val="00B050"/>
          </a:solidFill>
          <a:ln w="6350">
            <a:solidFill>
              <a:srgbClr val="404040"/>
            </a:solidFill>
            <a:round/>
            <a:headEnd/>
            <a:tailEnd/>
          </a:ln>
        </p:spPr>
        <p:txBody>
          <a:bodyPr/>
          <a:lstStyle/>
          <a:p>
            <a:endParaRPr lang="en-US" sz="1600" dirty="0">
              <a:solidFill>
                <a:prstClr val="black"/>
              </a:solidFill>
            </a:endParaRPr>
          </a:p>
        </p:txBody>
      </p:sp>
      <p:sp>
        <p:nvSpPr>
          <p:cNvPr id="274" name="Freeform 107">
            <a:extLst>
              <a:ext uri="{FF2B5EF4-FFF2-40B4-BE49-F238E27FC236}">
                <a16:creationId xmlns:a16="http://schemas.microsoft.com/office/drawing/2014/main" id="{62BC5372-64A2-4F5B-A943-48FD44EDB839}"/>
              </a:ext>
            </a:extLst>
          </p:cNvPr>
          <p:cNvSpPr>
            <a:spLocks noEditPoints="1"/>
          </p:cNvSpPr>
          <p:nvPr>
            <p:custDataLst>
              <p:tags r:id="rId98"/>
            </p:custDataLst>
          </p:nvPr>
        </p:nvSpPr>
        <p:spPr bwMode="auto">
          <a:xfrm>
            <a:off x="7707492" y="4528921"/>
            <a:ext cx="808847" cy="905752"/>
          </a:xfrm>
          <a:custGeom>
            <a:avLst/>
            <a:gdLst>
              <a:gd name="T0" fmla="*/ 2147483647 w 400"/>
              <a:gd name="T1" fmla="*/ 2147483647 h 419"/>
              <a:gd name="T2" fmla="*/ 2147483647 w 400"/>
              <a:gd name="T3" fmla="*/ 2147483647 h 419"/>
              <a:gd name="T4" fmla="*/ 2147483647 w 400"/>
              <a:gd name="T5" fmla="*/ 2147483647 h 419"/>
              <a:gd name="T6" fmla="*/ 2147483647 w 400"/>
              <a:gd name="T7" fmla="*/ 2147483647 h 419"/>
              <a:gd name="T8" fmla="*/ 2147483647 w 400"/>
              <a:gd name="T9" fmla="*/ 2147483647 h 419"/>
              <a:gd name="T10" fmla="*/ 2147483647 w 400"/>
              <a:gd name="T11" fmla="*/ 2147483647 h 419"/>
              <a:gd name="T12" fmla="*/ 2147483647 w 400"/>
              <a:gd name="T13" fmla="*/ 2147483647 h 419"/>
              <a:gd name="T14" fmla="*/ 2147483647 w 400"/>
              <a:gd name="T15" fmla="*/ 2147483647 h 419"/>
              <a:gd name="T16" fmla="*/ 2147483647 w 400"/>
              <a:gd name="T17" fmla="*/ 2147483647 h 419"/>
              <a:gd name="T18" fmla="*/ 2147483647 w 400"/>
              <a:gd name="T19" fmla="*/ 2147483647 h 419"/>
              <a:gd name="T20" fmla="*/ 2147483647 w 400"/>
              <a:gd name="T21" fmla="*/ 2147483647 h 419"/>
              <a:gd name="T22" fmla="*/ 2147483647 w 400"/>
              <a:gd name="T23" fmla="*/ 0 h 419"/>
              <a:gd name="T24" fmla="*/ 2147483647 w 400"/>
              <a:gd name="T25" fmla="*/ 2147483647 h 419"/>
              <a:gd name="T26" fmla="*/ 2147483647 w 400"/>
              <a:gd name="T27" fmla="*/ 2147483647 h 419"/>
              <a:gd name="T28" fmla="*/ 2147483647 w 400"/>
              <a:gd name="T29" fmla="*/ 2147483647 h 419"/>
              <a:gd name="T30" fmla="*/ 2147483647 w 400"/>
              <a:gd name="T31" fmla="*/ 2147483647 h 419"/>
              <a:gd name="T32" fmla="*/ 2147483647 w 400"/>
              <a:gd name="T33" fmla="*/ 2147483647 h 419"/>
              <a:gd name="T34" fmla="*/ 2147483647 w 400"/>
              <a:gd name="T35" fmla="*/ 2147483647 h 419"/>
              <a:gd name="T36" fmla="*/ 2147483647 w 400"/>
              <a:gd name="T37" fmla="*/ 2147483647 h 419"/>
              <a:gd name="T38" fmla="*/ 2147483647 w 400"/>
              <a:gd name="T39" fmla="*/ 2147483647 h 419"/>
              <a:gd name="T40" fmla="*/ 2147483647 w 400"/>
              <a:gd name="T41" fmla="*/ 2147483647 h 419"/>
              <a:gd name="T42" fmla="*/ 2147483647 w 400"/>
              <a:gd name="T43" fmla="*/ 2147483647 h 419"/>
              <a:gd name="T44" fmla="*/ 2147483647 w 400"/>
              <a:gd name="T45" fmla="*/ 2147483647 h 419"/>
              <a:gd name="T46" fmla="*/ 2147483647 w 400"/>
              <a:gd name="T47" fmla="*/ 2147483647 h 419"/>
              <a:gd name="T48" fmla="*/ 2147483647 w 400"/>
              <a:gd name="T49" fmla="*/ 2147483647 h 419"/>
              <a:gd name="T50" fmla="*/ 2147483647 w 400"/>
              <a:gd name="T51" fmla="*/ 2147483647 h 419"/>
              <a:gd name="T52" fmla="*/ 2147483647 w 400"/>
              <a:gd name="T53" fmla="*/ 2147483647 h 419"/>
              <a:gd name="T54" fmla="*/ 2147483647 w 400"/>
              <a:gd name="T55" fmla="*/ 2147483647 h 419"/>
              <a:gd name="T56" fmla="*/ 2147483647 w 400"/>
              <a:gd name="T57" fmla="*/ 2147483647 h 419"/>
              <a:gd name="T58" fmla="*/ 2147483647 w 400"/>
              <a:gd name="T59" fmla="*/ 2147483647 h 419"/>
              <a:gd name="T60" fmla="*/ 2147483647 w 400"/>
              <a:gd name="T61" fmla="*/ 2147483647 h 419"/>
              <a:gd name="T62" fmla="*/ 2147483647 w 400"/>
              <a:gd name="T63" fmla="*/ 2147483647 h 419"/>
              <a:gd name="T64" fmla="*/ 2147483647 w 400"/>
              <a:gd name="T65" fmla="*/ 2147483647 h 419"/>
              <a:gd name="T66" fmla="*/ 2147483647 w 400"/>
              <a:gd name="T67" fmla="*/ 2147483647 h 419"/>
              <a:gd name="T68" fmla="*/ 2147483647 w 400"/>
              <a:gd name="T69" fmla="*/ 2147483647 h 419"/>
              <a:gd name="T70" fmla="*/ 2147483647 w 400"/>
              <a:gd name="T71" fmla="*/ 2147483647 h 419"/>
              <a:gd name="T72" fmla="*/ 2147483647 w 400"/>
              <a:gd name="T73" fmla="*/ 2147483647 h 419"/>
              <a:gd name="T74" fmla="*/ 2147483647 w 400"/>
              <a:gd name="T75" fmla="*/ 2147483647 h 419"/>
              <a:gd name="T76" fmla="*/ 2147483647 w 400"/>
              <a:gd name="T77" fmla="*/ 2147483647 h 419"/>
              <a:gd name="T78" fmla="*/ 2147483647 w 400"/>
              <a:gd name="T79" fmla="*/ 2147483647 h 419"/>
              <a:gd name="T80" fmla="*/ 2147483647 w 400"/>
              <a:gd name="T81" fmla="*/ 2147483647 h 419"/>
              <a:gd name="T82" fmla="*/ 2147483647 w 400"/>
              <a:gd name="T83" fmla="*/ 2147483647 h 419"/>
              <a:gd name="T84" fmla="*/ 2147483647 w 400"/>
              <a:gd name="T85" fmla="*/ 2147483647 h 419"/>
              <a:gd name="T86" fmla="*/ 2147483647 w 400"/>
              <a:gd name="T87" fmla="*/ 2147483647 h 419"/>
              <a:gd name="T88" fmla="*/ 2147483647 w 400"/>
              <a:gd name="T89" fmla="*/ 2147483647 h 419"/>
              <a:gd name="T90" fmla="*/ 2147483647 w 400"/>
              <a:gd name="T91" fmla="*/ 2147483647 h 419"/>
              <a:gd name="T92" fmla="*/ 2147483647 w 400"/>
              <a:gd name="T93" fmla="*/ 2147483647 h 419"/>
              <a:gd name="T94" fmla="*/ 2147483647 w 400"/>
              <a:gd name="T95" fmla="*/ 2147483647 h 419"/>
              <a:gd name="T96" fmla="*/ 2147483647 w 400"/>
              <a:gd name="T97" fmla="*/ 2147483647 h 419"/>
              <a:gd name="T98" fmla="*/ 2147483647 w 400"/>
              <a:gd name="T99" fmla="*/ 2147483647 h 419"/>
              <a:gd name="T100" fmla="*/ 2147483647 w 400"/>
              <a:gd name="T101" fmla="*/ 2147483647 h 419"/>
              <a:gd name="T102" fmla="*/ 2147483647 w 400"/>
              <a:gd name="T103" fmla="*/ 2147483647 h 419"/>
              <a:gd name="T104" fmla="*/ 2147483647 w 400"/>
              <a:gd name="T105" fmla="*/ 2147483647 h 419"/>
              <a:gd name="T106" fmla="*/ 2147483647 w 400"/>
              <a:gd name="T107" fmla="*/ 2147483647 h 419"/>
              <a:gd name="T108" fmla="*/ 2147483647 w 400"/>
              <a:gd name="T109" fmla="*/ 2147483647 h 419"/>
              <a:gd name="T110" fmla="*/ 2147483647 w 400"/>
              <a:gd name="T111" fmla="*/ 2147483647 h 419"/>
              <a:gd name="T112" fmla="*/ 2147483647 w 400"/>
              <a:gd name="T113" fmla="*/ 2147483647 h 419"/>
              <a:gd name="T114" fmla="*/ 2147483647 w 400"/>
              <a:gd name="T115" fmla="*/ 2147483647 h 419"/>
              <a:gd name="T116" fmla="*/ 2147483647 w 400"/>
              <a:gd name="T117" fmla="*/ 2147483647 h 419"/>
              <a:gd name="T118" fmla="*/ 2147483647 w 400"/>
              <a:gd name="T119" fmla="*/ 2147483647 h 419"/>
              <a:gd name="T120" fmla="*/ 2147483647 w 400"/>
              <a:gd name="T121" fmla="*/ 2147483647 h 41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00"/>
              <a:gd name="T184" fmla="*/ 0 h 419"/>
              <a:gd name="T185" fmla="*/ 400 w 400"/>
              <a:gd name="T186" fmla="*/ 419 h 41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00" h="419">
                <a:moveTo>
                  <a:pt x="69" y="317"/>
                </a:moveTo>
                <a:lnTo>
                  <a:pt x="69" y="311"/>
                </a:lnTo>
                <a:lnTo>
                  <a:pt x="69" y="306"/>
                </a:lnTo>
                <a:lnTo>
                  <a:pt x="71" y="298"/>
                </a:lnTo>
                <a:lnTo>
                  <a:pt x="71" y="296"/>
                </a:lnTo>
                <a:lnTo>
                  <a:pt x="71" y="293"/>
                </a:lnTo>
                <a:lnTo>
                  <a:pt x="71" y="291"/>
                </a:lnTo>
                <a:lnTo>
                  <a:pt x="71" y="289"/>
                </a:lnTo>
                <a:lnTo>
                  <a:pt x="71" y="287"/>
                </a:lnTo>
                <a:lnTo>
                  <a:pt x="76" y="281"/>
                </a:lnTo>
                <a:lnTo>
                  <a:pt x="80" y="278"/>
                </a:lnTo>
                <a:lnTo>
                  <a:pt x="78" y="276"/>
                </a:lnTo>
                <a:lnTo>
                  <a:pt x="82" y="276"/>
                </a:lnTo>
                <a:lnTo>
                  <a:pt x="82" y="274"/>
                </a:lnTo>
                <a:lnTo>
                  <a:pt x="82" y="272"/>
                </a:lnTo>
                <a:lnTo>
                  <a:pt x="80" y="268"/>
                </a:lnTo>
                <a:lnTo>
                  <a:pt x="76" y="265"/>
                </a:lnTo>
                <a:lnTo>
                  <a:pt x="76" y="263"/>
                </a:lnTo>
                <a:lnTo>
                  <a:pt x="78" y="261"/>
                </a:lnTo>
                <a:lnTo>
                  <a:pt x="76" y="261"/>
                </a:lnTo>
                <a:lnTo>
                  <a:pt x="76" y="257"/>
                </a:lnTo>
                <a:lnTo>
                  <a:pt x="76" y="255"/>
                </a:lnTo>
                <a:lnTo>
                  <a:pt x="71" y="248"/>
                </a:lnTo>
                <a:lnTo>
                  <a:pt x="65" y="244"/>
                </a:lnTo>
                <a:lnTo>
                  <a:pt x="65" y="242"/>
                </a:lnTo>
                <a:lnTo>
                  <a:pt x="65" y="240"/>
                </a:lnTo>
                <a:lnTo>
                  <a:pt x="63" y="240"/>
                </a:lnTo>
                <a:lnTo>
                  <a:pt x="63" y="235"/>
                </a:lnTo>
                <a:lnTo>
                  <a:pt x="63" y="233"/>
                </a:lnTo>
                <a:lnTo>
                  <a:pt x="61" y="229"/>
                </a:lnTo>
                <a:lnTo>
                  <a:pt x="61" y="227"/>
                </a:lnTo>
                <a:lnTo>
                  <a:pt x="56" y="224"/>
                </a:lnTo>
                <a:lnTo>
                  <a:pt x="54" y="218"/>
                </a:lnTo>
                <a:lnTo>
                  <a:pt x="48" y="194"/>
                </a:lnTo>
                <a:lnTo>
                  <a:pt x="39" y="166"/>
                </a:lnTo>
                <a:lnTo>
                  <a:pt x="37" y="162"/>
                </a:lnTo>
                <a:lnTo>
                  <a:pt x="35" y="147"/>
                </a:lnTo>
                <a:lnTo>
                  <a:pt x="28" y="125"/>
                </a:lnTo>
                <a:lnTo>
                  <a:pt x="26" y="119"/>
                </a:lnTo>
                <a:lnTo>
                  <a:pt x="22" y="108"/>
                </a:lnTo>
                <a:lnTo>
                  <a:pt x="17" y="88"/>
                </a:lnTo>
                <a:lnTo>
                  <a:pt x="13" y="67"/>
                </a:lnTo>
                <a:lnTo>
                  <a:pt x="11" y="63"/>
                </a:lnTo>
                <a:lnTo>
                  <a:pt x="7" y="58"/>
                </a:lnTo>
                <a:lnTo>
                  <a:pt x="2" y="37"/>
                </a:lnTo>
                <a:lnTo>
                  <a:pt x="0" y="26"/>
                </a:lnTo>
                <a:lnTo>
                  <a:pt x="11" y="21"/>
                </a:lnTo>
                <a:lnTo>
                  <a:pt x="17" y="21"/>
                </a:lnTo>
                <a:lnTo>
                  <a:pt x="26" y="21"/>
                </a:lnTo>
                <a:lnTo>
                  <a:pt x="48" y="19"/>
                </a:lnTo>
                <a:lnTo>
                  <a:pt x="61" y="17"/>
                </a:lnTo>
                <a:lnTo>
                  <a:pt x="63" y="17"/>
                </a:lnTo>
                <a:lnTo>
                  <a:pt x="76" y="17"/>
                </a:lnTo>
                <a:lnTo>
                  <a:pt x="97" y="13"/>
                </a:lnTo>
                <a:lnTo>
                  <a:pt x="112" y="13"/>
                </a:lnTo>
                <a:lnTo>
                  <a:pt x="121" y="11"/>
                </a:lnTo>
                <a:lnTo>
                  <a:pt x="128" y="11"/>
                </a:lnTo>
                <a:lnTo>
                  <a:pt x="153" y="4"/>
                </a:lnTo>
                <a:lnTo>
                  <a:pt x="158" y="4"/>
                </a:lnTo>
                <a:lnTo>
                  <a:pt x="190" y="0"/>
                </a:lnTo>
                <a:lnTo>
                  <a:pt x="190" y="2"/>
                </a:lnTo>
                <a:lnTo>
                  <a:pt x="190" y="4"/>
                </a:lnTo>
                <a:lnTo>
                  <a:pt x="186" y="4"/>
                </a:lnTo>
                <a:lnTo>
                  <a:pt x="190" y="6"/>
                </a:lnTo>
                <a:lnTo>
                  <a:pt x="186" y="4"/>
                </a:lnTo>
                <a:lnTo>
                  <a:pt x="186" y="6"/>
                </a:lnTo>
                <a:lnTo>
                  <a:pt x="184" y="11"/>
                </a:lnTo>
                <a:lnTo>
                  <a:pt x="182" y="13"/>
                </a:lnTo>
                <a:lnTo>
                  <a:pt x="179" y="13"/>
                </a:lnTo>
                <a:lnTo>
                  <a:pt x="179" y="15"/>
                </a:lnTo>
                <a:lnTo>
                  <a:pt x="179" y="17"/>
                </a:lnTo>
                <a:lnTo>
                  <a:pt x="179" y="19"/>
                </a:lnTo>
                <a:lnTo>
                  <a:pt x="177" y="19"/>
                </a:lnTo>
                <a:lnTo>
                  <a:pt x="175" y="21"/>
                </a:lnTo>
                <a:lnTo>
                  <a:pt x="175" y="26"/>
                </a:lnTo>
                <a:lnTo>
                  <a:pt x="175" y="28"/>
                </a:lnTo>
                <a:lnTo>
                  <a:pt x="175" y="30"/>
                </a:lnTo>
                <a:lnTo>
                  <a:pt x="175" y="32"/>
                </a:lnTo>
                <a:lnTo>
                  <a:pt x="179" y="34"/>
                </a:lnTo>
                <a:lnTo>
                  <a:pt x="184" y="37"/>
                </a:lnTo>
                <a:lnTo>
                  <a:pt x="190" y="37"/>
                </a:lnTo>
                <a:lnTo>
                  <a:pt x="190" y="39"/>
                </a:lnTo>
                <a:lnTo>
                  <a:pt x="192" y="39"/>
                </a:lnTo>
                <a:lnTo>
                  <a:pt x="195" y="43"/>
                </a:lnTo>
                <a:lnTo>
                  <a:pt x="197" y="45"/>
                </a:lnTo>
                <a:lnTo>
                  <a:pt x="199" y="47"/>
                </a:lnTo>
                <a:lnTo>
                  <a:pt x="201" y="47"/>
                </a:lnTo>
                <a:lnTo>
                  <a:pt x="203" y="47"/>
                </a:lnTo>
                <a:lnTo>
                  <a:pt x="212" y="47"/>
                </a:lnTo>
                <a:lnTo>
                  <a:pt x="214" y="47"/>
                </a:lnTo>
                <a:lnTo>
                  <a:pt x="216" y="52"/>
                </a:lnTo>
                <a:lnTo>
                  <a:pt x="216" y="54"/>
                </a:lnTo>
                <a:lnTo>
                  <a:pt x="218" y="58"/>
                </a:lnTo>
                <a:lnTo>
                  <a:pt x="223" y="63"/>
                </a:lnTo>
                <a:lnTo>
                  <a:pt x="225" y="63"/>
                </a:lnTo>
                <a:lnTo>
                  <a:pt x="225" y="67"/>
                </a:lnTo>
                <a:lnTo>
                  <a:pt x="227" y="69"/>
                </a:lnTo>
                <a:lnTo>
                  <a:pt x="227" y="71"/>
                </a:lnTo>
                <a:lnTo>
                  <a:pt x="233" y="78"/>
                </a:lnTo>
                <a:lnTo>
                  <a:pt x="240" y="84"/>
                </a:lnTo>
                <a:lnTo>
                  <a:pt x="240" y="86"/>
                </a:lnTo>
                <a:lnTo>
                  <a:pt x="242" y="88"/>
                </a:lnTo>
                <a:lnTo>
                  <a:pt x="242" y="93"/>
                </a:lnTo>
                <a:lnTo>
                  <a:pt x="246" y="93"/>
                </a:lnTo>
                <a:lnTo>
                  <a:pt x="251" y="97"/>
                </a:lnTo>
                <a:lnTo>
                  <a:pt x="257" y="99"/>
                </a:lnTo>
                <a:lnTo>
                  <a:pt x="259" y="99"/>
                </a:lnTo>
                <a:lnTo>
                  <a:pt x="261" y="99"/>
                </a:lnTo>
                <a:lnTo>
                  <a:pt x="264" y="101"/>
                </a:lnTo>
                <a:lnTo>
                  <a:pt x="266" y="104"/>
                </a:lnTo>
                <a:lnTo>
                  <a:pt x="268" y="108"/>
                </a:lnTo>
                <a:lnTo>
                  <a:pt x="272" y="112"/>
                </a:lnTo>
                <a:lnTo>
                  <a:pt x="274" y="112"/>
                </a:lnTo>
                <a:lnTo>
                  <a:pt x="277" y="116"/>
                </a:lnTo>
                <a:lnTo>
                  <a:pt x="279" y="119"/>
                </a:lnTo>
                <a:lnTo>
                  <a:pt x="281" y="119"/>
                </a:lnTo>
                <a:lnTo>
                  <a:pt x="285" y="121"/>
                </a:lnTo>
                <a:lnTo>
                  <a:pt x="290" y="121"/>
                </a:lnTo>
                <a:lnTo>
                  <a:pt x="292" y="125"/>
                </a:lnTo>
                <a:lnTo>
                  <a:pt x="294" y="125"/>
                </a:lnTo>
                <a:lnTo>
                  <a:pt x="294" y="127"/>
                </a:lnTo>
                <a:lnTo>
                  <a:pt x="298" y="129"/>
                </a:lnTo>
                <a:lnTo>
                  <a:pt x="298" y="132"/>
                </a:lnTo>
                <a:lnTo>
                  <a:pt x="300" y="134"/>
                </a:lnTo>
                <a:lnTo>
                  <a:pt x="298" y="134"/>
                </a:lnTo>
                <a:lnTo>
                  <a:pt x="300" y="136"/>
                </a:lnTo>
                <a:lnTo>
                  <a:pt x="298" y="136"/>
                </a:lnTo>
                <a:lnTo>
                  <a:pt x="298" y="140"/>
                </a:lnTo>
                <a:lnTo>
                  <a:pt x="300" y="140"/>
                </a:lnTo>
                <a:lnTo>
                  <a:pt x="300" y="142"/>
                </a:lnTo>
                <a:lnTo>
                  <a:pt x="305" y="142"/>
                </a:lnTo>
                <a:lnTo>
                  <a:pt x="307" y="145"/>
                </a:lnTo>
                <a:lnTo>
                  <a:pt x="307" y="142"/>
                </a:lnTo>
                <a:lnTo>
                  <a:pt x="309" y="142"/>
                </a:lnTo>
                <a:lnTo>
                  <a:pt x="307" y="145"/>
                </a:lnTo>
                <a:lnTo>
                  <a:pt x="309" y="147"/>
                </a:lnTo>
                <a:lnTo>
                  <a:pt x="309" y="149"/>
                </a:lnTo>
                <a:lnTo>
                  <a:pt x="311" y="149"/>
                </a:lnTo>
                <a:lnTo>
                  <a:pt x="311" y="151"/>
                </a:lnTo>
                <a:lnTo>
                  <a:pt x="313" y="151"/>
                </a:lnTo>
                <a:lnTo>
                  <a:pt x="315" y="151"/>
                </a:lnTo>
                <a:lnTo>
                  <a:pt x="315" y="153"/>
                </a:lnTo>
                <a:lnTo>
                  <a:pt x="318" y="157"/>
                </a:lnTo>
                <a:lnTo>
                  <a:pt x="322" y="160"/>
                </a:lnTo>
                <a:lnTo>
                  <a:pt x="328" y="162"/>
                </a:lnTo>
                <a:lnTo>
                  <a:pt x="331" y="162"/>
                </a:lnTo>
                <a:lnTo>
                  <a:pt x="333" y="162"/>
                </a:lnTo>
                <a:lnTo>
                  <a:pt x="333" y="164"/>
                </a:lnTo>
                <a:lnTo>
                  <a:pt x="337" y="164"/>
                </a:lnTo>
                <a:lnTo>
                  <a:pt x="339" y="166"/>
                </a:lnTo>
                <a:lnTo>
                  <a:pt x="339" y="173"/>
                </a:lnTo>
                <a:lnTo>
                  <a:pt x="341" y="177"/>
                </a:lnTo>
                <a:lnTo>
                  <a:pt x="343" y="177"/>
                </a:lnTo>
                <a:lnTo>
                  <a:pt x="341" y="179"/>
                </a:lnTo>
                <a:lnTo>
                  <a:pt x="343" y="179"/>
                </a:lnTo>
                <a:lnTo>
                  <a:pt x="343" y="181"/>
                </a:lnTo>
                <a:lnTo>
                  <a:pt x="346" y="181"/>
                </a:lnTo>
                <a:lnTo>
                  <a:pt x="346" y="183"/>
                </a:lnTo>
                <a:lnTo>
                  <a:pt x="346" y="186"/>
                </a:lnTo>
                <a:lnTo>
                  <a:pt x="348" y="190"/>
                </a:lnTo>
                <a:lnTo>
                  <a:pt x="348" y="194"/>
                </a:lnTo>
                <a:lnTo>
                  <a:pt x="350" y="194"/>
                </a:lnTo>
                <a:lnTo>
                  <a:pt x="350" y="199"/>
                </a:lnTo>
                <a:lnTo>
                  <a:pt x="350" y="201"/>
                </a:lnTo>
                <a:lnTo>
                  <a:pt x="354" y="203"/>
                </a:lnTo>
                <a:lnTo>
                  <a:pt x="356" y="203"/>
                </a:lnTo>
                <a:lnTo>
                  <a:pt x="361" y="203"/>
                </a:lnTo>
                <a:lnTo>
                  <a:pt x="363" y="207"/>
                </a:lnTo>
                <a:lnTo>
                  <a:pt x="365" y="209"/>
                </a:lnTo>
                <a:lnTo>
                  <a:pt x="372" y="214"/>
                </a:lnTo>
                <a:lnTo>
                  <a:pt x="372" y="216"/>
                </a:lnTo>
                <a:lnTo>
                  <a:pt x="374" y="218"/>
                </a:lnTo>
                <a:lnTo>
                  <a:pt x="374" y="222"/>
                </a:lnTo>
                <a:lnTo>
                  <a:pt x="374" y="224"/>
                </a:lnTo>
                <a:lnTo>
                  <a:pt x="376" y="224"/>
                </a:lnTo>
                <a:lnTo>
                  <a:pt x="378" y="229"/>
                </a:lnTo>
                <a:lnTo>
                  <a:pt x="376" y="231"/>
                </a:lnTo>
                <a:lnTo>
                  <a:pt x="376" y="233"/>
                </a:lnTo>
                <a:lnTo>
                  <a:pt x="380" y="235"/>
                </a:lnTo>
                <a:lnTo>
                  <a:pt x="380" y="244"/>
                </a:lnTo>
                <a:lnTo>
                  <a:pt x="380" y="246"/>
                </a:lnTo>
                <a:lnTo>
                  <a:pt x="400" y="250"/>
                </a:lnTo>
                <a:lnTo>
                  <a:pt x="395" y="259"/>
                </a:lnTo>
                <a:lnTo>
                  <a:pt x="395" y="263"/>
                </a:lnTo>
                <a:lnTo>
                  <a:pt x="382" y="268"/>
                </a:lnTo>
                <a:lnTo>
                  <a:pt x="378" y="263"/>
                </a:lnTo>
                <a:lnTo>
                  <a:pt x="376" y="265"/>
                </a:lnTo>
                <a:lnTo>
                  <a:pt x="378" y="263"/>
                </a:lnTo>
                <a:lnTo>
                  <a:pt x="376" y="263"/>
                </a:lnTo>
                <a:lnTo>
                  <a:pt x="374" y="265"/>
                </a:lnTo>
                <a:lnTo>
                  <a:pt x="372" y="261"/>
                </a:lnTo>
                <a:lnTo>
                  <a:pt x="374" y="265"/>
                </a:lnTo>
                <a:lnTo>
                  <a:pt x="376" y="263"/>
                </a:lnTo>
                <a:lnTo>
                  <a:pt x="376" y="265"/>
                </a:lnTo>
                <a:lnTo>
                  <a:pt x="378" y="265"/>
                </a:lnTo>
                <a:lnTo>
                  <a:pt x="382" y="268"/>
                </a:lnTo>
                <a:lnTo>
                  <a:pt x="391" y="272"/>
                </a:lnTo>
                <a:lnTo>
                  <a:pt x="391" y="274"/>
                </a:lnTo>
                <a:lnTo>
                  <a:pt x="387" y="281"/>
                </a:lnTo>
                <a:lnTo>
                  <a:pt x="380" y="274"/>
                </a:lnTo>
                <a:lnTo>
                  <a:pt x="378" y="276"/>
                </a:lnTo>
                <a:lnTo>
                  <a:pt x="380" y="281"/>
                </a:lnTo>
                <a:lnTo>
                  <a:pt x="372" y="276"/>
                </a:lnTo>
                <a:lnTo>
                  <a:pt x="387" y="289"/>
                </a:lnTo>
                <a:lnTo>
                  <a:pt x="382" y="293"/>
                </a:lnTo>
                <a:lnTo>
                  <a:pt x="378" y="289"/>
                </a:lnTo>
                <a:lnTo>
                  <a:pt x="378" y="298"/>
                </a:lnTo>
                <a:lnTo>
                  <a:pt x="382" y="300"/>
                </a:lnTo>
                <a:lnTo>
                  <a:pt x="382" y="306"/>
                </a:lnTo>
                <a:lnTo>
                  <a:pt x="376" y="317"/>
                </a:lnTo>
                <a:lnTo>
                  <a:pt x="374" y="317"/>
                </a:lnTo>
                <a:lnTo>
                  <a:pt x="367" y="324"/>
                </a:lnTo>
                <a:lnTo>
                  <a:pt x="372" y="326"/>
                </a:lnTo>
                <a:lnTo>
                  <a:pt x="372" y="324"/>
                </a:lnTo>
                <a:lnTo>
                  <a:pt x="378" y="324"/>
                </a:lnTo>
                <a:lnTo>
                  <a:pt x="378" y="328"/>
                </a:lnTo>
                <a:lnTo>
                  <a:pt x="374" y="337"/>
                </a:lnTo>
                <a:lnTo>
                  <a:pt x="363" y="341"/>
                </a:lnTo>
                <a:lnTo>
                  <a:pt x="363" y="343"/>
                </a:lnTo>
                <a:lnTo>
                  <a:pt x="367" y="347"/>
                </a:lnTo>
                <a:lnTo>
                  <a:pt x="363" y="345"/>
                </a:lnTo>
                <a:lnTo>
                  <a:pt x="367" y="354"/>
                </a:lnTo>
                <a:lnTo>
                  <a:pt x="365" y="356"/>
                </a:lnTo>
                <a:lnTo>
                  <a:pt x="367" y="356"/>
                </a:lnTo>
                <a:lnTo>
                  <a:pt x="365" y="365"/>
                </a:lnTo>
                <a:lnTo>
                  <a:pt x="372" y="373"/>
                </a:lnTo>
                <a:lnTo>
                  <a:pt x="367" y="378"/>
                </a:lnTo>
                <a:lnTo>
                  <a:pt x="367" y="380"/>
                </a:lnTo>
                <a:lnTo>
                  <a:pt x="363" y="378"/>
                </a:lnTo>
                <a:lnTo>
                  <a:pt x="363" y="380"/>
                </a:lnTo>
                <a:lnTo>
                  <a:pt x="361" y="378"/>
                </a:lnTo>
                <a:lnTo>
                  <a:pt x="359" y="378"/>
                </a:lnTo>
                <a:lnTo>
                  <a:pt x="354" y="378"/>
                </a:lnTo>
                <a:lnTo>
                  <a:pt x="350" y="376"/>
                </a:lnTo>
                <a:lnTo>
                  <a:pt x="348" y="378"/>
                </a:lnTo>
                <a:lnTo>
                  <a:pt x="346" y="376"/>
                </a:lnTo>
                <a:lnTo>
                  <a:pt x="341" y="376"/>
                </a:lnTo>
                <a:lnTo>
                  <a:pt x="339" y="373"/>
                </a:lnTo>
                <a:lnTo>
                  <a:pt x="337" y="373"/>
                </a:lnTo>
                <a:lnTo>
                  <a:pt x="333" y="373"/>
                </a:lnTo>
                <a:lnTo>
                  <a:pt x="333" y="376"/>
                </a:lnTo>
                <a:lnTo>
                  <a:pt x="331" y="378"/>
                </a:lnTo>
                <a:lnTo>
                  <a:pt x="328" y="378"/>
                </a:lnTo>
                <a:lnTo>
                  <a:pt x="328" y="380"/>
                </a:lnTo>
                <a:lnTo>
                  <a:pt x="328" y="391"/>
                </a:lnTo>
                <a:lnTo>
                  <a:pt x="331" y="395"/>
                </a:lnTo>
                <a:lnTo>
                  <a:pt x="333" y="397"/>
                </a:lnTo>
                <a:lnTo>
                  <a:pt x="333" y="406"/>
                </a:lnTo>
                <a:lnTo>
                  <a:pt x="331" y="410"/>
                </a:lnTo>
                <a:lnTo>
                  <a:pt x="333" y="414"/>
                </a:lnTo>
                <a:lnTo>
                  <a:pt x="331" y="419"/>
                </a:lnTo>
                <a:lnTo>
                  <a:pt x="324" y="419"/>
                </a:lnTo>
                <a:lnTo>
                  <a:pt x="322" y="419"/>
                </a:lnTo>
                <a:lnTo>
                  <a:pt x="318" y="412"/>
                </a:lnTo>
                <a:lnTo>
                  <a:pt x="318" y="408"/>
                </a:lnTo>
                <a:lnTo>
                  <a:pt x="315" y="406"/>
                </a:lnTo>
                <a:lnTo>
                  <a:pt x="313" y="404"/>
                </a:lnTo>
                <a:lnTo>
                  <a:pt x="315" y="399"/>
                </a:lnTo>
                <a:lnTo>
                  <a:pt x="300" y="404"/>
                </a:lnTo>
                <a:lnTo>
                  <a:pt x="296" y="404"/>
                </a:lnTo>
                <a:lnTo>
                  <a:pt x="285" y="404"/>
                </a:lnTo>
                <a:lnTo>
                  <a:pt x="277" y="404"/>
                </a:lnTo>
                <a:lnTo>
                  <a:pt x="242" y="406"/>
                </a:lnTo>
                <a:lnTo>
                  <a:pt x="229" y="406"/>
                </a:lnTo>
                <a:lnTo>
                  <a:pt x="227" y="406"/>
                </a:lnTo>
                <a:lnTo>
                  <a:pt x="203" y="408"/>
                </a:lnTo>
                <a:lnTo>
                  <a:pt x="195" y="408"/>
                </a:lnTo>
                <a:lnTo>
                  <a:pt x="171" y="410"/>
                </a:lnTo>
                <a:lnTo>
                  <a:pt x="166" y="410"/>
                </a:lnTo>
                <a:lnTo>
                  <a:pt x="149" y="410"/>
                </a:lnTo>
                <a:lnTo>
                  <a:pt x="143" y="412"/>
                </a:lnTo>
                <a:lnTo>
                  <a:pt x="102" y="414"/>
                </a:lnTo>
                <a:lnTo>
                  <a:pt x="100" y="412"/>
                </a:lnTo>
                <a:lnTo>
                  <a:pt x="97" y="412"/>
                </a:lnTo>
                <a:lnTo>
                  <a:pt x="97" y="410"/>
                </a:lnTo>
                <a:lnTo>
                  <a:pt x="97" y="408"/>
                </a:lnTo>
                <a:lnTo>
                  <a:pt x="97" y="404"/>
                </a:lnTo>
                <a:lnTo>
                  <a:pt x="95" y="397"/>
                </a:lnTo>
                <a:lnTo>
                  <a:pt x="93" y="395"/>
                </a:lnTo>
                <a:lnTo>
                  <a:pt x="93" y="393"/>
                </a:lnTo>
                <a:lnTo>
                  <a:pt x="89" y="391"/>
                </a:lnTo>
                <a:lnTo>
                  <a:pt x="87" y="382"/>
                </a:lnTo>
                <a:lnTo>
                  <a:pt x="84" y="378"/>
                </a:lnTo>
                <a:lnTo>
                  <a:pt x="82" y="376"/>
                </a:lnTo>
                <a:lnTo>
                  <a:pt x="80" y="376"/>
                </a:lnTo>
                <a:lnTo>
                  <a:pt x="78" y="373"/>
                </a:lnTo>
                <a:lnTo>
                  <a:pt x="80" y="371"/>
                </a:lnTo>
                <a:lnTo>
                  <a:pt x="78" y="365"/>
                </a:lnTo>
                <a:lnTo>
                  <a:pt x="80" y="363"/>
                </a:lnTo>
                <a:lnTo>
                  <a:pt x="80" y="360"/>
                </a:lnTo>
                <a:lnTo>
                  <a:pt x="78" y="356"/>
                </a:lnTo>
                <a:lnTo>
                  <a:pt x="80" y="347"/>
                </a:lnTo>
                <a:lnTo>
                  <a:pt x="78" y="345"/>
                </a:lnTo>
                <a:lnTo>
                  <a:pt x="80" y="341"/>
                </a:lnTo>
                <a:lnTo>
                  <a:pt x="80" y="339"/>
                </a:lnTo>
                <a:lnTo>
                  <a:pt x="78" y="332"/>
                </a:lnTo>
                <a:lnTo>
                  <a:pt x="71" y="328"/>
                </a:lnTo>
                <a:lnTo>
                  <a:pt x="71" y="326"/>
                </a:lnTo>
                <a:lnTo>
                  <a:pt x="71" y="324"/>
                </a:lnTo>
                <a:lnTo>
                  <a:pt x="69" y="317"/>
                </a:lnTo>
                <a:close/>
                <a:moveTo>
                  <a:pt x="367" y="360"/>
                </a:moveTo>
                <a:lnTo>
                  <a:pt x="374" y="354"/>
                </a:lnTo>
                <a:lnTo>
                  <a:pt x="376" y="356"/>
                </a:lnTo>
                <a:lnTo>
                  <a:pt x="374" y="378"/>
                </a:lnTo>
                <a:lnTo>
                  <a:pt x="374" y="376"/>
                </a:lnTo>
                <a:lnTo>
                  <a:pt x="372" y="365"/>
                </a:lnTo>
                <a:lnTo>
                  <a:pt x="367" y="363"/>
                </a:lnTo>
                <a:lnTo>
                  <a:pt x="367" y="360"/>
                </a:lnTo>
                <a:close/>
              </a:path>
            </a:pathLst>
          </a:custGeom>
          <a:noFill/>
          <a:ln w="9525">
            <a:noFill/>
            <a:round/>
            <a:headEnd/>
            <a:tailEnd/>
          </a:ln>
        </p:spPr>
        <p:txBody>
          <a:bodyPr/>
          <a:lstStyle/>
          <a:p>
            <a:endParaRPr lang="en-US" dirty="0">
              <a:solidFill>
                <a:prstClr val="black"/>
              </a:solidFill>
            </a:endParaRPr>
          </a:p>
        </p:txBody>
      </p:sp>
      <p:sp>
        <p:nvSpPr>
          <p:cNvPr id="275" name="Freeform 108">
            <a:extLst>
              <a:ext uri="{FF2B5EF4-FFF2-40B4-BE49-F238E27FC236}">
                <a16:creationId xmlns:a16="http://schemas.microsoft.com/office/drawing/2014/main" id="{EA9DD9FA-7478-4624-8008-70EA0225D56D}"/>
              </a:ext>
            </a:extLst>
          </p:cNvPr>
          <p:cNvSpPr>
            <a:spLocks/>
          </p:cNvSpPr>
          <p:nvPr>
            <p:custDataLst>
              <p:tags r:id="rId99"/>
            </p:custDataLst>
          </p:nvPr>
        </p:nvSpPr>
        <p:spPr bwMode="auto">
          <a:xfrm>
            <a:off x="7707492" y="4528921"/>
            <a:ext cx="808847" cy="905752"/>
          </a:xfrm>
          <a:custGeom>
            <a:avLst/>
            <a:gdLst>
              <a:gd name="T0" fmla="*/ 2147483647 w 400"/>
              <a:gd name="T1" fmla="*/ 2147483647 h 419"/>
              <a:gd name="T2" fmla="*/ 2147483647 w 400"/>
              <a:gd name="T3" fmla="*/ 2147483647 h 419"/>
              <a:gd name="T4" fmla="*/ 2147483647 w 400"/>
              <a:gd name="T5" fmla="*/ 2147483647 h 419"/>
              <a:gd name="T6" fmla="*/ 2147483647 w 400"/>
              <a:gd name="T7" fmla="*/ 2147483647 h 419"/>
              <a:gd name="T8" fmla="*/ 2147483647 w 400"/>
              <a:gd name="T9" fmla="*/ 2147483647 h 419"/>
              <a:gd name="T10" fmla="*/ 2147483647 w 400"/>
              <a:gd name="T11" fmla="*/ 2147483647 h 419"/>
              <a:gd name="T12" fmla="*/ 2147483647 w 400"/>
              <a:gd name="T13" fmla="*/ 2147483647 h 419"/>
              <a:gd name="T14" fmla="*/ 2147483647 w 400"/>
              <a:gd name="T15" fmla="*/ 2147483647 h 419"/>
              <a:gd name="T16" fmla="*/ 2147483647 w 400"/>
              <a:gd name="T17" fmla="*/ 2147483647 h 419"/>
              <a:gd name="T18" fmla="*/ 2147483647 w 400"/>
              <a:gd name="T19" fmla="*/ 2147483647 h 419"/>
              <a:gd name="T20" fmla="*/ 2147483647 w 400"/>
              <a:gd name="T21" fmla="*/ 2147483647 h 419"/>
              <a:gd name="T22" fmla="*/ 2147483647 w 400"/>
              <a:gd name="T23" fmla="*/ 0 h 419"/>
              <a:gd name="T24" fmla="*/ 2147483647 w 400"/>
              <a:gd name="T25" fmla="*/ 2147483647 h 419"/>
              <a:gd name="T26" fmla="*/ 2147483647 w 400"/>
              <a:gd name="T27" fmla="*/ 2147483647 h 419"/>
              <a:gd name="T28" fmla="*/ 2147483647 w 400"/>
              <a:gd name="T29" fmla="*/ 2147483647 h 419"/>
              <a:gd name="T30" fmla="*/ 2147483647 w 400"/>
              <a:gd name="T31" fmla="*/ 2147483647 h 419"/>
              <a:gd name="T32" fmla="*/ 2147483647 w 400"/>
              <a:gd name="T33" fmla="*/ 2147483647 h 419"/>
              <a:gd name="T34" fmla="*/ 2147483647 w 400"/>
              <a:gd name="T35" fmla="*/ 2147483647 h 419"/>
              <a:gd name="T36" fmla="*/ 2147483647 w 400"/>
              <a:gd name="T37" fmla="*/ 2147483647 h 419"/>
              <a:gd name="T38" fmla="*/ 2147483647 w 400"/>
              <a:gd name="T39" fmla="*/ 2147483647 h 419"/>
              <a:gd name="T40" fmla="*/ 2147483647 w 400"/>
              <a:gd name="T41" fmla="*/ 2147483647 h 419"/>
              <a:gd name="T42" fmla="*/ 2147483647 w 400"/>
              <a:gd name="T43" fmla="*/ 2147483647 h 419"/>
              <a:gd name="T44" fmla="*/ 2147483647 w 400"/>
              <a:gd name="T45" fmla="*/ 2147483647 h 419"/>
              <a:gd name="T46" fmla="*/ 2147483647 w 400"/>
              <a:gd name="T47" fmla="*/ 2147483647 h 419"/>
              <a:gd name="T48" fmla="*/ 2147483647 w 400"/>
              <a:gd name="T49" fmla="*/ 2147483647 h 419"/>
              <a:gd name="T50" fmla="*/ 2147483647 w 400"/>
              <a:gd name="T51" fmla="*/ 2147483647 h 419"/>
              <a:gd name="T52" fmla="*/ 2147483647 w 400"/>
              <a:gd name="T53" fmla="*/ 2147483647 h 419"/>
              <a:gd name="T54" fmla="*/ 2147483647 w 400"/>
              <a:gd name="T55" fmla="*/ 2147483647 h 419"/>
              <a:gd name="T56" fmla="*/ 2147483647 w 400"/>
              <a:gd name="T57" fmla="*/ 2147483647 h 419"/>
              <a:gd name="T58" fmla="*/ 2147483647 w 400"/>
              <a:gd name="T59" fmla="*/ 2147483647 h 419"/>
              <a:gd name="T60" fmla="*/ 2147483647 w 400"/>
              <a:gd name="T61" fmla="*/ 2147483647 h 419"/>
              <a:gd name="T62" fmla="*/ 2147483647 w 400"/>
              <a:gd name="T63" fmla="*/ 2147483647 h 419"/>
              <a:gd name="T64" fmla="*/ 2147483647 w 400"/>
              <a:gd name="T65" fmla="*/ 2147483647 h 419"/>
              <a:gd name="T66" fmla="*/ 2147483647 w 400"/>
              <a:gd name="T67" fmla="*/ 2147483647 h 419"/>
              <a:gd name="T68" fmla="*/ 2147483647 w 400"/>
              <a:gd name="T69" fmla="*/ 2147483647 h 419"/>
              <a:gd name="T70" fmla="*/ 2147483647 w 400"/>
              <a:gd name="T71" fmla="*/ 2147483647 h 419"/>
              <a:gd name="T72" fmla="*/ 2147483647 w 400"/>
              <a:gd name="T73" fmla="*/ 2147483647 h 419"/>
              <a:gd name="T74" fmla="*/ 2147483647 w 400"/>
              <a:gd name="T75" fmla="*/ 2147483647 h 419"/>
              <a:gd name="T76" fmla="*/ 2147483647 w 400"/>
              <a:gd name="T77" fmla="*/ 2147483647 h 419"/>
              <a:gd name="T78" fmla="*/ 2147483647 w 400"/>
              <a:gd name="T79" fmla="*/ 2147483647 h 419"/>
              <a:gd name="T80" fmla="*/ 2147483647 w 400"/>
              <a:gd name="T81" fmla="*/ 2147483647 h 419"/>
              <a:gd name="T82" fmla="*/ 2147483647 w 400"/>
              <a:gd name="T83" fmla="*/ 2147483647 h 419"/>
              <a:gd name="T84" fmla="*/ 2147483647 w 400"/>
              <a:gd name="T85" fmla="*/ 2147483647 h 419"/>
              <a:gd name="T86" fmla="*/ 2147483647 w 400"/>
              <a:gd name="T87" fmla="*/ 2147483647 h 419"/>
              <a:gd name="T88" fmla="*/ 2147483647 w 400"/>
              <a:gd name="T89" fmla="*/ 2147483647 h 419"/>
              <a:gd name="T90" fmla="*/ 2147483647 w 400"/>
              <a:gd name="T91" fmla="*/ 2147483647 h 419"/>
              <a:gd name="T92" fmla="*/ 2147483647 w 400"/>
              <a:gd name="T93" fmla="*/ 2147483647 h 419"/>
              <a:gd name="T94" fmla="*/ 2147483647 w 400"/>
              <a:gd name="T95" fmla="*/ 2147483647 h 419"/>
              <a:gd name="T96" fmla="*/ 2147483647 w 400"/>
              <a:gd name="T97" fmla="*/ 2147483647 h 419"/>
              <a:gd name="T98" fmla="*/ 2147483647 w 400"/>
              <a:gd name="T99" fmla="*/ 2147483647 h 419"/>
              <a:gd name="T100" fmla="*/ 2147483647 w 400"/>
              <a:gd name="T101" fmla="*/ 2147483647 h 419"/>
              <a:gd name="T102" fmla="*/ 2147483647 w 400"/>
              <a:gd name="T103" fmla="*/ 2147483647 h 419"/>
              <a:gd name="T104" fmla="*/ 2147483647 w 400"/>
              <a:gd name="T105" fmla="*/ 2147483647 h 419"/>
              <a:gd name="T106" fmla="*/ 2147483647 w 400"/>
              <a:gd name="T107" fmla="*/ 2147483647 h 419"/>
              <a:gd name="T108" fmla="*/ 2147483647 w 400"/>
              <a:gd name="T109" fmla="*/ 2147483647 h 419"/>
              <a:gd name="T110" fmla="*/ 2147483647 w 400"/>
              <a:gd name="T111" fmla="*/ 2147483647 h 419"/>
              <a:gd name="T112" fmla="*/ 2147483647 w 400"/>
              <a:gd name="T113" fmla="*/ 2147483647 h 419"/>
              <a:gd name="T114" fmla="*/ 2147483647 w 400"/>
              <a:gd name="T115" fmla="*/ 2147483647 h 419"/>
              <a:gd name="T116" fmla="*/ 2147483647 w 400"/>
              <a:gd name="T117" fmla="*/ 2147483647 h 419"/>
              <a:gd name="T118" fmla="*/ 2147483647 w 400"/>
              <a:gd name="T119" fmla="*/ 2147483647 h 4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0"/>
              <a:gd name="T181" fmla="*/ 0 h 419"/>
              <a:gd name="T182" fmla="*/ 400 w 400"/>
              <a:gd name="T183" fmla="*/ 419 h 41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0" h="419">
                <a:moveTo>
                  <a:pt x="69" y="317"/>
                </a:moveTo>
                <a:lnTo>
                  <a:pt x="69" y="311"/>
                </a:lnTo>
                <a:lnTo>
                  <a:pt x="69" y="306"/>
                </a:lnTo>
                <a:lnTo>
                  <a:pt x="71" y="298"/>
                </a:lnTo>
                <a:lnTo>
                  <a:pt x="71" y="296"/>
                </a:lnTo>
                <a:lnTo>
                  <a:pt x="71" y="293"/>
                </a:lnTo>
                <a:lnTo>
                  <a:pt x="71" y="291"/>
                </a:lnTo>
                <a:lnTo>
                  <a:pt x="71" y="289"/>
                </a:lnTo>
                <a:lnTo>
                  <a:pt x="71" y="287"/>
                </a:lnTo>
                <a:lnTo>
                  <a:pt x="76" y="281"/>
                </a:lnTo>
                <a:lnTo>
                  <a:pt x="80" y="278"/>
                </a:lnTo>
                <a:lnTo>
                  <a:pt x="78" y="276"/>
                </a:lnTo>
                <a:lnTo>
                  <a:pt x="82" y="276"/>
                </a:lnTo>
                <a:lnTo>
                  <a:pt x="82" y="274"/>
                </a:lnTo>
                <a:lnTo>
                  <a:pt x="82" y="272"/>
                </a:lnTo>
                <a:lnTo>
                  <a:pt x="80" y="268"/>
                </a:lnTo>
                <a:lnTo>
                  <a:pt x="76" y="265"/>
                </a:lnTo>
                <a:lnTo>
                  <a:pt x="76" y="263"/>
                </a:lnTo>
                <a:lnTo>
                  <a:pt x="78" y="261"/>
                </a:lnTo>
                <a:lnTo>
                  <a:pt x="76" y="261"/>
                </a:lnTo>
                <a:lnTo>
                  <a:pt x="76" y="257"/>
                </a:lnTo>
                <a:lnTo>
                  <a:pt x="76" y="255"/>
                </a:lnTo>
                <a:lnTo>
                  <a:pt x="71" y="248"/>
                </a:lnTo>
                <a:lnTo>
                  <a:pt x="65" y="244"/>
                </a:lnTo>
                <a:lnTo>
                  <a:pt x="65" y="242"/>
                </a:lnTo>
                <a:lnTo>
                  <a:pt x="65" y="240"/>
                </a:lnTo>
                <a:lnTo>
                  <a:pt x="63" y="240"/>
                </a:lnTo>
                <a:lnTo>
                  <a:pt x="63" y="235"/>
                </a:lnTo>
                <a:lnTo>
                  <a:pt x="63" y="233"/>
                </a:lnTo>
                <a:lnTo>
                  <a:pt x="61" y="229"/>
                </a:lnTo>
                <a:lnTo>
                  <a:pt x="61" y="227"/>
                </a:lnTo>
                <a:lnTo>
                  <a:pt x="56" y="224"/>
                </a:lnTo>
                <a:lnTo>
                  <a:pt x="54" y="218"/>
                </a:lnTo>
                <a:lnTo>
                  <a:pt x="48" y="194"/>
                </a:lnTo>
                <a:lnTo>
                  <a:pt x="39" y="166"/>
                </a:lnTo>
                <a:lnTo>
                  <a:pt x="37" y="162"/>
                </a:lnTo>
                <a:lnTo>
                  <a:pt x="35" y="147"/>
                </a:lnTo>
                <a:lnTo>
                  <a:pt x="28" y="125"/>
                </a:lnTo>
                <a:lnTo>
                  <a:pt x="26" y="119"/>
                </a:lnTo>
                <a:lnTo>
                  <a:pt x="22" y="108"/>
                </a:lnTo>
                <a:lnTo>
                  <a:pt x="17" y="88"/>
                </a:lnTo>
                <a:lnTo>
                  <a:pt x="13" y="67"/>
                </a:lnTo>
                <a:lnTo>
                  <a:pt x="11" y="63"/>
                </a:lnTo>
                <a:lnTo>
                  <a:pt x="7" y="58"/>
                </a:lnTo>
                <a:lnTo>
                  <a:pt x="2" y="37"/>
                </a:lnTo>
                <a:lnTo>
                  <a:pt x="0" y="26"/>
                </a:lnTo>
                <a:lnTo>
                  <a:pt x="11" y="21"/>
                </a:lnTo>
                <a:lnTo>
                  <a:pt x="17" y="21"/>
                </a:lnTo>
                <a:lnTo>
                  <a:pt x="26" y="21"/>
                </a:lnTo>
                <a:lnTo>
                  <a:pt x="48" y="19"/>
                </a:lnTo>
                <a:lnTo>
                  <a:pt x="61" y="17"/>
                </a:lnTo>
                <a:lnTo>
                  <a:pt x="63" y="17"/>
                </a:lnTo>
                <a:lnTo>
                  <a:pt x="76" y="17"/>
                </a:lnTo>
                <a:lnTo>
                  <a:pt x="97" y="13"/>
                </a:lnTo>
                <a:lnTo>
                  <a:pt x="112" y="13"/>
                </a:lnTo>
                <a:lnTo>
                  <a:pt x="121" y="11"/>
                </a:lnTo>
                <a:lnTo>
                  <a:pt x="128" y="11"/>
                </a:lnTo>
                <a:lnTo>
                  <a:pt x="153" y="4"/>
                </a:lnTo>
                <a:lnTo>
                  <a:pt x="158" y="4"/>
                </a:lnTo>
                <a:lnTo>
                  <a:pt x="190" y="0"/>
                </a:lnTo>
                <a:lnTo>
                  <a:pt x="190" y="2"/>
                </a:lnTo>
                <a:lnTo>
                  <a:pt x="190" y="4"/>
                </a:lnTo>
                <a:lnTo>
                  <a:pt x="186" y="4"/>
                </a:lnTo>
                <a:lnTo>
                  <a:pt x="190" y="6"/>
                </a:lnTo>
                <a:lnTo>
                  <a:pt x="186" y="4"/>
                </a:lnTo>
                <a:lnTo>
                  <a:pt x="186" y="6"/>
                </a:lnTo>
                <a:lnTo>
                  <a:pt x="184" y="11"/>
                </a:lnTo>
                <a:lnTo>
                  <a:pt x="182" y="13"/>
                </a:lnTo>
                <a:lnTo>
                  <a:pt x="179" y="13"/>
                </a:lnTo>
                <a:lnTo>
                  <a:pt x="179" y="15"/>
                </a:lnTo>
                <a:lnTo>
                  <a:pt x="179" y="17"/>
                </a:lnTo>
                <a:lnTo>
                  <a:pt x="179" y="19"/>
                </a:lnTo>
                <a:lnTo>
                  <a:pt x="177" y="19"/>
                </a:lnTo>
                <a:lnTo>
                  <a:pt x="175" y="21"/>
                </a:lnTo>
                <a:lnTo>
                  <a:pt x="175" y="26"/>
                </a:lnTo>
                <a:lnTo>
                  <a:pt x="175" y="28"/>
                </a:lnTo>
                <a:lnTo>
                  <a:pt x="175" y="30"/>
                </a:lnTo>
                <a:lnTo>
                  <a:pt x="175" y="32"/>
                </a:lnTo>
                <a:lnTo>
                  <a:pt x="179" y="34"/>
                </a:lnTo>
                <a:lnTo>
                  <a:pt x="184" y="37"/>
                </a:lnTo>
                <a:lnTo>
                  <a:pt x="190" y="37"/>
                </a:lnTo>
                <a:lnTo>
                  <a:pt x="190" y="39"/>
                </a:lnTo>
                <a:lnTo>
                  <a:pt x="192" y="39"/>
                </a:lnTo>
                <a:lnTo>
                  <a:pt x="195" y="43"/>
                </a:lnTo>
                <a:lnTo>
                  <a:pt x="197" y="45"/>
                </a:lnTo>
                <a:lnTo>
                  <a:pt x="199" y="47"/>
                </a:lnTo>
                <a:lnTo>
                  <a:pt x="201" y="47"/>
                </a:lnTo>
                <a:lnTo>
                  <a:pt x="203" y="47"/>
                </a:lnTo>
                <a:lnTo>
                  <a:pt x="212" y="47"/>
                </a:lnTo>
                <a:lnTo>
                  <a:pt x="214" y="47"/>
                </a:lnTo>
                <a:lnTo>
                  <a:pt x="216" y="52"/>
                </a:lnTo>
                <a:lnTo>
                  <a:pt x="216" y="54"/>
                </a:lnTo>
                <a:lnTo>
                  <a:pt x="218" y="58"/>
                </a:lnTo>
                <a:lnTo>
                  <a:pt x="223" y="63"/>
                </a:lnTo>
                <a:lnTo>
                  <a:pt x="225" y="63"/>
                </a:lnTo>
                <a:lnTo>
                  <a:pt x="225" y="67"/>
                </a:lnTo>
                <a:lnTo>
                  <a:pt x="227" y="69"/>
                </a:lnTo>
                <a:lnTo>
                  <a:pt x="227" y="71"/>
                </a:lnTo>
                <a:lnTo>
                  <a:pt x="233" y="78"/>
                </a:lnTo>
                <a:lnTo>
                  <a:pt x="240" y="84"/>
                </a:lnTo>
                <a:lnTo>
                  <a:pt x="240" y="86"/>
                </a:lnTo>
                <a:lnTo>
                  <a:pt x="242" y="88"/>
                </a:lnTo>
                <a:lnTo>
                  <a:pt x="242" y="93"/>
                </a:lnTo>
                <a:lnTo>
                  <a:pt x="246" y="93"/>
                </a:lnTo>
                <a:lnTo>
                  <a:pt x="251" y="97"/>
                </a:lnTo>
                <a:lnTo>
                  <a:pt x="257" y="99"/>
                </a:lnTo>
                <a:lnTo>
                  <a:pt x="259" y="99"/>
                </a:lnTo>
                <a:lnTo>
                  <a:pt x="261" y="99"/>
                </a:lnTo>
                <a:lnTo>
                  <a:pt x="264" y="101"/>
                </a:lnTo>
                <a:lnTo>
                  <a:pt x="266" y="104"/>
                </a:lnTo>
                <a:lnTo>
                  <a:pt x="268" y="108"/>
                </a:lnTo>
                <a:lnTo>
                  <a:pt x="272" y="112"/>
                </a:lnTo>
                <a:lnTo>
                  <a:pt x="274" y="112"/>
                </a:lnTo>
                <a:lnTo>
                  <a:pt x="277" y="116"/>
                </a:lnTo>
                <a:lnTo>
                  <a:pt x="279" y="119"/>
                </a:lnTo>
                <a:lnTo>
                  <a:pt x="281" y="119"/>
                </a:lnTo>
                <a:lnTo>
                  <a:pt x="285" y="121"/>
                </a:lnTo>
                <a:lnTo>
                  <a:pt x="290" y="121"/>
                </a:lnTo>
                <a:lnTo>
                  <a:pt x="292" y="125"/>
                </a:lnTo>
                <a:lnTo>
                  <a:pt x="294" y="125"/>
                </a:lnTo>
                <a:lnTo>
                  <a:pt x="294" y="127"/>
                </a:lnTo>
                <a:lnTo>
                  <a:pt x="298" y="129"/>
                </a:lnTo>
                <a:lnTo>
                  <a:pt x="298" y="132"/>
                </a:lnTo>
                <a:lnTo>
                  <a:pt x="300" y="134"/>
                </a:lnTo>
                <a:lnTo>
                  <a:pt x="298" y="134"/>
                </a:lnTo>
                <a:lnTo>
                  <a:pt x="300" y="136"/>
                </a:lnTo>
                <a:lnTo>
                  <a:pt x="298" y="136"/>
                </a:lnTo>
                <a:lnTo>
                  <a:pt x="298" y="140"/>
                </a:lnTo>
                <a:lnTo>
                  <a:pt x="300" y="140"/>
                </a:lnTo>
                <a:lnTo>
                  <a:pt x="300" y="142"/>
                </a:lnTo>
                <a:lnTo>
                  <a:pt x="305" y="142"/>
                </a:lnTo>
                <a:lnTo>
                  <a:pt x="307" y="145"/>
                </a:lnTo>
                <a:lnTo>
                  <a:pt x="307" y="142"/>
                </a:lnTo>
                <a:lnTo>
                  <a:pt x="309" y="142"/>
                </a:lnTo>
                <a:lnTo>
                  <a:pt x="307" y="145"/>
                </a:lnTo>
                <a:lnTo>
                  <a:pt x="309" y="147"/>
                </a:lnTo>
                <a:lnTo>
                  <a:pt x="309" y="149"/>
                </a:lnTo>
                <a:lnTo>
                  <a:pt x="311" y="149"/>
                </a:lnTo>
                <a:lnTo>
                  <a:pt x="311" y="151"/>
                </a:lnTo>
                <a:lnTo>
                  <a:pt x="313" y="151"/>
                </a:lnTo>
                <a:lnTo>
                  <a:pt x="315" y="151"/>
                </a:lnTo>
                <a:lnTo>
                  <a:pt x="315" y="153"/>
                </a:lnTo>
                <a:lnTo>
                  <a:pt x="318" y="157"/>
                </a:lnTo>
                <a:lnTo>
                  <a:pt x="322" y="160"/>
                </a:lnTo>
                <a:lnTo>
                  <a:pt x="328" y="162"/>
                </a:lnTo>
                <a:lnTo>
                  <a:pt x="331" y="162"/>
                </a:lnTo>
                <a:lnTo>
                  <a:pt x="333" y="162"/>
                </a:lnTo>
                <a:lnTo>
                  <a:pt x="333" y="164"/>
                </a:lnTo>
                <a:lnTo>
                  <a:pt x="337" y="164"/>
                </a:lnTo>
                <a:lnTo>
                  <a:pt x="339" y="166"/>
                </a:lnTo>
                <a:lnTo>
                  <a:pt x="339" y="173"/>
                </a:lnTo>
                <a:lnTo>
                  <a:pt x="341" y="177"/>
                </a:lnTo>
                <a:lnTo>
                  <a:pt x="343" y="177"/>
                </a:lnTo>
                <a:lnTo>
                  <a:pt x="341" y="179"/>
                </a:lnTo>
                <a:lnTo>
                  <a:pt x="343" y="179"/>
                </a:lnTo>
                <a:lnTo>
                  <a:pt x="343" y="181"/>
                </a:lnTo>
                <a:lnTo>
                  <a:pt x="346" y="181"/>
                </a:lnTo>
                <a:lnTo>
                  <a:pt x="346" y="183"/>
                </a:lnTo>
                <a:lnTo>
                  <a:pt x="346" y="186"/>
                </a:lnTo>
                <a:lnTo>
                  <a:pt x="348" y="190"/>
                </a:lnTo>
                <a:lnTo>
                  <a:pt x="348" y="194"/>
                </a:lnTo>
                <a:lnTo>
                  <a:pt x="350" y="194"/>
                </a:lnTo>
                <a:lnTo>
                  <a:pt x="350" y="199"/>
                </a:lnTo>
                <a:lnTo>
                  <a:pt x="350" y="201"/>
                </a:lnTo>
                <a:lnTo>
                  <a:pt x="354" y="203"/>
                </a:lnTo>
                <a:lnTo>
                  <a:pt x="356" y="203"/>
                </a:lnTo>
                <a:lnTo>
                  <a:pt x="361" y="203"/>
                </a:lnTo>
                <a:lnTo>
                  <a:pt x="363" y="207"/>
                </a:lnTo>
                <a:lnTo>
                  <a:pt x="365" y="209"/>
                </a:lnTo>
                <a:lnTo>
                  <a:pt x="372" y="214"/>
                </a:lnTo>
                <a:lnTo>
                  <a:pt x="372" y="216"/>
                </a:lnTo>
                <a:lnTo>
                  <a:pt x="374" y="218"/>
                </a:lnTo>
                <a:lnTo>
                  <a:pt x="374" y="222"/>
                </a:lnTo>
                <a:lnTo>
                  <a:pt x="374" y="224"/>
                </a:lnTo>
                <a:lnTo>
                  <a:pt x="376" y="224"/>
                </a:lnTo>
                <a:lnTo>
                  <a:pt x="378" y="229"/>
                </a:lnTo>
                <a:lnTo>
                  <a:pt x="376" y="231"/>
                </a:lnTo>
                <a:lnTo>
                  <a:pt x="376" y="233"/>
                </a:lnTo>
                <a:lnTo>
                  <a:pt x="380" y="235"/>
                </a:lnTo>
                <a:lnTo>
                  <a:pt x="380" y="244"/>
                </a:lnTo>
                <a:lnTo>
                  <a:pt x="380" y="246"/>
                </a:lnTo>
                <a:lnTo>
                  <a:pt x="400" y="250"/>
                </a:lnTo>
                <a:lnTo>
                  <a:pt x="395" y="259"/>
                </a:lnTo>
                <a:lnTo>
                  <a:pt x="395" y="263"/>
                </a:lnTo>
                <a:lnTo>
                  <a:pt x="382" y="268"/>
                </a:lnTo>
                <a:lnTo>
                  <a:pt x="378" y="263"/>
                </a:lnTo>
                <a:lnTo>
                  <a:pt x="376" y="265"/>
                </a:lnTo>
                <a:lnTo>
                  <a:pt x="378" y="263"/>
                </a:lnTo>
                <a:lnTo>
                  <a:pt x="376" y="263"/>
                </a:lnTo>
                <a:lnTo>
                  <a:pt x="374" y="265"/>
                </a:lnTo>
                <a:lnTo>
                  <a:pt x="372" y="261"/>
                </a:lnTo>
                <a:lnTo>
                  <a:pt x="374" y="265"/>
                </a:lnTo>
                <a:lnTo>
                  <a:pt x="376" y="263"/>
                </a:lnTo>
                <a:lnTo>
                  <a:pt x="376" y="265"/>
                </a:lnTo>
                <a:lnTo>
                  <a:pt x="378" y="265"/>
                </a:lnTo>
                <a:lnTo>
                  <a:pt x="382" y="268"/>
                </a:lnTo>
                <a:lnTo>
                  <a:pt x="391" y="272"/>
                </a:lnTo>
                <a:lnTo>
                  <a:pt x="391" y="274"/>
                </a:lnTo>
                <a:lnTo>
                  <a:pt x="387" y="281"/>
                </a:lnTo>
                <a:lnTo>
                  <a:pt x="380" y="274"/>
                </a:lnTo>
                <a:lnTo>
                  <a:pt x="378" y="276"/>
                </a:lnTo>
                <a:lnTo>
                  <a:pt x="380" y="281"/>
                </a:lnTo>
                <a:lnTo>
                  <a:pt x="372" y="276"/>
                </a:lnTo>
                <a:lnTo>
                  <a:pt x="387" y="289"/>
                </a:lnTo>
                <a:lnTo>
                  <a:pt x="382" y="293"/>
                </a:lnTo>
                <a:lnTo>
                  <a:pt x="378" y="289"/>
                </a:lnTo>
                <a:lnTo>
                  <a:pt x="378" y="298"/>
                </a:lnTo>
                <a:lnTo>
                  <a:pt x="382" y="300"/>
                </a:lnTo>
                <a:lnTo>
                  <a:pt x="382" y="306"/>
                </a:lnTo>
                <a:lnTo>
                  <a:pt x="376" y="317"/>
                </a:lnTo>
                <a:lnTo>
                  <a:pt x="374" y="317"/>
                </a:lnTo>
                <a:lnTo>
                  <a:pt x="367" y="324"/>
                </a:lnTo>
                <a:lnTo>
                  <a:pt x="372" y="326"/>
                </a:lnTo>
                <a:lnTo>
                  <a:pt x="372" y="324"/>
                </a:lnTo>
                <a:lnTo>
                  <a:pt x="378" y="324"/>
                </a:lnTo>
                <a:lnTo>
                  <a:pt x="378" y="328"/>
                </a:lnTo>
                <a:lnTo>
                  <a:pt x="374" y="337"/>
                </a:lnTo>
                <a:lnTo>
                  <a:pt x="363" y="341"/>
                </a:lnTo>
                <a:lnTo>
                  <a:pt x="363" y="343"/>
                </a:lnTo>
                <a:lnTo>
                  <a:pt x="367" y="347"/>
                </a:lnTo>
                <a:lnTo>
                  <a:pt x="363" y="345"/>
                </a:lnTo>
                <a:lnTo>
                  <a:pt x="367" y="354"/>
                </a:lnTo>
                <a:lnTo>
                  <a:pt x="365" y="356"/>
                </a:lnTo>
                <a:lnTo>
                  <a:pt x="367" y="356"/>
                </a:lnTo>
                <a:lnTo>
                  <a:pt x="365" y="365"/>
                </a:lnTo>
                <a:lnTo>
                  <a:pt x="372" y="373"/>
                </a:lnTo>
                <a:lnTo>
                  <a:pt x="367" y="378"/>
                </a:lnTo>
                <a:lnTo>
                  <a:pt x="367" y="380"/>
                </a:lnTo>
                <a:lnTo>
                  <a:pt x="363" y="378"/>
                </a:lnTo>
                <a:lnTo>
                  <a:pt x="363" y="380"/>
                </a:lnTo>
                <a:lnTo>
                  <a:pt x="361" y="378"/>
                </a:lnTo>
                <a:lnTo>
                  <a:pt x="359" y="378"/>
                </a:lnTo>
                <a:lnTo>
                  <a:pt x="354" y="378"/>
                </a:lnTo>
                <a:lnTo>
                  <a:pt x="350" y="376"/>
                </a:lnTo>
                <a:lnTo>
                  <a:pt x="348" y="378"/>
                </a:lnTo>
                <a:lnTo>
                  <a:pt x="346" y="376"/>
                </a:lnTo>
                <a:lnTo>
                  <a:pt x="341" y="376"/>
                </a:lnTo>
                <a:lnTo>
                  <a:pt x="339" y="373"/>
                </a:lnTo>
                <a:lnTo>
                  <a:pt x="337" y="373"/>
                </a:lnTo>
                <a:lnTo>
                  <a:pt x="333" y="373"/>
                </a:lnTo>
                <a:lnTo>
                  <a:pt x="333" y="376"/>
                </a:lnTo>
                <a:lnTo>
                  <a:pt x="331" y="378"/>
                </a:lnTo>
                <a:lnTo>
                  <a:pt x="328" y="378"/>
                </a:lnTo>
                <a:lnTo>
                  <a:pt x="328" y="380"/>
                </a:lnTo>
                <a:lnTo>
                  <a:pt x="328" y="391"/>
                </a:lnTo>
                <a:lnTo>
                  <a:pt x="331" y="395"/>
                </a:lnTo>
                <a:lnTo>
                  <a:pt x="333" y="397"/>
                </a:lnTo>
                <a:lnTo>
                  <a:pt x="333" y="406"/>
                </a:lnTo>
                <a:lnTo>
                  <a:pt x="331" y="410"/>
                </a:lnTo>
                <a:lnTo>
                  <a:pt x="333" y="414"/>
                </a:lnTo>
                <a:lnTo>
                  <a:pt x="331" y="419"/>
                </a:lnTo>
                <a:lnTo>
                  <a:pt x="324" y="419"/>
                </a:lnTo>
                <a:lnTo>
                  <a:pt x="322" y="419"/>
                </a:lnTo>
                <a:lnTo>
                  <a:pt x="318" y="412"/>
                </a:lnTo>
                <a:lnTo>
                  <a:pt x="318" y="408"/>
                </a:lnTo>
                <a:lnTo>
                  <a:pt x="315" y="406"/>
                </a:lnTo>
                <a:lnTo>
                  <a:pt x="313" y="404"/>
                </a:lnTo>
                <a:lnTo>
                  <a:pt x="315" y="399"/>
                </a:lnTo>
                <a:lnTo>
                  <a:pt x="300" y="404"/>
                </a:lnTo>
                <a:lnTo>
                  <a:pt x="296" y="404"/>
                </a:lnTo>
                <a:lnTo>
                  <a:pt x="285" y="404"/>
                </a:lnTo>
                <a:lnTo>
                  <a:pt x="277" y="404"/>
                </a:lnTo>
                <a:lnTo>
                  <a:pt x="242" y="406"/>
                </a:lnTo>
                <a:lnTo>
                  <a:pt x="229" y="406"/>
                </a:lnTo>
                <a:lnTo>
                  <a:pt x="227" y="406"/>
                </a:lnTo>
                <a:lnTo>
                  <a:pt x="203" y="408"/>
                </a:lnTo>
                <a:lnTo>
                  <a:pt x="195" y="408"/>
                </a:lnTo>
                <a:lnTo>
                  <a:pt x="171" y="410"/>
                </a:lnTo>
                <a:lnTo>
                  <a:pt x="166" y="410"/>
                </a:lnTo>
                <a:lnTo>
                  <a:pt x="149" y="410"/>
                </a:lnTo>
                <a:lnTo>
                  <a:pt x="143" y="412"/>
                </a:lnTo>
                <a:lnTo>
                  <a:pt x="102" y="414"/>
                </a:lnTo>
                <a:lnTo>
                  <a:pt x="100" y="412"/>
                </a:lnTo>
                <a:lnTo>
                  <a:pt x="97" y="412"/>
                </a:lnTo>
                <a:lnTo>
                  <a:pt x="97" y="410"/>
                </a:lnTo>
                <a:lnTo>
                  <a:pt x="97" y="408"/>
                </a:lnTo>
                <a:lnTo>
                  <a:pt x="97" y="404"/>
                </a:lnTo>
                <a:lnTo>
                  <a:pt x="95" y="397"/>
                </a:lnTo>
                <a:lnTo>
                  <a:pt x="93" y="395"/>
                </a:lnTo>
                <a:lnTo>
                  <a:pt x="93" y="393"/>
                </a:lnTo>
                <a:lnTo>
                  <a:pt x="89" y="391"/>
                </a:lnTo>
                <a:lnTo>
                  <a:pt x="87" y="382"/>
                </a:lnTo>
                <a:lnTo>
                  <a:pt x="84" y="378"/>
                </a:lnTo>
                <a:lnTo>
                  <a:pt x="82" y="376"/>
                </a:lnTo>
                <a:lnTo>
                  <a:pt x="80" y="376"/>
                </a:lnTo>
                <a:lnTo>
                  <a:pt x="78" y="373"/>
                </a:lnTo>
                <a:lnTo>
                  <a:pt x="80" y="371"/>
                </a:lnTo>
                <a:lnTo>
                  <a:pt x="78" y="365"/>
                </a:lnTo>
                <a:lnTo>
                  <a:pt x="80" y="363"/>
                </a:lnTo>
                <a:lnTo>
                  <a:pt x="80" y="360"/>
                </a:lnTo>
                <a:lnTo>
                  <a:pt x="78" y="356"/>
                </a:lnTo>
                <a:lnTo>
                  <a:pt x="80" y="347"/>
                </a:lnTo>
                <a:lnTo>
                  <a:pt x="78" y="345"/>
                </a:lnTo>
                <a:lnTo>
                  <a:pt x="80" y="341"/>
                </a:lnTo>
                <a:lnTo>
                  <a:pt x="80" y="339"/>
                </a:lnTo>
                <a:lnTo>
                  <a:pt x="78" y="332"/>
                </a:lnTo>
                <a:lnTo>
                  <a:pt x="71" y="328"/>
                </a:lnTo>
                <a:lnTo>
                  <a:pt x="71" y="326"/>
                </a:lnTo>
                <a:lnTo>
                  <a:pt x="71" y="324"/>
                </a:lnTo>
                <a:lnTo>
                  <a:pt x="69" y="317"/>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76" name="Freeform 109">
            <a:extLst>
              <a:ext uri="{FF2B5EF4-FFF2-40B4-BE49-F238E27FC236}">
                <a16:creationId xmlns:a16="http://schemas.microsoft.com/office/drawing/2014/main" id="{B34F453A-B68E-4528-A4B7-7286806B102E}"/>
              </a:ext>
            </a:extLst>
          </p:cNvPr>
          <p:cNvSpPr>
            <a:spLocks/>
          </p:cNvSpPr>
          <p:nvPr>
            <p:custDataLst>
              <p:tags r:id="rId100"/>
            </p:custDataLst>
          </p:nvPr>
        </p:nvSpPr>
        <p:spPr bwMode="auto">
          <a:xfrm>
            <a:off x="8448400" y="5294198"/>
            <a:ext cx="19727" cy="51881"/>
          </a:xfrm>
          <a:custGeom>
            <a:avLst/>
            <a:gdLst>
              <a:gd name="T0" fmla="*/ 0 w 9"/>
              <a:gd name="T1" fmla="*/ 2147483647 h 24"/>
              <a:gd name="T2" fmla="*/ 2147483647 w 9"/>
              <a:gd name="T3" fmla="*/ 0 h 24"/>
              <a:gd name="T4" fmla="*/ 2147483647 w 9"/>
              <a:gd name="T5" fmla="*/ 2147483647 h 24"/>
              <a:gd name="T6" fmla="*/ 2147483647 w 9"/>
              <a:gd name="T7" fmla="*/ 2147483647 h 24"/>
              <a:gd name="T8" fmla="*/ 2147483647 w 9"/>
              <a:gd name="T9" fmla="*/ 2147483647 h 24"/>
              <a:gd name="T10" fmla="*/ 2147483647 w 9"/>
              <a:gd name="T11" fmla="*/ 2147483647 h 24"/>
              <a:gd name="T12" fmla="*/ 0 w 9"/>
              <a:gd name="T13" fmla="*/ 2147483647 h 24"/>
              <a:gd name="T14" fmla="*/ 0 w 9"/>
              <a:gd name="T15" fmla="*/ 2147483647 h 24"/>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4"/>
              <a:gd name="T26" fmla="*/ 9 w 9"/>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4">
                <a:moveTo>
                  <a:pt x="0" y="6"/>
                </a:moveTo>
                <a:lnTo>
                  <a:pt x="7" y="0"/>
                </a:lnTo>
                <a:lnTo>
                  <a:pt x="9" y="2"/>
                </a:lnTo>
                <a:lnTo>
                  <a:pt x="7" y="24"/>
                </a:lnTo>
                <a:lnTo>
                  <a:pt x="7" y="22"/>
                </a:lnTo>
                <a:lnTo>
                  <a:pt x="5" y="11"/>
                </a:lnTo>
                <a:lnTo>
                  <a:pt x="0" y="9"/>
                </a:lnTo>
                <a:lnTo>
                  <a:pt x="0" y="6"/>
                </a:lnTo>
              </a:path>
            </a:pathLst>
          </a:custGeom>
          <a:noFill/>
          <a:ln w="6350">
            <a:solidFill>
              <a:srgbClr val="404040"/>
            </a:solidFill>
            <a:round/>
            <a:headEnd/>
            <a:tailEnd/>
          </a:ln>
        </p:spPr>
        <p:txBody>
          <a:bodyPr/>
          <a:lstStyle/>
          <a:p>
            <a:endParaRPr lang="en-US" dirty="0">
              <a:solidFill>
                <a:prstClr val="black"/>
              </a:solidFill>
            </a:endParaRPr>
          </a:p>
        </p:txBody>
      </p:sp>
      <p:sp>
        <p:nvSpPr>
          <p:cNvPr id="277" name="Freeform 110">
            <a:extLst>
              <a:ext uri="{FF2B5EF4-FFF2-40B4-BE49-F238E27FC236}">
                <a16:creationId xmlns:a16="http://schemas.microsoft.com/office/drawing/2014/main" id="{8BAADC32-ABF7-4248-80C0-90E796C20B95}"/>
              </a:ext>
            </a:extLst>
          </p:cNvPr>
          <p:cNvSpPr>
            <a:spLocks noEditPoints="1"/>
          </p:cNvSpPr>
          <p:nvPr>
            <p:custDataLst>
              <p:tags r:id="rId101"/>
            </p:custDataLst>
          </p:nvPr>
        </p:nvSpPr>
        <p:spPr bwMode="auto">
          <a:xfrm>
            <a:off x="8060406" y="4448939"/>
            <a:ext cx="751857" cy="611763"/>
          </a:xfrm>
          <a:custGeom>
            <a:avLst/>
            <a:gdLst>
              <a:gd name="T0" fmla="*/ 2147483647 w 371"/>
              <a:gd name="T1" fmla="*/ 2147483647 h 283"/>
              <a:gd name="T2" fmla="*/ 2147483647 w 371"/>
              <a:gd name="T3" fmla="*/ 2147483647 h 283"/>
              <a:gd name="T4" fmla="*/ 2147483647 w 371"/>
              <a:gd name="T5" fmla="*/ 2147483647 h 283"/>
              <a:gd name="T6" fmla="*/ 2147483647 w 371"/>
              <a:gd name="T7" fmla="*/ 2147483647 h 283"/>
              <a:gd name="T8" fmla="*/ 2147483647 w 371"/>
              <a:gd name="T9" fmla="*/ 2147483647 h 283"/>
              <a:gd name="T10" fmla="*/ 2147483647 w 371"/>
              <a:gd name="T11" fmla="*/ 2147483647 h 283"/>
              <a:gd name="T12" fmla="*/ 2147483647 w 371"/>
              <a:gd name="T13" fmla="*/ 2147483647 h 283"/>
              <a:gd name="T14" fmla="*/ 2147483647 w 371"/>
              <a:gd name="T15" fmla="*/ 2147483647 h 283"/>
              <a:gd name="T16" fmla="*/ 2147483647 w 371"/>
              <a:gd name="T17" fmla="*/ 2147483647 h 283"/>
              <a:gd name="T18" fmla="*/ 2147483647 w 371"/>
              <a:gd name="T19" fmla="*/ 2147483647 h 283"/>
              <a:gd name="T20" fmla="*/ 2147483647 w 371"/>
              <a:gd name="T21" fmla="*/ 2147483647 h 283"/>
              <a:gd name="T22" fmla="*/ 2147483647 w 371"/>
              <a:gd name="T23" fmla="*/ 2147483647 h 283"/>
              <a:gd name="T24" fmla="*/ 2147483647 w 371"/>
              <a:gd name="T25" fmla="*/ 2147483647 h 283"/>
              <a:gd name="T26" fmla="*/ 2147483647 w 371"/>
              <a:gd name="T27" fmla="*/ 2147483647 h 283"/>
              <a:gd name="T28" fmla="*/ 2147483647 w 371"/>
              <a:gd name="T29" fmla="*/ 2147483647 h 283"/>
              <a:gd name="T30" fmla="*/ 0 w 371"/>
              <a:gd name="T31" fmla="*/ 2147483647 h 283"/>
              <a:gd name="T32" fmla="*/ 0 w 371"/>
              <a:gd name="T33" fmla="*/ 2147483647 h 283"/>
              <a:gd name="T34" fmla="*/ 2147483647 w 371"/>
              <a:gd name="T35" fmla="*/ 2147483647 h 283"/>
              <a:gd name="T36" fmla="*/ 2147483647 w 371"/>
              <a:gd name="T37" fmla="*/ 2147483647 h 283"/>
              <a:gd name="T38" fmla="*/ 2147483647 w 371"/>
              <a:gd name="T39" fmla="*/ 2147483647 h 283"/>
              <a:gd name="T40" fmla="*/ 2147483647 w 371"/>
              <a:gd name="T41" fmla="*/ 2147483647 h 283"/>
              <a:gd name="T42" fmla="*/ 2147483647 w 371"/>
              <a:gd name="T43" fmla="*/ 2147483647 h 283"/>
              <a:gd name="T44" fmla="*/ 2147483647 w 371"/>
              <a:gd name="T45" fmla="*/ 2147483647 h 283"/>
              <a:gd name="T46" fmla="*/ 2147483647 w 371"/>
              <a:gd name="T47" fmla="*/ 2147483647 h 283"/>
              <a:gd name="T48" fmla="*/ 2147483647 w 371"/>
              <a:gd name="T49" fmla="*/ 2147483647 h 283"/>
              <a:gd name="T50" fmla="*/ 2147483647 w 371"/>
              <a:gd name="T51" fmla="*/ 0 h 283"/>
              <a:gd name="T52" fmla="*/ 2147483647 w 371"/>
              <a:gd name="T53" fmla="*/ 2147483647 h 283"/>
              <a:gd name="T54" fmla="*/ 2147483647 w 371"/>
              <a:gd name="T55" fmla="*/ 2147483647 h 283"/>
              <a:gd name="T56" fmla="*/ 2147483647 w 371"/>
              <a:gd name="T57" fmla="*/ 2147483647 h 283"/>
              <a:gd name="T58" fmla="*/ 2147483647 w 371"/>
              <a:gd name="T59" fmla="*/ 2147483647 h 283"/>
              <a:gd name="T60" fmla="*/ 2147483647 w 371"/>
              <a:gd name="T61" fmla="*/ 2147483647 h 283"/>
              <a:gd name="T62" fmla="*/ 2147483647 w 371"/>
              <a:gd name="T63" fmla="*/ 2147483647 h 283"/>
              <a:gd name="T64" fmla="*/ 2147483647 w 371"/>
              <a:gd name="T65" fmla="*/ 2147483647 h 283"/>
              <a:gd name="T66" fmla="*/ 2147483647 w 371"/>
              <a:gd name="T67" fmla="*/ 2147483647 h 283"/>
              <a:gd name="T68" fmla="*/ 2147483647 w 371"/>
              <a:gd name="T69" fmla="*/ 2147483647 h 283"/>
              <a:gd name="T70" fmla="*/ 2147483647 w 371"/>
              <a:gd name="T71" fmla="*/ 2147483647 h 283"/>
              <a:gd name="T72" fmla="*/ 2147483647 w 371"/>
              <a:gd name="T73" fmla="*/ 2147483647 h 283"/>
              <a:gd name="T74" fmla="*/ 2147483647 w 371"/>
              <a:gd name="T75" fmla="*/ 2147483647 h 283"/>
              <a:gd name="T76" fmla="*/ 2147483647 w 371"/>
              <a:gd name="T77" fmla="*/ 2147483647 h 283"/>
              <a:gd name="T78" fmla="*/ 2147483647 w 371"/>
              <a:gd name="T79" fmla="*/ 2147483647 h 283"/>
              <a:gd name="T80" fmla="*/ 2147483647 w 371"/>
              <a:gd name="T81" fmla="*/ 2147483647 h 283"/>
              <a:gd name="T82" fmla="*/ 2147483647 w 371"/>
              <a:gd name="T83" fmla="*/ 2147483647 h 283"/>
              <a:gd name="T84" fmla="*/ 2147483647 w 371"/>
              <a:gd name="T85" fmla="*/ 2147483647 h 283"/>
              <a:gd name="T86" fmla="*/ 2147483647 w 371"/>
              <a:gd name="T87" fmla="*/ 2147483647 h 283"/>
              <a:gd name="T88" fmla="*/ 2147483647 w 371"/>
              <a:gd name="T89" fmla="*/ 2147483647 h 283"/>
              <a:gd name="T90" fmla="*/ 2147483647 w 371"/>
              <a:gd name="T91" fmla="*/ 2147483647 h 283"/>
              <a:gd name="T92" fmla="*/ 2147483647 w 371"/>
              <a:gd name="T93" fmla="*/ 2147483647 h 283"/>
              <a:gd name="T94" fmla="*/ 2147483647 w 371"/>
              <a:gd name="T95" fmla="*/ 2147483647 h 283"/>
              <a:gd name="T96" fmla="*/ 2147483647 w 371"/>
              <a:gd name="T97" fmla="*/ 2147483647 h 283"/>
              <a:gd name="T98" fmla="*/ 2147483647 w 371"/>
              <a:gd name="T99" fmla="*/ 2147483647 h 283"/>
              <a:gd name="T100" fmla="*/ 2147483647 w 371"/>
              <a:gd name="T101" fmla="*/ 2147483647 h 283"/>
              <a:gd name="T102" fmla="*/ 2147483647 w 371"/>
              <a:gd name="T103" fmla="*/ 2147483647 h 283"/>
              <a:gd name="T104" fmla="*/ 2147483647 w 371"/>
              <a:gd name="T105" fmla="*/ 2147483647 h 283"/>
              <a:gd name="T106" fmla="*/ 2147483647 w 371"/>
              <a:gd name="T107" fmla="*/ 2147483647 h 283"/>
              <a:gd name="T108" fmla="*/ 2147483647 w 371"/>
              <a:gd name="T109" fmla="*/ 2147483647 h 28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71"/>
              <a:gd name="T166" fmla="*/ 0 h 283"/>
              <a:gd name="T167" fmla="*/ 371 w 371"/>
              <a:gd name="T168" fmla="*/ 283 h 28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71" h="283">
                <a:moveTo>
                  <a:pt x="140" y="188"/>
                </a:moveTo>
                <a:lnTo>
                  <a:pt x="138" y="188"/>
                </a:lnTo>
                <a:lnTo>
                  <a:pt x="136" y="188"/>
                </a:lnTo>
                <a:lnTo>
                  <a:pt x="136" y="186"/>
                </a:lnTo>
                <a:lnTo>
                  <a:pt x="134" y="186"/>
                </a:lnTo>
                <a:lnTo>
                  <a:pt x="134" y="184"/>
                </a:lnTo>
                <a:lnTo>
                  <a:pt x="132" y="182"/>
                </a:lnTo>
                <a:lnTo>
                  <a:pt x="134" y="179"/>
                </a:lnTo>
                <a:lnTo>
                  <a:pt x="132" y="179"/>
                </a:lnTo>
                <a:lnTo>
                  <a:pt x="132" y="182"/>
                </a:lnTo>
                <a:lnTo>
                  <a:pt x="130" y="179"/>
                </a:lnTo>
                <a:lnTo>
                  <a:pt x="125" y="179"/>
                </a:lnTo>
                <a:lnTo>
                  <a:pt x="125" y="177"/>
                </a:lnTo>
                <a:lnTo>
                  <a:pt x="123" y="177"/>
                </a:lnTo>
                <a:lnTo>
                  <a:pt x="123" y="173"/>
                </a:lnTo>
                <a:lnTo>
                  <a:pt x="125" y="173"/>
                </a:lnTo>
                <a:lnTo>
                  <a:pt x="123" y="171"/>
                </a:lnTo>
                <a:lnTo>
                  <a:pt x="125" y="171"/>
                </a:lnTo>
                <a:lnTo>
                  <a:pt x="123" y="169"/>
                </a:lnTo>
                <a:lnTo>
                  <a:pt x="123" y="166"/>
                </a:lnTo>
                <a:lnTo>
                  <a:pt x="119" y="164"/>
                </a:lnTo>
                <a:lnTo>
                  <a:pt x="119" y="162"/>
                </a:lnTo>
                <a:lnTo>
                  <a:pt x="117" y="162"/>
                </a:lnTo>
                <a:lnTo>
                  <a:pt x="115" y="158"/>
                </a:lnTo>
                <a:lnTo>
                  <a:pt x="110" y="158"/>
                </a:lnTo>
                <a:lnTo>
                  <a:pt x="106" y="156"/>
                </a:lnTo>
                <a:lnTo>
                  <a:pt x="104" y="156"/>
                </a:lnTo>
                <a:lnTo>
                  <a:pt x="102" y="153"/>
                </a:lnTo>
                <a:lnTo>
                  <a:pt x="99" y="149"/>
                </a:lnTo>
                <a:lnTo>
                  <a:pt x="97" y="149"/>
                </a:lnTo>
                <a:lnTo>
                  <a:pt x="93" y="145"/>
                </a:lnTo>
                <a:lnTo>
                  <a:pt x="91" y="141"/>
                </a:lnTo>
                <a:lnTo>
                  <a:pt x="89" y="138"/>
                </a:lnTo>
                <a:lnTo>
                  <a:pt x="86" y="136"/>
                </a:lnTo>
                <a:lnTo>
                  <a:pt x="84" y="136"/>
                </a:lnTo>
                <a:lnTo>
                  <a:pt x="82" y="136"/>
                </a:lnTo>
                <a:lnTo>
                  <a:pt x="76" y="134"/>
                </a:lnTo>
                <a:lnTo>
                  <a:pt x="71" y="130"/>
                </a:lnTo>
                <a:lnTo>
                  <a:pt x="67" y="130"/>
                </a:lnTo>
                <a:lnTo>
                  <a:pt x="67" y="125"/>
                </a:lnTo>
                <a:lnTo>
                  <a:pt x="65" y="123"/>
                </a:lnTo>
                <a:lnTo>
                  <a:pt x="65" y="121"/>
                </a:lnTo>
                <a:lnTo>
                  <a:pt x="58" y="115"/>
                </a:lnTo>
                <a:lnTo>
                  <a:pt x="52" y="108"/>
                </a:lnTo>
                <a:lnTo>
                  <a:pt x="52" y="106"/>
                </a:lnTo>
                <a:lnTo>
                  <a:pt x="50" y="104"/>
                </a:lnTo>
                <a:lnTo>
                  <a:pt x="50" y="100"/>
                </a:lnTo>
                <a:lnTo>
                  <a:pt x="48" y="100"/>
                </a:lnTo>
                <a:lnTo>
                  <a:pt x="43" y="95"/>
                </a:lnTo>
                <a:lnTo>
                  <a:pt x="41" y="91"/>
                </a:lnTo>
                <a:lnTo>
                  <a:pt x="41" y="89"/>
                </a:lnTo>
                <a:lnTo>
                  <a:pt x="39" y="84"/>
                </a:lnTo>
                <a:lnTo>
                  <a:pt x="37" y="84"/>
                </a:lnTo>
                <a:lnTo>
                  <a:pt x="28" y="84"/>
                </a:lnTo>
                <a:lnTo>
                  <a:pt x="26" y="84"/>
                </a:lnTo>
                <a:lnTo>
                  <a:pt x="24" y="84"/>
                </a:lnTo>
                <a:lnTo>
                  <a:pt x="22" y="82"/>
                </a:lnTo>
                <a:lnTo>
                  <a:pt x="20" y="80"/>
                </a:lnTo>
                <a:lnTo>
                  <a:pt x="17" y="76"/>
                </a:lnTo>
                <a:lnTo>
                  <a:pt x="15" y="76"/>
                </a:lnTo>
                <a:lnTo>
                  <a:pt x="15" y="74"/>
                </a:lnTo>
                <a:lnTo>
                  <a:pt x="9" y="74"/>
                </a:lnTo>
                <a:lnTo>
                  <a:pt x="4" y="71"/>
                </a:lnTo>
                <a:lnTo>
                  <a:pt x="0" y="69"/>
                </a:lnTo>
                <a:lnTo>
                  <a:pt x="0" y="67"/>
                </a:lnTo>
                <a:lnTo>
                  <a:pt x="0" y="65"/>
                </a:lnTo>
                <a:lnTo>
                  <a:pt x="0" y="63"/>
                </a:lnTo>
                <a:lnTo>
                  <a:pt x="0" y="58"/>
                </a:lnTo>
                <a:lnTo>
                  <a:pt x="2" y="56"/>
                </a:lnTo>
                <a:lnTo>
                  <a:pt x="4" y="56"/>
                </a:lnTo>
                <a:lnTo>
                  <a:pt x="4" y="54"/>
                </a:lnTo>
                <a:lnTo>
                  <a:pt x="4" y="52"/>
                </a:lnTo>
                <a:lnTo>
                  <a:pt x="4" y="50"/>
                </a:lnTo>
                <a:lnTo>
                  <a:pt x="7" y="50"/>
                </a:lnTo>
                <a:lnTo>
                  <a:pt x="9" y="48"/>
                </a:lnTo>
                <a:lnTo>
                  <a:pt x="11" y="43"/>
                </a:lnTo>
                <a:lnTo>
                  <a:pt x="11" y="41"/>
                </a:lnTo>
                <a:lnTo>
                  <a:pt x="15" y="43"/>
                </a:lnTo>
                <a:lnTo>
                  <a:pt x="11" y="41"/>
                </a:lnTo>
                <a:lnTo>
                  <a:pt x="15" y="41"/>
                </a:lnTo>
                <a:lnTo>
                  <a:pt x="15" y="39"/>
                </a:lnTo>
                <a:lnTo>
                  <a:pt x="15" y="37"/>
                </a:lnTo>
                <a:lnTo>
                  <a:pt x="22" y="35"/>
                </a:lnTo>
                <a:lnTo>
                  <a:pt x="28" y="30"/>
                </a:lnTo>
                <a:lnTo>
                  <a:pt x="37" y="26"/>
                </a:lnTo>
                <a:lnTo>
                  <a:pt x="43" y="24"/>
                </a:lnTo>
                <a:lnTo>
                  <a:pt x="43" y="22"/>
                </a:lnTo>
                <a:lnTo>
                  <a:pt x="48" y="22"/>
                </a:lnTo>
                <a:lnTo>
                  <a:pt x="52" y="17"/>
                </a:lnTo>
                <a:lnTo>
                  <a:pt x="56" y="17"/>
                </a:lnTo>
                <a:lnTo>
                  <a:pt x="58" y="15"/>
                </a:lnTo>
                <a:lnTo>
                  <a:pt x="61" y="15"/>
                </a:lnTo>
                <a:lnTo>
                  <a:pt x="65" y="9"/>
                </a:lnTo>
                <a:lnTo>
                  <a:pt x="67" y="13"/>
                </a:lnTo>
                <a:lnTo>
                  <a:pt x="69" y="13"/>
                </a:lnTo>
                <a:lnTo>
                  <a:pt x="71" y="13"/>
                </a:lnTo>
                <a:lnTo>
                  <a:pt x="73" y="9"/>
                </a:lnTo>
                <a:lnTo>
                  <a:pt x="78" y="9"/>
                </a:lnTo>
                <a:lnTo>
                  <a:pt x="97" y="7"/>
                </a:lnTo>
                <a:lnTo>
                  <a:pt x="104" y="7"/>
                </a:lnTo>
                <a:lnTo>
                  <a:pt x="110" y="5"/>
                </a:lnTo>
                <a:lnTo>
                  <a:pt x="143" y="2"/>
                </a:lnTo>
                <a:lnTo>
                  <a:pt x="147" y="2"/>
                </a:lnTo>
                <a:lnTo>
                  <a:pt x="166" y="0"/>
                </a:lnTo>
                <a:lnTo>
                  <a:pt x="166" y="2"/>
                </a:lnTo>
                <a:lnTo>
                  <a:pt x="168" y="5"/>
                </a:lnTo>
                <a:lnTo>
                  <a:pt x="166" y="9"/>
                </a:lnTo>
                <a:lnTo>
                  <a:pt x="168" y="9"/>
                </a:lnTo>
                <a:lnTo>
                  <a:pt x="175" y="5"/>
                </a:lnTo>
                <a:lnTo>
                  <a:pt x="179" y="7"/>
                </a:lnTo>
                <a:lnTo>
                  <a:pt x="184" y="13"/>
                </a:lnTo>
                <a:lnTo>
                  <a:pt x="188" y="17"/>
                </a:lnTo>
                <a:lnTo>
                  <a:pt x="190" y="30"/>
                </a:lnTo>
                <a:lnTo>
                  <a:pt x="207" y="24"/>
                </a:lnTo>
                <a:lnTo>
                  <a:pt x="225" y="22"/>
                </a:lnTo>
                <a:lnTo>
                  <a:pt x="255" y="17"/>
                </a:lnTo>
                <a:lnTo>
                  <a:pt x="274" y="15"/>
                </a:lnTo>
                <a:lnTo>
                  <a:pt x="296" y="26"/>
                </a:lnTo>
                <a:lnTo>
                  <a:pt x="296" y="30"/>
                </a:lnTo>
                <a:lnTo>
                  <a:pt x="328" y="52"/>
                </a:lnTo>
                <a:lnTo>
                  <a:pt x="367" y="80"/>
                </a:lnTo>
                <a:lnTo>
                  <a:pt x="371" y="84"/>
                </a:lnTo>
                <a:lnTo>
                  <a:pt x="369" y="87"/>
                </a:lnTo>
                <a:lnTo>
                  <a:pt x="371" y="87"/>
                </a:lnTo>
                <a:lnTo>
                  <a:pt x="354" y="104"/>
                </a:lnTo>
                <a:lnTo>
                  <a:pt x="348" y="119"/>
                </a:lnTo>
                <a:lnTo>
                  <a:pt x="339" y="134"/>
                </a:lnTo>
                <a:lnTo>
                  <a:pt x="339" y="145"/>
                </a:lnTo>
                <a:lnTo>
                  <a:pt x="337" y="141"/>
                </a:lnTo>
                <a:lnTo>
                  <a:pt x="330" y="149"/>
                </a:lnTo>
                <a:lnTo>
                  <a:pt x="337" y="158"/>
                </a:lnTo>
                <a:lnTo>
                  <a:pt x="335" y="162"/>
                </a:lnTo>
                <a:lnTo>
                  <a:pt x="328" y="162"/>
                </a:lnTo>
                <a:lnTo>
                  <a:pt x="330" y="164"/>
                </a:lnTo>
                <a:lnTo>
                  <a:pt x="333" y="166"/>
                </a:lnTo>
                <a:lnTo>
                  <a:pt x="326" y="177"/>
                </a:lnTo>
                <a:lnTo>
                  <a:pt x="311" y="179"/>
                </a:lnTo>
                <a:lnTo>
                  <a:pt x="307" y="182"/>
                </a:lnTo>
                <a:lnTo>
                  <a:pt x="313" y="186"/>
                </a:lnTo>
                <a:lnTo>
                  <a:pt x="311" y="188"/>
                </a:lnTo>
                <a:lnTo>
                  <a:pt x="300" y="201"/>
                </a:lnTo>
                <a:lnTo>
                  <a:pt x="289" y="203"/>
                </a:lnTo>
                <a:lnTo>
                  <a:pt x="296" y="188"/>
                </a:lnTo>
                <a:lnTo>
                  <a:pt x="287" y="197"/>
                </a:lnTo>
                <a:lnTo>
                  <a:pt x="285" y="194"/>
                </a:lnTo>
                <a:lnTo>
                  <a:pt x="283" y="194"/>
                </a:lnTo>
                <a:lnTo>
                  <a:pt x="285" y="201"/>
                </a:lnTo>
                <a:lnTo>
                  <a:pt x="294" y="210"/>
                </a:lnTo>
                <a:lnTo>
                  <a:pt x="294" y="214"/>
                </a:lnTo>
                <a:lnTo>
                  <a:pt x="285" y="220"/>
                </a:lnTo>
                <a:lnTo>
                  <a:pt x="270" y="229"/>
                </a:lnTo>
                <a:lnTo>
                  <a:pt x="266" y="236"/>
                </a:lnTo>
                <a:lnTo>
                  <a:pt x="261" y="236"/>
                </a:lnTo>
                <a:lnTo>
                  <a:pt x="253" y="223"/>
                </a:lnTo>
                <a:lnTo>
                  <a:pt x="253" y="220"/>
                </a:lnTo>
                <a:lnTo>
                  <a:pt x="255" y="236"/>
                </a:lnTo>
                <a:lnTo>
                  <a:pt x="251" y="236"/>
                </a:lnTo>
                <a:lnTo>
                  <a:pt x="244" y="233"/>
                </a:lnTo>
                <a:lnTo>
                  <a:pt x="246" y="238"/>
                </a:lnTo>
                <a:lnTo>
                  <a:pt x="235" y="238"/>
                </a:lnTo>
                <a:lnTo>
                  <a:pt x="238" y="240"/>
                </a:lnTo>
                <a:lnTo>
                  <a:pt x="251" y="244"/>
                </a:lnTo>
                <a:lnTo>
                  <a:pt x="255" y="248"/>
                </a:lnTo>
                <a:lnTo>
                  <a:pt x="253" y="253"/>
                </a:lnTo>
                <a:lnTo>
                  <a:pt x="244" y="261"/>
                </a:lnTo>
                <a:lnTo>
                  <a:pt x="238" y="261"/>
                </a:lnTo>
                <a:lnTo>
                  <a:pt x="231" y="253"/>
                </a:lnTo>
                <a:lnTo>
                  <a:pt x="225" y="244"/>
                </a:lnTo>
                <a:lnTo>
                  <a:pt x="225" y="240"/>
                </a:lnTo>
                <a:lnTo>
                  <a:pt x="222" y="240"/>
                </a:lnTo>
                <a:lnTo>
                  <a:pt x="218" y="240"/>
                </a:lnTo>
                <a:lnTo>
                  <a:pt x="225" y="251"/>
                </a:lnTo>
                <a:lnTo>
                  <a:pt x="231" y="266"/>
                </a:lnTo>
                <a:lnTo>
                  <a:pt x="222" y="283"/>
                </a:lnTo>
                <a:lnTo>
                  <a:pt x="205" y="283"/>
                </a:lnTo>
                <a:lnTo>
                  <a:pt x="205" y="281"/>
                </a:lnTo>
                <a:lnTo>
                  <a:pt x="205" y="272"/>
                </a:lnTo>
                <a:lnTo>
                  <a:pt x="201" y="270"/>
                </a:lnTo>
                <a:lnTo>
                  <a:pt x="201" y="268"/>
                </a:lnTo>
                <a:lnTo>
                  <a:pt x="203" y="266"/>
                </a:lnTo>
                <a:lnTo>
                  <a:pt x="201" y="261"/>
                </a:lnTo>
                <a:lnTo>
                  <a:pt x="199" y="261"/>
                </a:lnTo>
                <a:lnTo>
                  <a:pt x="199" y="259"/>
                </a:lnTo>
                <a:lnTo>
                  <a:pt x="199" y="255"/>
                </a:lnTo>
                <a:lnTo>
                  <a:pt x="197" y="253"/>
                </a:lnTo>
                <a:lnTo>
                  <a:pt x="197" y="251"/>
                </a:lnTo>
                <a:lnTo>
                  <a:pt x="190" y="246"/>
                </a:lnTo>
                <a:lnTo>
                  <a:pt x="188" y="244"/>
                </a:lnTo>
                <a:lnTo>
                  <a:pt x="186" y="240"/>
                </a:lnTo>
                <a:lnTo>
                  <a:pt x="181" y="240"/>
                </a:lnTo>
                <a:lnTo>
                  <a:pt x="179" y="240"/>
                </a:lnTo>
                <a:lnTo>
                  <a:pt x="175" y="238"/>
                </a:lnTo>
                <a:lnTo>
                  <a:pt x="175" y="236"/>
                </a:lnTo>
                <a:lnTo>
                  <a:pt x="175" y="231"/>
                </a:lnTo>
                <a:lnTo>
                  <a:pt x="173" y="231"/>
                </a:lnTo>
                <a:lnTo>
                  <a:pt x="173" y="227"/>
                </a:lnTo>
                <a:lnTo>
                  <a:pt x="171" y="223"/>
                </a:lnTo>
                <a:lnTo>
                  <a:pt x="171" y="220"/>
                </a:lnTo>
                <a:lnTo>
                  <a:pt x="171" y="218"/>
                </a:lnTo>
                <a:lnTo>
                  <a:pt x="168" y="218"/>
                </a:lnTo>
                <a:lnTo>
                  <a:pt x="168" y="216"/>
                </a:lnTo>
                <a:lnTo>
                  <a:pt x="166" y="216"/>
                </a:lnTo>
                <a:lnTo>
                  <a:pt x="168" y="214"/>
                </a:lnTo>
                <a:lnTo>
                  <a:pt x="166" y="214"/>
                </a:lnTo>
                <a:lnTo>
                  <a:pt x="164" y="210"/>
                </a:lnTo>
                <a:lnTo>
                  <a:pt x="164" y="203"/>
                </a:lnTo>
                <a:lnTo>
                  <a:pt x="162" y="201"/>
                </a:lnTo>
                <a:lnTo>
                  <a:pt x="158" y="201"/>
                </a:lnTo>
                <a:lnTo>
                  <a:pt x="158" y="199"/>
                </a:lnTo>
                <a:lnTo>
                  <a:pt x="156" y="199"/>
                </a:lnTo>
                <a:lnTo>
                  <a:pt x="153" y="199"/>
                </a:lnTo>
                <a:lnTo>
                  <a:pt x="147" y="197"/>
                </a:lnTo>
                <a:lnTo>
                  <a:pt x="143" y="194"/>
                </a:lnTo>
                <a:lnTo>
                  <a:pt x="140" y="190"/>
                </a:lnTo>
                <a:lnTo>
                  <a:pt x="140" y="188"/>
                </a:lnTo>
                <a:close/>
                <a:moveTo>
                  <a:pt x="231" y="264"/>
                </a:moveTo>
                <a:lnTo>
                  <a:pt x="235" y="261"/>
                </a:lnTo>
                <a:lnTo>
                  <a:pt x="240" y="266"/>
                </a:lnTo>
                <a:lnTo>
                  <a:pt x="229" y="279"/>
                </a:lnTo>
                <a:lnTo>
                  <a:pt x="231" y="264"/>
                </a:lnTo>
                <a:close/>
              </a:path>
            </a:pathLst>
          </a:custGeom>
          <a:noFill/>
          <a:ln w="9525">
            <a:noFill/>
            <a:round/>
            <a:headEnd/>
            <a:tailEnd/>
          </a:ln>
        </p:spPr>
        <p:txBody>
          <a:bodyPr/>
          <a:lstStyle/>
          <a:p>
            <a:endParaRPr lang="en-US" dirty="0">
              <a:solidFill>
                <a:prstClr val="black"/>
              </a:solidFill>
            </a:endParaRPr>
          </a:p>
        </p:txBody>
      </p:sp>
      <p:sp>
        <p:nvSpPr>
          <p:cNvPr id="278" name="Freeform 111">
            <a:extLst>
              <a:ext uri="{FF2B5EF4-FFF2-40B4-BE49-F238E27FC236}">
                <a16:creationId xmlns:a16="http://schemas.microsoft.com/office/drawing/2014/main" id="{3809F9D8-0BF2-4CB7-B84D-F0B55450F6D3}"/>
              </a:ext>
            </a:extLst>
          </p:cNvPr>
          <p:cNvSpPr>
            <a:spLocks/>
          </p:cNvSpPr>
          <p:nvPr>
            <p:custDataLst>
              <p:tags r:id="rId102"/>
            </p:custDataLst>
          </p:nvPr>
        </p:nvSpPr>
        <p:spPr bwMode="auto">
          <a:xfrm>
            <a:off x="8060406" y="4448939"/>
            <a:ext cx="751857" cy="611763"/>
          </a:xfrm>
          <a:custGeom>
            <a:avLst/>
            <a:gdLst>
              <a:gd name="T0" fmla="*/ 2147483647 w 371"/>
              <a:gd name="T1" fmla="*/ 2147483647 h 283"/>
              <a:gd name="T2" fmla="*/ 2147483647 w 371"/>
              <a:gd name="T3" fmla="*/ 2147483647 h 283"/>
              <a:gd name="T4" fmla="*/ 2147483647 w 371"/>
              <a:gd name="T5" fmla="*/ 2147483647 h 283"/>
              <a:gd name="T6" fmla="*/ 2147483647 w 371"/>
              <a:gd name="T7" fmla="*/ 2147483647 h 283"/>
              <a:gd name="T8" fmla="*/ 2147483647 w 371"/>
              <a:gd name="T9" fmla="*/ 2147483647 h 283"/>
              <a:gd name="T10" fmla="*/ 2147483647 w 371"/>
              <a:gd name="T11" fmla="*/ 2147483647 h 283"/>
              <a:gd name="T12" fmla="*/ 2147483647 w 371"/>
              <a:gd name="T13" fmla="*/ 2147483647 h 283"/>
              <a:gd name="T14" fmla="*/ 2147483647 w 371"/>
              <a:gd name="T15" fmla="*/ 2147483647 h 283"/>
              <a:gd name="T16" fmla="*/ 2147483647 w 371"/>
              <a:gd name="T17" fmla="*/ 2147483647 h 283"/>
              <a:gd name="T18" fmla="*/ 2147483647 w 371"/>
              <a:gd name="T19" fmla="*/ 2147483647 h 283"/>
              <a:gd name="T20" fmla="*/ 2147483647 w 371"/>
              <a:gd name="T21" fmla="*/ 2147483647 h 283"/>
              <a:gd name="T22" fmla="*/ 2147483647 w 371"/>
              <a:gd name="T23" fmla="*/ 2147483647 h 283"/>
              <a:gd name="T24" fmla="*/ 2147483647 w 371"/>
              <a:gd name="T25" fmla="*/ 2147483647 h 283"/>
              <a:gd name="T26" fmla="*/ 2147483647 w 371"/>
              <a:gd name="T27" fmla="*/ 2147483647 h 283"/>
              <a:gd name="T28" fmla="*/ 2147483647 w 371"/>
              <a:gd name="T29" fmla="*/ 2147483647 h 283"/>
              <a:gd name="T30" fmla="*/ 0 w 371"/>
              <a:gd name="T31" fmla="*/ 2147483647 h 283"/>
              <a:gd name="T32" fmla="*/ 0 w 371"/>
              <a:gd name="T33" fmla="*/ 2147483647 h 283"/>
              <a:gd name="T34" fmla="*/ 2147483647 w 371"/>
              <a:gd name="T35" fmla="*/ 2147483647 h 283"/>
              <a:gd name="T36" fmla="*/ 2147483647 w 371"/>
              <a:gd name="T37" fmla="*/ 2147483647 h 283"/>
              <a:gd name="T38" fmla="*/ 2147483647 w 371"/>
              <a:gd name="T39" fmla="*/ 2147483647 h 283"/>
              <a:gd name="T40" fmla="*/ 2147483647 w 371"/>
              <a:gd name="T41" fmla="*/ 2147483647 h 283"/>
              <a:gd name="T42" fmla="*/ 2147483647 w 371"/>
              <a:gd name="T43" fmla="*/ 2147483647 h 283"/>
              <a:gd name="T44" fmla="*/ 2147483647 w 371"/>
              <a:gd name="T45" fmla="*/ 2147483647 h 283"/>
              <a:gd name="T46" fmla="*/ 2147483647 w 371"/>
              <a:gd name="T47" fmla="*/ 2147483647 h 283"/>
              <a:gd name="T48" fmla="*/ 2147483647 w 371"/>
              <a:gd name="T49" fmla="*/ 2147483647 h 283"/>
              <a:gd name="T50" fmla="*/ 2147483647 w 371"/>
              <a:gd name="T51" fmla="*/ 0 h 283"/>
              <a:gd name="T52" fmla="*/ 2147483647 w 371"/>
              <a:gd name="T53" fmla="*/ 2147483647 h 283"/>
              <a:gd name="T54" fmla="*/ 2147483647 w 371"/>
              <a:gd name="T55" fmla="*/ 2147483647 h 283"/>
              <a:gd name="T56" fmla="*/ 2147483647 w 371"/>
              <a:gd name="T57" fmla="*/ 2147483647 h 283"/>
              <a:gd name="T58" fmla="*/ 2147483647 w 371"/>
              <a:gd name="T59" fmla="*/ 2147483647 h 283"/>
              <a:gd name="T60" fmla="*/ 2147483647 w 371"/>
              <a:gd name="T61" fmla="*/ 2147483647 h 283"/>
              <a:gd name="T62" fmla="*/ 2147483647 w 371"/>
              <a:gd name="T63" fmla="*/ 2147483647 h 283"/>
              <a:gd name="T64" fmla="*/ 2147483647 w 371"/>
              <a:gd name="T65" fmla="*/ 2147483647 h 283"/>
              <a:gd name="T66" fmla="*/ 2147483647 w 371"/>
              <a:gd name="T67" fmla="*/ 2147483647 h 283"/>
              <a:gd name="T68" fmla="*/ 2147483647 w 371"/>
              <a:gd name="T69" fmla="*/ 2147483647 h 283"/>
              <a:gd name="T70" fmla="*/ 2147483647 w 371"/>
              <a:gd name="T71" fmla="*/ 2147483647 h 283"/>
              <a:gd name="T72" fmla="*/ 2147483647 w 371"/>
              <a:gd name="T73" fmla="*/ 2147483647 h 283"/>
              <a:gd name="T74" fmla="*/ 2147483647 w 371"/>
              <a:gd name="T75" fmla="*/ 2147483647 h 283"/>
              <a:gd name="T76" fmla="*/ 2147483647 w 371"/>
              <a:gd name="T77" fmla="*/ 2147483647 h 283"/>
              <a:gd name="T78" fmla="*/ 2147483647 w 371"/>
              <a:gd name="T79" fmla="*/ 2147483647 h 283"/>
              <a:gd name="T80" fmla="*/ 2147483647 w 371"/>
              <a:gd name="T81" fmla="*/ 2147483647 h 283"/>
              <a:gd name="T82" fmla="*/ 2147483647 w 371"/>
              <a:gd name="T83" fmla="*/ 2147483647 h 283"/>
              <a:gd name="T84" fmla="*/ 2147483647 w 371"/>
              <a:gd name="T85" fmla="*/ 2147483647 h 283"/>
              <a:gd name="T86" fmla="*/ 2147483647 w 371"/>
              <a:gd name="T87" fmla="*/ 2147483647 h 283"/>
              <a:gd name="T88" fmla="*/ 2147483647 w 371"/>
              <a:gd name="T89" fmla="*/ 2147483647 h 283"/>
              <a:gd name="T90" fmla="*/ 2147483647 w 371"/>
              <a:gd name="T91" fmla="*/ 2147483647 h 283"/>
              <a:gd name="T92" fmla="*/ 2147483647 w 371"/>
              <a:gd name="T93" fmla="*/ 2147483647 h 283"/>
              <a:gd name="T94" fmla="*/ 2147483647 w 371"/>
              <a:gd name="T95" fmla="*/ 2147483647 h 283"/>
              <a:gd name="T96" fmla="*/ 2147483647 w 371"/>
              <a:gd name="T97" fmla="*/ 2147483647 h 283"/>
              <a:gd name="T98" fmla="*/ 2147483647 w 371"/>
              <a:gd name="T99" fmla="*/ 2147483647 h 283"/>
              <a:gd name="T100" fmla="*/ 2147483647 w 371"/>
              <a:gd name="T101" fmla="*/ 2147483647 h 283"/>
              <a:gd name="T102" fmla="*/ 2147483647 w 371"/>
              <a:gd name="T103" fmla="*/ 2147483647 h 283"/>
              <a:gd name="T104" fmla="*/ 2147483647 w 371"/>
              <a:gd name="T105" fmla="*/ 2147483647 h 28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71"/>
              <a:gd name="T160" fmla="*/ 0 h 283"/>
              <a:gd name="T161" fmla="*/ 371 w 371"/>
              <a:gd name="T162" fmla="*/ 283 h 28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71" h="283">
                <a:moveTo>
                  <a:pt x="140" y="188"/>
                </a:moveTo>
                <a:lnTo>
                  <a:pt x="138" y="188"/>
                </a:lnTo>
                <a:lnTo>
                  <a:pt x="136" y="188"/>
                </a:lnTo>
                <a:lnTo>
                  <a:pt x="136" y="186"/>
                </a:lnTo>
                <a:lnTo>
                  <a:pt x="134" y="186"/>
                </a:lnTo>
                <a:lnTo>
                  <a:pt x="134" y="184"/>
                </a:lnTo>
                <a:lnTo>
                  <a:pt x="132" y="182"/>
                </a:lnTo>
                <a:lnTo>
                  <a:pt x="134" y="179"/>
                </a:lnTo>
                <a:lnTo>
                  <a:pt x="132" y="179"/>
                </a:lnTo>
                <a:lnTo>
                  <a:pt x="132" y="182"/>
                </a:lnTo>
                <a:lnTo>
                  <a:pt x="130" y="179"/>
                </a:lnTo>
                <a:lnTo>
                  <a:pt x="125" y="179"/>
                </a:lnTo>
                <a:lnTo>
                  <a:pt x="125" y="177"/>
                </a:lnTo>
                <a:lnTo>
                  <a:pt x="123" y="177"/>
                </a:lnTo>
                <a:lnTo>
                  <a:pt x="123" y="173"/>
                </a:lnTo>
                <a:lnTo>
                  <a:pt x="125" y="173"/>
                </a:lnTo>
                <a:lnTo>
                  <a:pt x="123" y="171"/>
                </a:lnTo>
                <a:lnTo>
                  <a:pt x="125" y="171"/>
                </a:lnTo>
                <a:lnTo>
                  <a:pt x="123" y="169"/>
                </a:lnTo>
                <a:lnTo>
                  <a:pt x="123" y="166"/>
                </a:lnTo>
                <a:lnTo>
                  <a:pt x="119" y="164"/>
                </a:lnTo>
                <a:lnTo>
                  <a:pt x="119" y="162"/>
                </a:lnTo>
                <a:lnTo>
                  <a:pt x="117" y="162"/>
                </a:lnTo>
                <a:lnTo>
                  <a:pt x="115" y="158"/>
                </a:lnTo>
                <a:lnTo>
                  <a:pt x="110" y="158"/>
                </a:lnTo>
                <a:lnTo>
                  <a:pt x="106" y="156"/>
                </a:lnTo>
                <a:lnTo>
                  <a:pt x="104" y="156"/>
                </a:lnTo>
                <a:lnTo>
                  <a:pt x="102" y="153"/>
                </a:lnTo>
                <a:lnTo>
                  <a:pt x="99" y="149"/>
                </a:lnTo>
                <a:lnTo>
                  <a:pt x="97" y="149"/>
                </a:lnTo>
                <a:lnTo>
                  <a:pt x="93" y="145"/>
                </a:lnTo>
                <a:lnTo>
                  <a:pt x="91" y="141"/>
                </a:lnTo>
                <a:lnTo>
                  <a:pt x="89" y="138"/>
                </a:lnTo>
                <a:lnTo>
                  <a:pt x="86" y="136"/>
                </a:lnTo>
                <a:lnTo>
                  <a:pt x="84" y="136"/>
                </a:lnTo>
                <a:lnTo>
                  <a:pt x="82" y="136"/>
                </a:lnTo>
                <a:lnTo>
                  <a:pt x="76" y="134"/>
                </a:lnTo>
                <a:lnTo>
                  <a:pt x="71" y="130"/>
                </a:lnTo>
                <a:lnTo>
                  <a:pt x="67" y="130"/>
                </a:lnTo>
                <a:lnTo>
                  <a:pt x="67" y="125"/>
                </a:lnTo>
                <a:lnTo>
                  <a:pt x="65" y="123"/>
                </a:lnTo>
                <a:lnTo>
                  <a:pt x="65" y="121"/>
                </a:lnTo>
                <a:lnTo>
                  <a:pt x="58" y="115"/>
                </a:lnTo>
                <a:lnTo>
                  <a:pt x="52" y="108"/>
                </a:lnTo>
                <a:lnTo>
                  <a:pt x="52" y="106"/>
                </a:lnTo>
                <a:lnTo>
                  <a:pt x="50" y="104"/>
                </a:lnTo>
                <a:lnTo>
                  <a:pt x="50" y="100"/>
                </a:lnTo>
                <a:lnTo>
                  <a:pt x="48" y="100"/>
                </a:lnTo>
                <a:lnTo>
                  <a:pt x="43" y="95"/>
                </a:lnTo>
                <a:lnTo>
                  <a:pt x="41" y="91"/>
                </a:lnTo>
                <a:lnTo>
                  <a:pt x="41" y="89"/>
                </a:lnTo>
                <a:lnTo>
                  <a:pt x="39" y="84"/>
                </a:lnTo>
                <a:lnTo>
                  <a:pt x="37" y="84"/>
                </a:lnTo>
                <a:lnTo>
                  <a:pt x="28" y="84"/>
                </a:lnTo>
                <a:lnTo>
                  <a:pt x="26" y="84"/>
                </a:lnTo>
                <a:lnTo>
                  <a:pt x="24" y="84"/>
                </a:lnTo>
                <a:lnTo>
                  <a:pt x="22" y="82"/>
                </a:lnTo>
                <a:lnTo>
                  <a:pt x="20" y="80"/>
                </a:lnTo>
                <a:lnTo>
                  <a:pt x="17" y="76"/>
                </a:lnTo>
                <a:lnTo>
                  <a:pt x="15" y="76"/>
                </a:lnTo>
                <a:lnTo>
                  <a:pt x="15" y="74"/>
                </a:lnTo>
                <a:lnTo>
                  <a:pt x="9" y="74"/>
                </a:lnTo>
                <a:lnTo>
                  <a:pt x="4" y="71"/>
                </a:lnTo>
                <a:lnTo>
                  <a:pt x="0" y="69"/>
                </a:lnTo>
                <a:lnTo>
                  <a:pt x="0" y="67"/>
                </a:lnTo>
                <a:lnTo>
                  <a:pt x="0" y="65"/>
                </a:lnTo>
                <a:lnTo>
                  <a:pt x="0" y="63"/>
                </a:lnTo>
                <a:lnTo>
                  <a:pt x="0" y="58"/>
                </a:lnTo>
                <a:lnTo>
                  <a:pt x="2" y="56"/>
                </a:lnTo>
                <a:lnTo>
                  <a:pt x="4" y="56"/>
                </a:lnTo>
                <a:lnTo>
                  <a:pt x="4" y="54"/>
                </a:lnTo>
                <a:lnTo>
                  <a:pt x="4" y="52"/>
                </a:lnTo>
                <a:lnTo>
                  <a:pt x="4" y="50"/>
                </a:lnTo>
                <a:lnTo>
                  <a:pt x="7" y="50"/>
                </a:lnTo>
                <a:lnTo>
                  <a:pt x="9" y="48"/>
                </a:lnTo>
                <a:lnTo>
                  <a:pt x="11" y="43"/>
                </a:lnTo>
                <a:lnTo>
                  <a:pt x="11" y="41"/>
                </a:lnTo>
                <a:lnTo>
                  <a:pt x="15" y="43"/>
                </a:lnTo>
                <a:lnTo>
                  <a:pt x="11" y="41"/>
                </a:lnTo>
                <a:lnTo>
                  <a:pt x="15" y="41"/>
                </a:lnTo>
                <a:lnTo>
                  <a:pt x="15" y="39"/>
                </a:lnTo>
                <a:lnTo>
                  <a:pt x="15" y="37"/>
                </a:lnTo>
                <a:lnTo>
                  <a:pt x="22" y="35"/>
                </a:lnTo>
                <a:lnTo>
                  <a:pt x="28" y="30"/>
                </a:lnTo>
                <a:lnTo>
                  <a:pt x="37" y="26"/>
                </a:lnTo>
                <a:lnTo>
                  <a:pt x="43" y="24"/>
                </a:lnTo>
                <a:lnTo>
                  <a:pt x="43" y="22"/>
                </a:lnTo>
                <a:lnTo>
                  <a:pt x="48" y="22"/>
                </a:lnTo>
                <a:lnTo>
                  <a:pt x="52" y="17"/>
                </a:lnTo>
                <a:lnTo>
                  <a:pt x="56" y="17"/>
                </a:lnTo>
                <a:lnTo>
                  <a:pt x="58" y="15"/>
                </a:lnTo>
                <a:lnTo>
                  <a:pt x="61" y="15"/>
                </a:lnTo>
                <a:lnTo>
                  <a:pt x="65" y="9"/>
                </a:lnTo>
                <a:lnTo>
                  <a:pt x="67" y="13"/>
                </a:lnTo>
                <a:lnTo>
                  <a:pt x="69" y="13"/>
                </a:lnTo>
                <a:lnTo>
                  <a:pt x="71" y="13"/>
                </a:lnTo>
                <a:lnTo>
                  <a:pt x="73" y="9"/>
                </a:lnTo>
                <a:lnTo>
                  <a:pt x="78" y="9"/>
                </a:lnTo>
                <a:lnTo>
                  <a:pt x="97" y="7"/>
                </a:lnTo>
                <a:lnTo>
                  <a:pt x="104" y="7"/>
                </a:lnTo>
                <a:lnTo>
                  <a:pt x="110" y="5"/>
                </a:lnTo>
                <a:lnTo>
                  <a:pt x="143" y="2"/>
                </a:lnTo>
                <a:lnTo>
                  <a:pt x="147" y="2"/>
                </a:lnTo>
                <a:lnTo>
                  <a:pt x="166" y="0"/>
                </a:lnTo>
                <a:lnTo>
                  <a:pt x="166" y="2"/>
                </a:lnTo>
                <a:lnTo>
                  <a:pt x="168" y="5"/>
                </a:lnTo>
                <a:lnTo>
                  <a:pt x="166" y="9"/>
                </a:lnTo>
                <a:lnTo>
                  <a:pt x="168" y="9"/>
                </a:lnTo>
                <a:lnTo>
                  <a:pt x="175" y="5"/>
                </a:lnTo>
                <a:lnTo>
                  <a:pt x="179" y="7"/>
                </a:lnTo>
                <a:lnTo>
                  <a:pt x="184" y="13"/>
                </a:lnTo>
                <a:lnTo>
                  <a:pt x="188" y="17"/>
                </a:lnTo>
                <a:lnTo>
                  <a:pt x="190" y="30"/>
                </a:lnTo>
                <a:lnTo>
                  <a:pt x="207" y="24"/>
                </a:lnTo>
                <a:lnTo>
                  <a:pt x="225" y="22"/>
                </a:lnTo>
                <a:lnTo>
                  <a:pt x="255" y="17"/>
                </a:lnTo>
                <a:lnTo>
                  <a:pt x="274" y="15"/>
                </a:lnTo>
                <a:lnTo>
                  <a:pt x="296" y="26"/>
                </a:lnTo>
                <a:lnTo>
                  <a:pt x="296" y="30"/>
                </a:lnTo>
                <a:lnTo>
                  <a:pt x="328" y="52"/>
                </a:lnTo>
                <a:lnTo>
                  <a:pt x="367" y="80"/>
                </a:lnTo>
                <a:lnTo>
                  <a:pt x="371" y="84"/>
                </a:lnTo>
                <a:lnTo>
                  <a:pt x="369" y="87"/>
                </a:lnTo>
                <a:lnTo>
                  <a:pt x="371" y="87"/>
                </a:lnTo>
                <a:lnTo>
                  <a:pt x="354" y="104"/>
                </a:lnTo>
                <a:lnTo>
                  <a:pt x="348" y="119"/>
                </a:lnTo>
                <a:lnTo>
                  <a:pt x="339" y="134"/>
                </a:lnTo>
                <a:lnTo>
                  <a:pt x="339" y="145"/>
                </a:lnTo>
                <a:lnTo>
                  <a:pt x="337" y="141"/>
                </a:lnTo>
                <a:lnTo>
                  <a:pt x="330" y="149"/>
                </a:lnTo>
                <a:lnTo>
                  <a:pt x="337" y="158"/>
                </a:lnTo>
                <a:lnTo>
                  <a:pt x="335" y="162"/>
                </a:lnTo>
                <a:lnTo>
                  <a:pt x="328" y="162"/>
                </a:lnTo>
                <a:lnTo>
                  <a:pt x="330" y="164"/>
                </a:lnTo>
                <a:lnTo>
                  <a:pt x="333" y="166"/>
                </a:lnTo>
                <a:lnTo>
                  <a:pt x="326" y="177"/>
                </a:lnTo>
                <a:lnTo>
                  <a:pt x="311" y="179"/>
                </a:lnTo>
                <a:lnTo>
                  <a:pt x="307" y="182"/>
                </a:lnTo>
                <a:lnTo>
                  <a:pt x="313" y="186"/>
                </a:lnTo>
                <a:lnTo>
                  <a:pt x="311" y="188"/>
                </a:lnTo>
                <a:lnTo>
                  <a:pt x="300" y="201"/>
                </a:lnTo>
                <a:lnTo>
                  <a:pt x="289" y="203"/>
                </a:lnTo>
                <a:lnTo>
                  <a:pt x="296" y="188"/>
                </a:lnTo>
                <a:lnTo>
                  <a:pt x="287" y="197"/>
                </a:lnTo>
                <a:lnTo>
                  <a:pt x="285" y="194"/>
                </a:lnTo>
                <a:lnTo>
                  <a:pt x="283" y="194"/>
                </a:lnTo>
                <a:lnTo>
                  <a:pt x="285" y="201"/>
                </a:lnTo>
                <a:lnTo>
                  <a:pt x="294" y="210"/>
                </a:lnTo>
                <a:lnTo>
                  <a:pt x="294" y="214"/>
                </a:lnTo>
                <a:lnTo>
                  <a:pt x="285" y="220"/>
                </a:lnTo>
                <a:lnTo>
                  <a:pt x="270" y="229"/>
                </a:lnTo>
                <a:lnTo>
                  <a:pt x="266" y="236"/>
                </a:lnTo>
                <a:lnTo>
                  <a:pt x="261" y="236"/>
                </a:lnTo>
                <a:lnTo>
                  <a:pt x="253" y="223"/>
                </a:lnTo>
                <a:lnTo>
                  <a:pt x="253" y="220"/>
                </a:lnTo>
                <a:lnTo>
                  <a:pt x="255" y="236"/>
                </a:lnTo>
                <a:lnTo>
                  <a:pt x="251" y="236"/>
                </a:lnTo>
                <a:lnTo>
                  <a:pt x="244" y="233"/>
                </a:lnTo>
                <a:lnTo>
                  <a:pt x="246" y="238"/>
                </a:lnTo>
                <a:lnTo>
                  <a:pt x="235" y="238"/>
                </a:lnTo>
                <a:lnTo>
                  <a:pt x="238" y="240"/>
                </a:lnTo>
                <a:lnTo>
                  <a:pt x="251" y="244"/>
                </a:lnTo>
                <a:lnTo>
                  <a:pt x="255" y="248"/>
                </a:lnTo>
                <a:lnTo>
                  <a:pt x="253" y="253"/>
                </a:lnTo>
                <a:lnTo>
                  <a:pt x="244" y="261"/>
                </a:lnTo>
                <a:lnTo>
                  <a:pt x="238" y="261"/>
                </a:lnTo>
                <a:lnTo>
                  <a:pt x="231" y="253"/>
                </a:lnTo>
                <a:lnTo>
                  <a:pt x="225" y="244"/>
                </a:lnTo>
                <a:lnTo>
                  <a:pt x="225" y="240"/>
                </a:lnTo>
                <a:lnTo>
                  <a:pt x="222" y="240"/>
                </a:lnTo>
                <a:lnTo>
                  <a:pt x="218" y="240"/>
                </a:lnTo>
                <a:lnTo>
                  <a:pt x="225" y="251"/>
                </a:lnTo>
                <a:lnTo>
                  <a:pt x="231" y="266"/>
                </a:lnTo>
                <a:lnTo>
                  <a:pt x="222" y="283"/>
                </a:lnTo>
                <a:lnTo>
                  <a:pt x="205" y="283"/>
                </a:lnTo>
                <a:lnTo>
                  <a:pt x="205" y="281"/>
                </a:lnTo>
                <a:lnTo>
                  <a:pt x="205" y="272"/>
                </a:lnTo>
                <a:lnTo>
                  <a:pt x="201" y="270"/>
                </a:lnTo>
                <a:lnTo>
                  <a:pt x="201" y="268"/>
                </a:lnTo>
                <a:lnTo>
                  <a:pt x="203" y="266"/>
                </a:lnTo>
                <a:lnTo>
                  <a:pt x="201" y="261"/>
                </a:lnTo>
                <a:lnTo>
                  <a:pt x="199" y="261"/>
                </a:lnTo>
                <a:lnTo>
                  <a:pt x="199" y="259"/>
                </a:lnTo>
                <a:lnTo>
                  <a:pt x="199" y="255"/>
                </a:lnTo>
                <a:lnTo>
                  <a:pt x="197" y="253"/>
                </a:lnTo>
                <a:lnTo>
                  <a:pt x="197" y="251"/>
                </a:lnTo>
                <a:lnTo>
                  <a:pt x="190" y="246"/>
                </a:lnTo>
                <a:lnTo>
                  <a:pt x="188" y="244"/>
                </a:lnTo>
                <a:lnTo>
                  <a:pt x="186" y="240"/>
                </a:lnTo>
                <a:lnTo>
                  <a:pt x="181" y="240"/>
                </a:lnTo>
                <a:lnTo>
                  <a:pt x="179" y="240"/>
                </a:lnTo>
                <a:lnTo>
                  <a:pt x="175" y="238"/>
                </a:lnTo>
                <a:lnTo>
                  <a:pt x="175" y="236"/>
                </a:lnTo>
                <a:lnTo>
                  <a:pt x="175" y="231"/>
                </a:lnTo>
                <a:lnTo>
                  <a:pt x="173" y="231"/>
                </a:lnTo>
                <a:lnTo>
                  <a:pt x="173" y="227"/>
                </a:lnTo>
                <a:lnTo>
                  <a:pt x="171" y="223"/>
                </a:lnTo>
                <a:lnTo>
                  <a:pt x="171" y="220"/>
                </a:lnTo>
                <a:lnTo>
                  <a:pt x="171" y="218"/>
                </a:lnTo>
                <a:lnTo>
                  <a:pt x="168" y="218"/>
                </a:lnTo>
                <a:lnTo>
                  <a:pt x="168" y="216"/>
                </a:lnTo>
                <a:lnTo>
                  <a:pt x="166" y="216"/>
                </a:lnTo>
                <a:lnTo>
                  <a:pt x="168" y="214"/>
                </a:lnTo>
                <a:lnTo>
                  <a:pt x="166" y="214"/>
                </a:lnTo>
                <a:lnTo>
                  <a:pt x="164" y="210"/>
                </a:lnTo>
                <a:lnTo>
                  <a:pt x="164" y="203"/>
                </a:lnTo>
                <a:lnTo>
                  <a:pt x="162" y="201"/>
                </a:lnTo>
                <a:lnTo>
                  <a:pt x="158" y="201"/>
                </a:lnTo>
                <a:lnTo>
                  <a:pt x="158" y="199"/>
                </a:lnTo>
                <a:lnTo>
                  <a:pt x="156" y="199"/>
                </a:lnTo>
                <a:lnTo>
                  <a:pt x="153" y="199"/>
                </a:lnTo>
                <a:lnTo>
                  <a:pt x="147" y="197"/>
                </a:lnTo>
                <a:lnTo>
                  <a:pt x="143" y="194"/>
                </a:lnTo>
                <a:lnTo>
                  <a:pt x="140" y="190"/>
                </a:lnTo>
                <a:lnTo>
                  <a:pt x="140" y="188"/>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79" name="Freeform 112">
            <a:extLst>
              <a:ext uri="{FF2B5EF4-FFF2-40B4-BE49-F238E27FC236}">
                <a16:creationId xmlns:a16="http://schemas.microsoft.com/office/drawing/2014/main" id="{62B6B92D-FE79-49BA-AF30-950415D6CDDB}"/>
              </a:ext>
            </a:extLst>
          </p:cNvPr>
          <p:cNvSpPr>
            <a:spLocks/>
          </p:cNvSpPr>
          <p:nvPr>
            <p:custDataLst>
              <p:tags r:id="rId103"/>
            </p:custDataLst>
          </p:nvPr>
        </p:nvSpPr>
        <p:spPr bwMode="auto">
          <a:xfrm>
            <a:off x="8525097" y="5013179"/>
            <a:ext cx="21920" cy="38911"/>
          </a:xfrm>
          <a:custGeom>
            <a:avLst/>
            <a:gdLst>
              <a:gd name="T0" fmla="*/ 2147483647 w 11"/>
              <a:gd name="T1" fmla="*/ 2147483647 h 18"/>
              <a:gd name="T2" fmla="*/ 2147483647 w 11"/>
              <a:gd name="T3" fmla="*/ 0 h 18"/>
              <a:gd name="T4" fmla="*/ 2147483647 w 11"/>
              <a:gd name="T5" fmla="*/ 2147483647 h 18"/>
              <a:gd name="T6" fmla="*/ 0 w 11"/>
              <a:gd name="T7" fmla="*/ 2147483647 h 18"/>
              <a:gd name="T8" fmla="*/ 2147483647 w 11"/>
              <a:gd name="T9" fmla="*/ 2147483647 h 18"/>
              <a:gd name="T10" fmla="*/ 0 60000 65536"/>
              <a:gd name="T11" fmla="*/ 0 60000 65536"/>
              <a:gd name="T12" fmla="*/ 0 60000 65536"/>
              <a:gd name="T13" fmla="*/ 0 60000 65536"/>
              <a:gd name="T14" fmla="*/ 0 60000 65536"/>
              <a:gd name="T15" fmla="*/ 0 w 11"/>
              <a:gd name="T16" fmla="*/ 0 h 18"/>
              <a:gd name="T17" fmla="*/ 11 w 11"/>
              <a:gd name="T18" fmla="*/ 18 h 18"/>
            </a:gdLst>
            <a:ahLst/>
            <a:cxnLst>
              <a:cxn ang="T10">
                <a:pos x="T0" y="T1"/>
              </a:cxn>
              <a:cxn ang="T11">
                <a:pos x="T2" y="T3"/>
              </a:cxn>
              <a:cxn ang="T12">
                <a:pos x="T4" y="T5"/>
              </a:cxn>
              <a:cxn ang="T13">
                <a:pos x="T6" y="T7"/>
              </a:cxn>
              <a:cxn ang="T14">
                <a:pos x="T8" y="T9"/>
              </a:cxn>
            </a:cxnLst>
            <a:rect l="T15" t="T16" r="T17" b="T18"/>
            <a:pathLst>
              <a:path w="11" h="18">
                <a:moveTo>
                  <a:pt x="2" y="3"/>
                </a:moveTo>
                <a:lnTo>
                  <a:pt x="6" y="0"/>
                </a:lnTo>
                <a:lnTo>
                  <a:pt x="11" y="5"/>
                </a:lnTo>
                <a:lnTo>
                  <a:pt x="0" y="18"/>
                </a:lnTo>
                <a:lnTo>
                  <a:pt x="2" y="3"/>
                </a:lnTo>
              </a:path>
            </a:pathLst>
          </a:custGeom>
          <a:noFill/>
          <a:ln w="6350">
            <a:solidFill>
              <a:srgbClr val="404040"/>
            </a:solidFill>
            <a:round/>
            <a:headEnd/>
            <a:tailEnd/>
          </a:ln>
        </p:spPr>
        <p:txBody>
          <a:bodyPr/>
          <a:lstStyle/>
          <a:p>
            <a:endParaRPr lang="en-US" dirty="0">
              <a:solidFill>
                <a:prstClr val="black"/>
              </a:solidFill>
            </a:endParaRPr>
          </a:p>
        </p:txBody>
      </p:sp>
      <p:sp>
        <p:nvSpPr>
          <p:cNvPr id="280" name="Freeform 113">
            <a:extLst>
              <a:ext uri="{FF2B5EF4-FFF2-40B4-BE49-F238E27FC236}">
                <a16:creationId xmlns:a16="http://schemas.microsoft.com/office/drawing/2014/main" id="{B53F33C8-02C7-409F-B1B0-A244BDF7C440}"/>
              </a:ext>
            </a:extLst>
          </p:cNvPr>
          <p:cNvSpPr>
            <a:spLocks/>
          </p:cNvSpPr>
          <p:nvPr>
            <p:custDataLst>
              <p:tags r:id="rId104"/>
            </p:custDataLst>
          </p:nvPr>
        </p:nvSpPr>
        <p:spPr bwMode="auto">
          <a:xfrm>
            <a:off x="6313362" y="4347341"/>
            <a:ext cx="760624" cy="722008"/>
          </a:xfrm>
          <a:custGeom>
            <a:avLst/>
            <a:gdLst>
              <a:gd name="T0" fmla="*/ 2147483647 w 376"/>
              <a:gd name="T1" fmla="*/ 2147483647 h 334"/>
              <a:gd name="T2" fmla="*/ 2147483647 w 376"/>
              <a:gd name="T3" fmla="*/ 2147483647 h 334"/>
              <a:gd name="T4" fmla="*/ 2147483647 w 376"/>
              <a:gd name="T5" fmla="*/ 2147483647 h 334"/>
              <a:gd name="T6" fmla="*/ 2147483647 w 376"/>
              <a:gd name="T7" fmla="*/ 2147483647 h 334"/>
              <a:gd name="T8" fmla="*/ 2147483647 w 376"/>
              <a:gd name="T9" fmla="*/ 2147483647 h 334"/>
              <a:gd name="T10" fmla="*/ 2147483647 w 376"/>
              <a:gd name="T11" fmla="*/ 2147483647 h 334"/>
              <a:gd name="T12" fmla="*/ 2147483647 w 376"/>
              <a:gd name="T13" fmla="*/ 2147483647 h 334"/>
              <a:gd name="T14" fmla="*/ 2147483647 w 376"/>
              <a:gd name="T15" fmla="*/ 2147483647 h 334"/>
              <a:gd name="T16" fmla="*/ 2147483647 w 376"/>
              <a:gd name="T17" fmla="*/ 2147483647 h 334"/>
              <a:gd name="T18" fmla="*/ 2147483647 w 376"/>
              <a:gd name="T19" fmla="*/ 2147483647 h 334"/>
              <a:gd name="T20" fmla="*/ 2147483647 w 376"/>
              <a:gd name="T21" fmla="*/ 2147483647 h 334"/>
              <a:gd name="T22" fmla="*/ 2147483647 w 376"/>
              <a:gd name="T23" fmla="*/ 2147483647 h 334"/>
              <a:gd name="T24" fmla="*/ 2147483647 w 376"/>
              <a:gd name="T25" fmla="*/ 2147483647 h 334"/>
              <a:gd name="T26" fmla="*/ 2147483647 w 376"/>
              <a:gd name="T27" fmla="*/ 2147483647 h 334"/>
              <a:gd name="T28" fmla="*/ 2147483647 w 376"/>
              <a:gd name="T29" fmla="*/ 2147483647 h 334"/>
              <a:gd name="T30" fmla="*/ 2147483647 w 376"/>
              <a:gd name="T31" fmla="*/ 2147483647 h 334"/>
              <a:gd name="T32" fmla="*/ 2147483647 w 376"/>
              <a:gd name="T33" fmla="*/ 2147483647 h 334"/>
              <a:gd name="T34" fmla="*/ 2147483647 w 376"/>
              <a:gd name="T35" fmla="*/ 2147483647 h 334"/>
              <a:gd name="T36" fmla="*/ 2147483647 w 376"/>
              <a:gd name="T37" fmla="*/ 2147483647 h 334"/>
              <a:gd name="T38" fmla="*/ 2147483647 w 376"/>
              <a:gd name="T39" fmla="*/ 2147483647 h 334"/>
              <a:gd name="T40" fmla="*/ 2147483647 w 376"/>
              <a:gd name="T41" fmla="*/ 2147483647 h 334"/>
              <a:gd name="T42" fmla="*/ 2147483647 w 376"/>
              <a:gd name="T43" fmla="*/ 2147483647 h 334"/>
              <a:gd name="T44" fmla="*/ 2147483647 w 376"/>
              <a:gd name="T45" fmla="*/ 2147483647 h 334"/>
              <a:gd name="T46" fmla="*/ 2147483647 w 376"/>
              <a:gd name="T47" fmla="*/ 2147483647 h 334"/>
              <a:gd name="T48" fmla="*/ 2147483647 w 376"/>
              <a:gd name="T49" fmla="*/ 2147483647 h 334"/>
              <a:gd name="T50" fmla="*/ 2147483647 w 376"/>
              <a:gd name="T51" fmla="*/ 2147483647 h 334"/>
              <a:gd name="T52" fmla="*/ 2147483647 w 376"/>
              <a:gd name="T53" fmla="*/ 2147483647 h 334"/>
              <a:gd name="T54" fmla="*/ 2147483647 w 376"/>
              <a:gd name="T55" fmla="*/ 2147483647 h 334"/>
              <a:gd name="T56" fmla="*/ 2147483647 w 376"/>
              <a:gd name="T57" fmla="*/ 2147483647 h 334"/>
              <a:gd name="T58" fmla="*/ 2147483647 w 376"/>
              <a:gd name="T59" fmla="*/ 2147483647 h 334"/>
              <a:gd name="T60" fmla="*/ 2147483647 w 376"/>
              <a:gd name="T61" fmla="*/ 2147483647 h 334"/>
              <a:gd name="T62" fmla="*/ 2147483647 w 376"/>
              <a:gd name="T63" fmla="*/ 2147483647 h 334"/>
              <a:gd name="T64" fmla="*/ 2147483647 w 376"/>
              <a:gd name="T65" fmla="*/ 2147483647 h 334"/>
              <a:gd name="T66" fmla="*/ 2147483647 w 376"/>
              <a:gd name="T67" fmla="*/ 2147483647 h 334"/>
              <a:gd name="T68" fmla="*/ 2147483647 w 376"/>
              <a:gd name="T69" fmla="*/ 2147483647 h 334"/>
              <a:gd name="T70" fmla="*/ 2147483647 w 376"/>
              <a:gd name="T71" fmla="*/ 2147483647 h 334"/>
              <a:gd name="T72" fmla="*/ 2147483647 w 376"/>
              <a:gd name="T73" fmla="*/ 2147483647 h 334"/>
              <a:gd name="T74" fmla="*/ 2147483647 w 376"/>
              <a:gd name="T75" fmla="*/ 2147483647 h 334"/>
              <a:gd name="T76" fmla="*/ 2147483647 w 376"/>
              <a:gd name="T77" fmla="*/ 2147483647 h 334"/>
              <a:gd name="T78" fmla="*/ 2147483647 w 376"/>
              <a:gd name="T79" fmla="*/ 2147483647 h 334"/>
              <a:gd name="T80" fmla="*/ 2147483647 w 376"/>
              <a:gd name="T81" fmla="*/ 2147483647 h 334"/>
              <a:gd name="T82" fmla="*/ 2147483647 w 376"/>
              <a:gd name="T83" fmla="*/ 2147483647 h 334"/>
              <a:gd name="T84" fmla="*/ 2147483647 w 376"/>
              <a:gd name="T85" fmla="*/ 2147483647 h 334"/>
              <a:gd name="T86" fmla="*/ 2147483647 w 376"/>
              <a:gd name="T87" fmla="*/ 2147483647 h 334"/>
              <a:gd name="T88" fmla="*/ 2147483647 w 376"/>
              <a:gd name="T89" fmla="*/ 2147483647 h 334"/>
              <a:gd name="T90" fmla="*/ 2147483647 w 376"/>
              <a:gd name="T91" fmla="*/ 2147483647 h 334"/>
              <a:gd name="T92" fmla="*/ 2147483647 w 376"/>
              <a:gd name="T93" fmla="*/ 2147483647 h 334"/>
              <a:gd name="T94" fmla="*/ 2147483647 w 376"/>
              <a:gd name="T95" fmla="*/ 2147483647 h 334"/>
              <a:gd name="T96" fmla="*/ 2147483647 w 376"/>
              <a:gd name="T97" fmla="*/ 2147483647 h 334"/>
              <a:gd name="T98" fmla="*/ 2147483647 w 376"/>
              <a:gd name="T99" fmla="*/ 2147483647 h 334"/>
              <a:gd name="T100" fmla="*/ 2147483647 w 376"/>
              <a:gd name="T101" fmla="*/ 2147483647 h 334"/>
              <a:gd name="T102" fmla="*/ 2147483647 w 376"/>
              <a:gd name="T103" fmla="*/ 2147483647 h 334"/>
              <a:gd name="T104" fmla="*/ 2147483647 w 376"/>
              <a:gd name="T105" fmla="*/ 2147483647 h 334"/>
              <a:gd name="T106" fmla="*/ 2147483647 w 376"/>
              <a:gd name="T107" fmla="*/ 2147483647 h 334"/>
              <a:gd name="T108" fmla="*/ 2147483647 w 376"/>
              <a:gd name="T109" fmla="*/ 2147483647 h 334"/>
              <a:gd name="T110" fmla="*/ 2147483647 w 376"/>
              <a:gd name="T111" fmla="*/ 2147483647 h 334"/>
              <a:gd name="T112" fmla="*/ 2147483647 w 376"/>
              <a:gd name="T113" fmla="*/ 2147483647 h 334"/>
              <a:gd name="T114" fmla="*/ 2147483647 w 376"/>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6"/>
              <a:gd name="T175" fmla="*/ 0 h 334"/>
              <a:gd name="T176" fmla="*/ 376 w 376"/>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6" h="334">
                <a:moveTo>
                  <a:pt x="16" y="226"/>
                </a:moveTo>
                <a:lnTo>
                  <a:pt x="16" y="196"/>
                </a:lnTo>
                <a:lnTo>
                  <a:pt x="18" y="177"/>
                </a:lnTo>
                <a:lnTo>
                  <a:pt x="18" y="155"/>
                </a:lnTo>
                <a:lnTo>
                  <a:pt x="18" y="114"/>
                </a:lnTo>
                <a:lnTo>
                  <a:pt x="13" y="90"/>
                </a:lnTo>
                <a:lnTo>
                  <a:pt x="13" y="80"/>
                </a:lnTo>
                <a:lnTo>
                  <a:pt x="7" y="47"/>
                </a:lnTo>
                <a:lnTo>
                  <a:pt x="5" y="41"/>
                </a:lnTo>
                <a:lnTo>
                  <a:pt x="3" y="13"/>
                </a:lnTo>
                <a:lnTo>
                  <a:pt x="0" y="13"/>
                </a:lnTo>
                <a:lnTo>
                  <a:pt x="39" y="13"/>
                </a:lnTo>
                <a:lnTo>
                  <a:pt x="57" y="8"/>
                </a:lnTo>
                <a:lnTo>
                  <a:pt x="78" y="8"/>
                </a:lnTo>
                <a:lnTo>
                  <a:pt x="98" y="8"/>
                </a:lnTo>
                <a:lnTo>
                  <a:pt x="100" y="8"/>
                </a:lnTo>
                <a:lnTo>
                  <a:pt x="132" y="8"/>
                </a:lnTo>
                <a:lnTo>
                  <a:pt x="139" y="6"/>
                </a:lnTo>
                <a:lnTo>
                  <a:pt x="156" y="6"/>
                </a:lnTo>
                <a:lnTo>
                  <a:pt x="186" y="6"/>
                </a:lnTo>
                <a:lnTo>
                  <a:pt x="218" y="4"/>
                </a:lnTo>
                <a:lnTo>
                  <a:pt x="236" y="4"/>
                </a:lnTo>
                <a:lnTo>
                  <a:pt x="242" y="4"/>
                </a:lnTo>
                <a:lnTo>
                  <a:pt x="262" y="2"/>
                </a:lnTo>
                <a:lnTo>
                  <a:pt x="285" y="2"/>
                </a:lnTo>
                <a:lnTo>
                  <a:pt x="303" y="0"/>
                </a:lnTo>
                <a:lnTo>
                  <a:pt x="329" y="0"/>
                </a:lnTo>
                <a:lnTo>
                  <a:pt x="333" y="0"/>
                </a:lnTo>
                <a:lnTo>
                  <a:pt x="335" y="2"/>
                </a:lnTo>
                <a:lnTo>
                  <a:pt x="339" y="2"/>
                </a:lnTo>
                <a:lnTo>
                  <a:pt x="335" y="4"/>
                </a:lnTo>
                <a:lnTo>
                  <a:pt x="339" y="6"/>
                </a:lnTo>
                <a:lnTo>
                  <a:pt x="342" y="6"/>
                </a:lnTo>
                <a:lnTo>
                  <a:pt x="344" y="8"/>
                </a:lnTo>
                <a:lnTo>
                  <a:pt x="342" y="15"/>
                </a:lnTo>
                <a:lnTo>
                  <a:pt x="344" y="17"/>
                </a:lnTo>
                <a:lnTo>
                  <a:pt x="344" y="19"/>
                </a:lnTo>
                <a:lnTo>
                  <a:pt x="339" y="19"/>
                </a:lnTo>
                <a:lnTo>
                  <a:pt x="339" y="23"/>
                </a:lnTo>
                <a:lnTo>
                  <a:pt x="335" y="28"/>
                </a:lnTo>
                <a:lnTo>
                  <a:pt x="331" y="30"/>
                </a:lnTo>
                <a:lnTo>
                  <a:pt x="331" y="32"/>
                </a:lnTo>
                <a:lnTo>
                  <a:pt x="329" y="34"/>
                </a:lnTo>
                <a:lnTo>
                  <a:pt x="326" y="34"/>
                </a:lnTo>
                <a:lnTo>
                  <a:pt x="324" y="36"/>
                </a:lnTo>
                <a:lnTo>
                  <a:pt x="320" y="47"/>
                </a:lnTo>
                <a:lnTo>
                  <a:pt x="329" y="47"/>
                </a:lnTo>
                <a:lnTo>
                  <a:pt x="350" y="45"/>
                </a:lnTo>
                <a:lnTo>
                  <a:pt x="372" y="41"/>
                </a:lnTo>
                <a:lnTo>
                  <a:pt x="372" y="45"/>
                </a:lnTo>
                <a:lnTo>
                  <a:pt x="374" y="47"/>
                </a:lnTo>
                <a:lnTo>
                  <a:pt x="376" y="49"/>
                </a:lnTo>
                <a:lnTo>
                  <a:pt x="376" y="52"/>
                </a:lnTo>
                <a:lnTo>
                  <a:pt x="372" y="52"/>
                </a:lnTo>
                <a:lnTo>
                  <a:pt x="367" y="49"/>
                </a:lnTo>
                <a:lnTo>
                  <a:pt x="367" y="52"/>
                </a:lnTo>
                <a:lnTo>
                  <a:pt x="365" y="54"/>
                </a:lnTo>
                <a:lnTo>
                  <a:pt x="367" y="54"/>
                </a:lnTo>
                <a:lnTo>
                  <a:pt x="374" y="56"/>
                </a:lnTo>
                <a:lnTo>
                  <a:pt x="374" y="60"/>
                </a:lnTo>
                <a:lnTo>
                  <a:pt x="372" y="60"/>
                </a:lnTo>
                <a:lnTo>
                  <a:pt x="367" y="60"/>
                </a:lnTo>
                <a:lnTo>
                  <a:pt x="365" y="62"/>
                </a:lnTo>
                <a:lnTo>
                  <a:pt x="365" y="64"/>
                </a:lnTo>
                <a:lnTo>
                  <a:pt x="363" y="64"/>
                </a:lnTo>
                <a:lnTo>
                  <a:pt x="361" y="67"/>
                </a:lnTo>
                <a:lnTo>
                  <a:pt x="357" y="67"/>
                </a:lnTo>
                <a:lnTo>
                  <a:pt x="352" y="69"/>
                </a:lnTo>
                <a:lnTo>
                  <a:pt x="357" y="73"/>
                </a:lnTo>
                <a:lnTo>
                  <a:pt x="359" y="73"/>
                </a:lnTo>
                <a:lnTo>
                  <a:pt x="361" y="73"/>
                </a:lnTo>
                <a:lnTo>
                  <a:pt x="363" y="77"/>
                </a:lnTo>
                <a:lnTo>
                  <a:pt x="361" y="77"/>
                </a:lnTo>
                <a:lnTo>
                  <a:pt x="352" y="82"/>
                </a:lnTo>
                <a:lnTo>
                  <a:pt x="359" y="86"/>
                </a:lnTo>
                <a:lnTo>
                  <a:pt x="357" y="86"/>
                </a:lnTo>
                <a:lnTo>
                  <a:pt x="352" y="86"/>
                </a:lnTo>
                <a:lnTo>
                  <a:pt x="352" y="84"/>
                </a:lnTo>
                <a:lnTo>
                  <a:pt x="348" y="86"/>
                </a:lnTo>
                <a:lnTo>
                  <a:pt x="348" y="88"/>
                </a:lnTo>
                <a:lnTo>
                  <a:pt x="350" y="97"/>
                </a:lnTo>
                <a:lnTo>
                  <a:pt x="348" y="99"/>
                </a:lnTo>
                <a:lnTo>
                  <a:pt x="346" y="97"/>
                </a:lnTo>
                <a:lnTo>
                  <a:pt x="346" y="95"/>
                </a:lnTo>
                <a:lnTo>
                  <a:pt x="346" y="90"/>
                </a:lnTo>
                <a:lnTo>
                  <a:pt x="344" y="95"/>
                </a:lnTo>
                <a:lnTo>
                  <a:pt x="342" y="97"/>
                </a:lnTo>
                <a:lnTo>
                  <a:pt x="339" y="99"/>
                </a:lnTo>
                <a:lnTo>
                  <a:pt x="342" y="101"/>
                </a:lnTo>
                <a:lnTo>
                  <a:pt x="344" y="99"/>
                </a:lnTo>
                <a:lnTo>
                  <a:pt x="346" y="99"/>
                </a:lnTo>
                <a:lnTo>
                  <a:pt x="346" y="101"/>
                </a:lnTo>
                <a:lnTo>
                  <a:pt x="344" y="103"/>
                </a:lnTo>
                <a:lnTo>
                  <a:pt x="346" y="103"/>
                </a:lnTo>
                <a:lnTo>
                  <a:pt x="346" y="110"/>
                </a:lnTo>
                <a:lnTo>
                  <a:pt x="342" y="110"/>
                </a:lnTo>
                <a:lnTo>
                  <a:pt x="342" y="112"/>
                </a:lnTo>
                <a:lnTo>
                  <a:pt x="342" y="114"/>
                </a:lnTo>
                <a:lnTo>
                  <a:pt x="346" y="114"/>
                </a:lnTo>
                <a:lnTo>
                  <a:pt x="348" y="116"/>
                </a:lnTo>
                <a:lnTo>
                  <a:pt x="348" y="118"/>
                </a:lnTo>
                <a:lnTo>
                  <a:pt x="348" y="121"/>
                </a:lnTo>
                <a:lnTo>
                  <a:pt x="348" y="123"/>
                </a:lnTo>
                <a:lnTo>
                  <a:pt x="348" y="127"/>
                </a:lnTo>
                <a:lnTo>
                  <a:pt x="344" y="123"/>
                </a:lnTo>
                <a:lnTo>
                  <a:pt x="342" y="127"/>
                </a:lnTo>
                <a:lnTo>
                  <a:pt x="342" y="129"/>
                </a:lnTo>
                <a:lnTo>
                  <a:pt x="342" y="131"/>
                </a:lnTo>
                <a:lnTo>
                  <a:pt x="339" y="134"/>
                </a:lnTo>
                <a:lnTo>
                  <a:pt x="331" y="134"/>
                </a:lnTo>
                <a:lnTo>
                  <a:pt x="331" y="138"/>
                </a:lnTo>
                <a:lnTo>
                  <a:pt x="331" y="142"/>
                </a:lnTo>
                <a:lnTo>
                  <a:pt x="335" y="144"/>
                </a:lnTo>
                <a:lnTo>
                  <a:pt x="335" y="147"/>
                </a:lnTo>
                <a:lnTo>
                  <a:pt x="335" y="149"/>
                </a:lnTo>
                <a:lnTo>
                  <a:pt x="333" y="149"/>
                </a:lnTo>
                <a:lnTo>
                  <a:pt x="333" y="151"/>
                </a:lnTo>
                <a:lnTo>
                  <a:pt x="331" y="151"/>
                </a:lnTo>
                <a:lnTo>
                  <a:pt x="329" y="151"/>
                </a:lnTo>
                <a:lnTo>
                  <a:pt x="326" y="153"/>
                </a:lnTo>
                <a:lnTo>
                  <a:pt x="324" y="153"/>
                </a:lnTo>
                <a:lnTo>
                  <a:pt x="324" y="151"/>
                </a:lnTo>
                <a:lnTo>
                  <a:pt x="320" y="149"/>
                </a:lnTo>
                <a:lnTo>
                  <a:pt x="318" y="151"/>
                </a:lnTo>
                <a:lnTo>
                  <a:pt x="320" y="155"/>
                </a:lnTo>
                <a:lnTo>
                  <a:pt x="320" y="159"/>
                </a:lnTo>
                <a:lnTo>
                  <a:pt x="320" y="162"/>
                </a:lnTo>
                <a:lnTo>
                  <a:pt x="320" y="164"/>
                </a:lnTo>
                <a:lnTo>
                  <a:pt x="318" y="164"/>
                </a:lnTo>
                <a:lnTo>
                  <a:pt x="316" y="164"/>
                </a:lnTo>
                <a:lnTo>
                  <a:pt x="318" y="162"/>
                </a:lnTo>
                <a:lnTo>
                  <a:pt x="318" y="159"/>
                </a:lnTo>
                <a:lnTo>
                  <a:pt x="316" y="159"/>
                </a:lnTo>
                <a:lnTo>
                  <a:pt x="316" y="155"/>
                </a:lnTo>
                <a:lnTo>
                  <a:pt x="313" y="159"/>
                </a:lnTo>
                <a:lnTo>
                  <a:pt x="316" y="166"/>
                </a:lnTo>
                <a:lnTo>
                  <a:pt x="320" y="166"/>
                </a:lnTo>
                <a:lnTo>
                  <a:pt x="320" y="168"/>
                </a:lnTo>
                <a:lnTo>
                  <a:pt x="318" y="172"/>
                </a:lnTo>
                <a:lnTo>
                  <a:pt x="316" y="172"/>
                </a:lnTo>
                <a:lnTo>
                  <a:pt x="316" y="170"/>
                </a:lnTo>
                <a:lnTo>
                  <a:pt x="316" y="168"/>
                </a:lnTo>
                <a:lnTo>
                  <a:pt x="313" y="168"/>
                </a:lnTo>
                <a:lnTo>
                  <a:pt x="313" y="172"/>
                </a:lnTo>
                <a:lnTo>
                  <a:pt x="311" y="172"/>
                </a:lnTo>
                <a:lnTo>
                  <a:pt x="313" y="177"/>
                </a:lnTo>
                <a:lnTo>
                  <a:pt x="316" y="181"/>
                </a:lnTo>
                <a:lnTo>
                  <a:pt x="313" y="183"/>
                </a:lnTo>
                <a:lnTo>
                  <a:pt x="313" y="185"/>
                </a:lnTo>
                <a:lnTo>
                  <a:pt x="313" y="192"/>
                </a:lnTo>
                <a:lnTo>
                  <a:pt x="313" y="194"/>
                </a:lnTo>
                <a:lnTo>
                  <a:pt x="311" y="196"/>
                </a:lnTo>
                <a:lnTo>
                  <a:pt x="309" y="198"/>
                </a:lnTo>
                <a:lnTo>
                  <a:pt x="309" y="203"/>
                </a:lnTo>
                <a:lnTo>
                  <a:pt x="307" y="203"/>
                </a:lnTo>
                <a:lnTo>
                  <a:pt x="307" y="198"/>
                </a:lnTo>
                <a:lnTo>
                  <a:pt x="301" y="198"/>
                </a:lnTo>
                <a:lnTo>
                  <a:pt x="301" y="200"/>
                </a:lnTo>
                <a:lnTo>
                  <a:pt x="301" y="203"/>
                </a:lnTo>
                <a:lnTo>
                  <a:pt x="301" y="209"/>
                </a:lnTo>
                <a:lnTo>
                  <a:pt x="298" y="205"/>
                </a:lnTo>
                <a:lnTo>
                  <a:pt x="296" y="205"/>
                </a:lnTo>
                <a:lnTo>
                  <a:pt x="296" y="209"/>
                </a:lnTo>
                <a:lnTo>
                  <a:pt x="296" y="213"/>
                </a:lnTo>
                <a:lnTo>
                  <a:pt x="294" y="213"/>
                </a:lnTo>
                <a:lnTo>
                  <a:pt x="290" y="211"/>
                </a:lnTo>
                <a:lnTo>
                  <a:pt x="285" y="213"/>
                </a:lnTo>
                <a:lnTo>
                  <a:pt x="290" y="216"/>
                </a:lnTo>
                <a:lnTo>
                  <a:pt x="296" y="216"/>
                </a:lnTo>
                <a:lnTo>
                  <a:pt x="298" y="218"/>
                </a:lnTo>
                <a:lnTo>
                  <a:pt x="296" y="220"/>
                </a:lnTo>
                <a:lnTo>
                  <a:pt x="294" y="220"/>
                </a:lnTo>
                <a:lnTo>
                  <a:pt x="290" y="216"/>
                </a:lnTo>
                <a:lnTo>
                  <a:pt x="285" y="220"/>
                </a:lnTo>
                <a:lnTo>
                  <a:pt x="285" y="224"/>
                </a:lnTo>
                <a:lnTo>
                  <a:pt x="292" y="226"/>
                </a:lnTo>
                <a:lnTo>
                  <a:pt x="294" y="226"/>
                </a:lnTo>
                <a:lnTo>
                  <a:pt x="292" y="231"/>
                </a:lnTo>
                <a:lnTo>
                  <a:pt x="285" y="231"/>
                </a:lnTo>
                <a:lnTo>
                  <a:pt x="285" y="233"/>
                </a:lnTo>
                <a:lnTo>
                  <a:pt x="285" y="235"/>
                </a:lnTo>
                <a:lnTo>
                  <a:pt x="285" y="237"/>
                </a:lnTo>
                <a:lnTo>
                  <a:pt x="283" y="237"/>
                </a:lnTo>
                <a:lnTo>
                  <a:pt x="283" y="235"/>
                </a:lnTo>
                <a:lnTo>
                  <a:pt x="281" y="235"/>
                </a:lnTo>
                <a:lnTo>
                  <a:pt x="279" y="233"/>
                </a:lnTo>
                <a:lnTo>
                  <a:pt x="277" y="235"/>
                </a:lnTo>
                <a:lnTo>
                  <a:pt x="279" y="237"/>
                </a:lnTo>
                <a:lnTo>
                  <a:pt x="281" y="241"/>
                </a:lnTo>
                <a:lnTo>
                  <a:pt x="279" y="248"/>
                </a:lnTo>
                <a:lnTo>
                  <a:pt x="281" y="250"/>
                </a:lnTo>
                <a:lnTo>
                  <a:pt x="285" y="252"/>
                </a:lnTo>
                <a:lnTo>
                  <a:pt x="285" y="257"/>
                </a:lnTo>
                <a:lnTo>
                  <a:pt x="283" y="257"/>
                </a:lnTo>
                <a:lnTo>
                  <a:pt x="281" y="257"/>
                </a:lnTo>
                <a:lnTo>
                  <a:pt x="279" y="257"/>
                </a:lnTo>
                <a:lnTo>
                  <a:pt x="277" y="257"/>
                </a:lnTo>
                <a:lnTo>
                  <a:pt x="275" y="257"/>
                </a:lnTo>
                <a:lnTo>
                  <a:pt x="275" y="261"/>
                </a:lnTo>
                <a:lnTo>
                  <a:pt x="275" y="263"/>
                </a:lnTo>
                <a:lnTo>
                  <a:pt x="277" y="263"/>
                </a:lnTo>
                <a:lnTo>
                  <a:pt x="281" y="261"/>
                </a:lnTo>
                <a:lnTo>
                  <a:pt x="281" y="263"/>
                </a:lnTo>
                <a:lnTo>
                  <a:pt x="281" y="265"/>
                </a:lnTo>
                <a:lnTo>
                  <a:pt x="279" y="265"/>
                </a:lnTo>
                <a:lnTo>
                  <a:pt x="277" y="265"/>
                </a:lnTo>
                <a:lnTo>
                  <a:pt x="270" y="261"/>
                </a:lnTo>
                <a:lnTo>
                  <a:pt x="268" y="263"/>
                </a:lnTo>
                <a:lnTo>
                  <a:pt x="268" y="265"/>
                </a:lnTo>
                <a:lnTo>
                  <a:pt x="275" y="267"/>
                </a:lnTo>
                <a:lnTo>
                  <a:pt x="275" y="270"/>
                </a:lnTo>
                <a:lnTo>
                  <a:pt x="275" y="276"/>
                </a:lnTo>
                <a:lnTo>
                  <a:pt x="270" y="276"/>
                </a:lnTo>
                <a:lnTo>
                  <a:pt x="268" y="274"/>
                </a:lnTo>
                <a:lnTo>
                  <a:pt x="268" y="278"/>
                </a:lnTo>
                <a:lnTo>
                  <a:pt x="270" y="280"/>
                </a:lnTo>
                <a:lnTo>
                  <a:pt x="268" y="285"/>
                </a:lnTo>
                <a:lnTo>
                  <a:pt x="268" y="287"/>
                </a:lnTo>
                <a:lnTo>
                  <a:pt x="270" y="287"/>
                </a:lnTo>
                <a:lnTo>
                  <a:pt x="275" y="285"/>
                </a:lnTo>
                <a:lnTo>
                  <a:pt x="270" y="280"/>
                </a:lnTo>
                <a:lnTo>
                  <a:pt x="275" y="280"/>
                </a:lnTo>
                <a:lnTo>
                  <a:pt x="277" y="283"/>
                </a:lnTo>
                <a:lnTo>
                  <a:pt x="277" y="285"/>
                </a:lnTo>
                <a:lnTo>
                  <a:pt x="277" y="287"/>
                </a:lnTo>
                <a:lnTo>
                  <a:pt x="270" y="291"/>
                </a:lnTo>
                <a:lnTo>
                  <a:pt x="270" y="293"/>
                </a:lnTo>
                <a:lnTo>
                  <a:pt x="277" y="293"/>
                </a:lnTo>
                <a:lnTo>
                  <a:pt x="279" y="291"/>
                </a:lnTo>
                <a:lnTo>
                  <a:pt x="279" y="285"/>
                </a:lnTo>
                <a:lnTo>
                  <a:pt x="281" y="285"/>
                </a:lnTo>
                <a:lnTo>
                  <a:pt x="281" y="287"/>
                </a:lnTo>
                <a:lnTo>
                  <a:pt x="281" y="291"/>
                </a:lnTo>
                <a:lnTo>
                  <a:pt x="279" y="291"/>
                </a:lnTo>
                <a:lnTo>
                  <a:pt x="277" y="295"/>
                </a:lnTo>
                <a:lnTo>
                  <a:pt x="277" y="298"/>
                </a:lnTo>
                <a:lnTo>
                  <a:pt x="279" y="302"/>
                </a:lnTo>
                <a:lnTo>
                  <a:pt x="279" y="306"/>
                </a:lnTo>
                <a:lnTo>
                  <a:pt x="281" y="300"/>
                </a:lnTo>
                <a:lnTo>
                  <a:pt x="283" y="300"/>
                </a:lnTo>
                <a:lnTo>
                  <a:pt x="283" y="302"/>
                </a:lnTo>
                <a:lnTo>
                  <a:pt x="283" y="306"/>
                </a:lnTo>
                <a:lnTo>
                  <a:pt x="281" y="308"/>
                </a:lnTo>
                <a:lnTo>
                  <a:pt x="281" y="313"/>
                </a:lnTo>
                <a:lnTo>
                  <a:pt x="281" y="315"/>
                </a:lnTo>
                <a:lnTo>
                  <a:pt x="279" y="315"/>
                </a:lnTo>
                <a:lnTo>
                  <a:pt x="275" y="315"/>
                </a:lnTo>
                <a:lnTo>
                  <a:pt x="270" y="315"/>
                </a:lnTo>
                <a:lnTo>
                  <a:pt x="275" y="317"/>
                </a:lnTo>
                <a:lnTo>
                  <a:pt x="277" y="319"/>
                </a:lnTo>
                <a:lnTo>
                  <a:pt x="279" y="324"/>
                </a:lnTo>
                <a:lnTo>
                  <a:pt x="279" y="326"/>
                </a:lnTo>
                <a:lnTo>
                  <a:pt x="277" y="326"/>
                </a:lnTo>
                <a:lnTo>
                  <a:pt x="277" y="328"/>
                </a:lnTo>
                <a:lnTo>
                  <a:pt x="268" y="328"/>
                </a:lnTo>
                <a:lnTo>
                  <a:pt x="253" y="328"/>
                </a:lnTo>
                <a:lnTo>
                  <a:pt x="203" y="330"/>
                </a:lnTo>
                <a:lnTo>
                  <a:pt x="154" y="332"/>
                </a:lnTo>
                <a:lnTo>
                  <a:pt x="134" y="332"/>
                </a:lnTo>
                <a:lnTo>
                  <a:pt x="115" y="332"/>
                </a:lnTo>
                <a:lnTo>
                  <a:pt x="95" y="332"/>
                </a:lnTo>
                <a:lnTo>
                  <a:pt x="93" y="332"/>
                </a:lnTo>
                <a:lnTo>
                  <a:pt x="70" y="334"/>
                </a:lnTo>
                <a:lnTo>
                  <a:pt x="50" y="334"/>
                </a:lnTo>
                <a:lnTo>
                  <a:pt x="50" y="311"/>
                </a:lnTo>
                <a:lnTo>
                  <a:pt x="50" y="285"/>
                </a:lnTo>
                <a:lnTo>
                  <a:pt x="48" y="283"/>
                </a:lnTo>
                <a:lnTo>
                  <a:pt x="46" y="283"/>
                </a:lnTo>
                <a:lnTo>
                  <a:pt x="39" y="283"/>
                </a:lnTo>
                <a:lnTo>
                  <a:pt x="39" y="280"/>
                </a:lnTo>
                <a:lnTo>
                  <a:pt x="37" y="283"/>
                </a:lnTo>
                <a:lnTo>
                  <a:pt x="37" y="285"/>
                </a:lnTo>
                <a:lnTo>
                  <a:pt x="35" y="285"/>
                </a:lnTo>
                <a:lnTo>
                  <a:pt x="35" y="283"/>
                </a:lnTo>
                <a:lnTo>
                  <a:pt x="35" y="280"/>
                </a:lnTo>
                <a:lnTo>
                  <a:pt x="33" y="285"/>
                </a:lnTo>
                <a:lnTo>
                  <a:pt x="33" y="283"/>
                </a:lnTo>
                <a:lnTo>
                  <a:pt x="31" y="283"/>
                </a:lnTo>
                <a:lnTo>
                  <a:pt x="31" y="285"/>
                </a:lnTo>
                <a:lnTo>
                  <a:pt x="28" y="283"/>
                </a:lnTo>
                <a:lnTo>
                  <a:pt x="24" y="285"/>
                </a:lnTo>
                <a:lnTo>
                  <a:pt x="22" y="285"/>
                </a:lnTo>
                <a:lnTo>
                  <a:pt x="24" y="283"/>
                </a:lnTo>
                <a:lnTo>
                  <a:pt x="22" y="283"/>
                </a:lnTo>
                <a:lnTo>
                  <a:pt x="20" y="283"/>
                </a:lnTo>
                <a:lnTo>
                  <a:pt x="20" y="280"/>
                </a:lnTo>
                <a:lnTo>
                  <a:pt x="18" y="280"/>
                </a:lnTo>
                <a:lnTo>
                  <a:pt x="20" y="280"/>
                </a:lnTo>
                <a:lnTo>
                  <a:pt x="20" y="278"/>
                </a:lnTo>
                <a:lnTo>
                  <a:pt x="16" y="278"/>
                </a:lnTo>
                <a:lnTo>
                  <a:pt x="16" y="250"/>
                </a:lnTo>
                <a:lnTo>
                  <a:pt x="16" y="226"/>
                </a:lnTo>
                <a:close/>
              </a:path>
            </a:pathLst>
          </a:custGeom>
          <a:noFill/>
          <a:ln w="9525">
            <a:noFill/>
            <a:round/>
            <a:headEnd/>
            <a:tailEnd/>
          </a:ln>
        </p:spPr>
        <p:txBody>
          <a:bodyPr/>
          <a:lstStyle/>
          <a:p>
            <a:endParaRPr lang="en-US" dirty="0">
              <a:solidFill>
                <a:prstClr val="black"/>
              </a:solidFill>
            </a:endParaRPr>
          </a:p>
        </p:txBody>
      </p:sp>
      <p:sp>
        <p:nvSpPr>
          <p:cNvPr id="281" name="Freeform 114">
            <a:extLst>
              <a:ext uri="{FF2B5EF4-FFF2-40B4-BE49-F238E27FC236}">
                <a16:creationId xmlns:a16="http://schemas.microsoft.com/office/drawing/2014/main" id="{05D8BA03-DC8A-4B73-A885-E07A72CC0771}"/>
              </a:ext>
            </a:extLst>
          </p:cNvPr>
          <p:cNvSpPr>
            <a:spLocks/>
          </p:cNvSpPr>
          <p:nvPr>
            <p:custDataLst>
              <p:tags r:id="rId105"/>
            </p:custDataLst>
          </p:nvPr>
        </p:nvSpPr>
        <p:spPr bwMode="auto">
          <a:xfrm>
            <a:off x="6313362" y="4347341"/>
            <a:ext cx="760624" cy="722008"/>
          </a:xfrm>
          <a:custGeom>
            <a:avLst/>
            <a:gdLst>
              <a:gd name="T0" fmla="*/ 2147483647 w 376"/>
              <a:gd name="T1" fmla="*/ 2147483647 h 334"/>
              <a:gd name="T2" fmla="*/ 2147483647 w 376"/>
              <a:gd name="T3" fmla="*/ 2147483647 h 334"/>
              <a:gd name="T4" fmla="*/ 2147483647 w 376"/>
              <a:gd name="T5" fmla="*/ 2147483647 h 334"/>
              <a:gd name="T6" fmla="*/ 2147483647 w 376"/>
              <a:gd name="T7" fmla="*/ 2147483647 h 334"/>
              <a:gd name="T8" fmla="*/ 2147483647 w 376"/>
              <a:gd name="T9" fmla="*/ 2147483647 h 334"/>
              <a:gd name="T10" fmla="*/ 2147483647 w 376"/>
              <a:gd name="T11" fmla="*/ 2147483647 h 334"/>
              <a:gd name="T12" fmla="*/ 2147483647 w 376"/>
              <a:gd name="T13" fmla="*/ 2147483647 h 334"/>
              <a:gd name="T14" fmla="*/ 2147483647 w 376"/>
              <a:gd name="T15" fmla="*/ 2147483647 h 334"/>
              <a:gd name="T16" fmla="*/ 2147483647 w 376"/>
              <a:gd name="T17" fmla="*/ 2147483647 h 334"/>
              <a:gd name="T18" fmla="*/ 2147483647 w 376"/>
              <a:gd name="T19" fmla="*/ 2147483647 h 334"/>
              <a:gd name="T20" fmla="*/ 2147483647 w 376"/>
              <a:gd name="T21" fmla="*/ 2147483647 h 334"/>
              <a:gd name="T22" fmla="*/ 2147483647 w 376"/>
              <a:gd name="T23" fmla="*/ 2147483647 h 334"/>
              <a:gd name="T24" fmla="*/ 2147483647 w 376"/>
              <a:gd name="T25" fmla="*/ 2147483647 h 334"/>
              <a:gd name="T26" fmla="*/ 2147483647 w 376"/>
              <a:gd name="T27" fmla="*/ 2147483647 h 334"/>
              <a:gd name="T28" fmla="*/ 2147483647 w 376"/>
              <a:gd name="T29" fmla="*/ 2147483647 h 334"/>
              <a:gd name="T30" fmla="*/ 2147483647 w 376"/>
              <a:gd name="T31" fmla="*/ 2147483647 h 334"/>
              <a:gd name="T32" fmla="*/ 2147483647 w 376"/>
              <a:gd name="T33" fmla="*/ 2147483647 h 334"/>
              <a:gd name="T34" fmla="*/ 2147483647 w 376"/>
              <a:gd name="T35" fmla="*/ 2147483647 h 334"/>
              <a:gd name="T36" fmla="*/ 2147483647 w 376"/>
              <a:gd name="T37" fmla="*/ 2147483647 h 334"/>
              <a:gd name="T38" fmla="*/ 2147483647 w 376"/>
              <a:gd name="T39" fmla="*/ 2147483647 h 334"/>
              <a:gd name="T40" fmla="*/ 2147483647 w 376"/>
              <a:gd name="T41" fmla="*/ 2147483647 h 334"/>
              <a:gd name="T42" fmla="*/ 2147483647 w 376"/>
              <a:gd name="T43" fmla="*/ 2147483647 h 334"/>
              <a:gd name="T44" fmla="*/ 2147483647 w 376"/>
              <a:gd name="T45" fmla="*/ 2147483647 h 334"/>
              <a:gd name="T46" fmla="*/ 2147483647 w 376"/>
              <a:gd name="T47" fmla="*/ 2147483647 h 334"/>
              <a:gd name="T48" fmla="*/ 2147483647 w 376"/>
              <a:gd name="T49" fmla="*/ 2147483647 h 334"/>
              <a:gd name="T50" fmla="*/ 2147483647 w 376"/>
              <a:gd name="T51" fmla="*/ 2147483647 h 334"/>
              <a:gd name="T52" fmla="*/ 2147483647 w 376"/>
              <a:gd name="T53" fmla="*/ 2147483647 h 334"/>
              <a:gd name="T54" fmla="*/ 2147483647 w 376"/>
              <a:gd name="T55" fmla="*/ 2147483647 h 334"/>
              <a:gd name="T56" fmla="*/ 2147483647 w 376"/>
              <a:gd name="T57" fmla="*/ 2147483647 h 334"/>
              <a:gd name="T58" fmla="*/ 2147483647 w 376"/>
              <a:gd name="T59" fmla="*/ 2147483647 h 334"/>
              <a:gd name="T60" fmla="*/ 2147483647 w 376"/>
              <a:gd name="T61" fmla="*/ 2147483647 h 334"/>
              <a:gd name="T62" fmla="*/ 2147483647 w 376"/>
              <a:gd name="T63" fmla="*/ 2147483647 h 334"/>
              <a:gd name="T64" fmla="*/ 2147483647 w 376"/>
              <a:gd name="T65" fmla="*/ 2147483647 h 334"/>
              <a:gd name="T66" fmla="*/ 2147483647 w 376"/>
              <a:gd name="T67" fmla="*/ 2147483647 h 334"/>
              <a:gd name="T68" fmla="*/ 2147483647 w 376"/>
              <a:gd name="T69" fmla="*/ 2147483647 h 334"/>
              <a:gd name="T70" fmla="*/ 2147483647 w 376"/>
              <a:gd name="T71" fmla="*/ 2147483647 h 334"/>
              <a:gd name="T72" fmla="*/ 2147483647 w 376"/>
              <a:gd name="T73" fmla="*/ 2147483647 h 334"/>
              <a:gd name="T74" fmla="*/ 2147483647 w 376"/>
              <a:gd name="T75" fmla="*/ 2147483647 h 334"/>
              <a:gd name="T76" fmla="*/ 2147483647 w 376"/>
              <a:gd name="T77" fmla="*/ 2147483647 h 334"/>
              <a:gd name="T78" fmla="*/ 2147483647 w 376"/>
              <a:gd name="T79" fmla="*/ 2147483647 h 334"/>
              <a:gd name="T80" fmla="*/ 2147483647 w 376"/>
              <a:gd name="T81" fmla="*/ 2147483647 h 334"/>
              <a:gd name="T82" fmla="*/ 2147483647 w 376"/>
              <a:gd name="T83" fmla="*/ 2147483647 h 334"/>
              <a:gd name="T84" fmla="*/ 2147483647 w 376"/>
              <a:gd name="T85" fmla="*/ 2147483647 h 334"/>
              <a:gd name="T86" fmla="*/ 2147483647 w 376"/>
              <a:gd name="T87" fmla="*/ 2147483647 h 334"/>
              <a:gd name="T88" fmla="*/ 2147483647 w 376"/>
              <a:gd name="T89" fmla="*/ 2147483647 h 334"/>
              <a:gd name="T90" fmla="*/ 2147483647 w 376"/>
              <a:gd name="T91" fmla="*/ 2147483647 h 334"/>
              <a:gd name="T92" fmla="*/ 2147483647 w 376"/>
              <a:gd name="T93" fmla="*/ 2147483647 h 334"/>
              <a:gd name="T94" fmla="*/ 2147483647 w 376"/>
              <a:gd name="T95" fmla="*/ 2147483647 h 334"/>
              <a:gd name="T96" fmla="*/ 2147483647 w 376"/>
              <a:gd name="T97" fmla="*/ 2147483647 h 334"/>
              <a:gd name="T98" fmla="*/ 2147483647 w 376"/>
              <a:gd name="T99" fmla="*/ 2147483647 h 334"/>
              <a:gd name="T100" fmla="*/ 2147483647 w 376"/>
              <a:gd name="T101" fmla="*/ 2147483647 h 334"/>
              <a:gd name="T102" fmla="*/ 2147483647 w 376"/>
              <a:gd name="T103" fmla="*/ 2147483647 h 334"/>
              <a:gd name="T104" fmla="*/ 2147483647 w 376"/>
              <a:gd name="T105" fmla="*/ 2147483647 h 334"/>
              <a:gd name="T106" fmla="*/ 2147483647 w 376"/>
              <a:gd name="T107" fmla="*/ 2147483647 h 334"/>
              <a:gd name="T108" fmla="*/ 2147483647 w 376"/>
              <a:gd name="T109" fmla="*/ 2147483647 h 334"/>
              <a:gd name="T110" fmla="*/ 2147483647 w 376"/>
              <a:gd name="T111" fmla="*/ 2147483647 h 334"/>
              <a:gd name="T112" fmla="*/ 2147483647 w 376"/>
              <a:gd name="T113" fmla="*/ 2147483647 h 334"/>
              <a:gd name="T114" fmla="*/ 2147483647 w 376"/>
              <a:gd name="T115" fmla="*/ 2147483647 h 3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6"/>
              <a:gd name="T175" fmla="*/ 0 h 334"/>
              <a:gd name="T176" fmla="*/ 376 w 376"/>
              <a:gd name="T177" fmla="*/ 334 h 3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6" h="334">
                <a:moveTo>
                  <a:pt x="16" y="226"/>
                </a:moveTo>
                <a:lnTo>
                  <a:pt x="16" y="196"/>
                </a:lnTo>
                <a:lnTo>
                  <a:pt x="18" y="177"/>
                </a:lnTo>
                <a:lnTo>
                  <a:pt x="18" y="155"/>
                </a:lnTo>
                <a:lnTo>
                  <a:pt x="18" y="114"/>
                </a:lnTo>
                <a:lnTo>
                  <a:pt x="13" y="90"/>
                </a:lnTo>
                <a:lnTo>
                  <a:pt x="13" y="80"/>
                </a:lnTo>
                <a:lnTo>
                  <a:pt x="7" y="47"/>
                </a:lnTo>
                <a:lnTo>
                  <a:pt x="5" y="41"/>
                </a:lnTo>
                <a:lnTo>
                  <a:pt x="3" y="13"/>
                </a:lnTo>
                <a:lnTo>
                  <a:pt x="0" y="13"/>
                </a:lnTo>
                <a:lnTo>
                  <a:pt x="39" y="13"/>
                </a:lnTo>
                <a:lnTo>
                  <a:pt x="57" y="8"/>
                </a:lnTo>
                <a:lnTo>
                  <a:pt x="78" y="8"/>
                </a:lnTo>
                <a:lnTo>
                  <a:pt x="98" y="8"/>
                </a:lnTo>
                <a:lnTo>
                  <a:pt x="100" y="8"/>
                </a:lnTo>
                <a:lnTo>
                  <a:pt x="132" y="8"/>
                </a:lnTo>
                <a:lnTo>
                  <a:pt x="139" y="6"/>
                </a:lnTo>
                <a:lnTo>
                  <a:pt x="156" y="6"/>
                </a:lnTo>
                <a:lnTo>
                  <a:pt x="186" y="6"/>
                </a:lnTo>
                <a:lnTo>
                  <a:pt x="218" y="4"/>
                </a:lnTo>
                <a:lnTo>
                  <a:pt x="236" y="4"/>
                </a:lnTo>
                <a:lnTo>
                  <a:pt x="242" y="4"/>
                </a:lnTo>
                <a:lnTo>
                  <a:pt x="262" y="2"/>
                </a:lnTo>
                <a:lnTo>
                  <a:pt x="285" y="2"/>
                </a:lnTo>
                <a:lnTo>
                  <a:pt x="303" y="0"/>
                </a:lnTo>
                <a:lnTo>
                  <a:pt x="329" y="0"/>
                </a:lnTo>
                <a:lnTo>
                  <a:pt x="333" y="0"/>
                </a:lnTo>
                <a:lnTo>
                  <a:pt x="335" y="2"/>
                </a:lnTo>
                <a:lnTo>
                  <a:pt x="339" y="2"/>
                </a:lnTo>
                <a:lnTo>
                  <a:pt x="335" y="4"/>
                </a:lnTo>
                <a:lnTo>
                  <a:pt x="339" y="6"/>
                </a:lnTo>
                <a:lnTo>
                  <a:pt x="342" y="6"/>
                </a:lnTo>
                <a:lnTo>
                  <a:pt x="344" y="8"/>
                </a:lnTo>
                <a:lnTo>
                  <a:pt x="342" y="15"/>
                </a:lnTo>
                <a:lnTo>
                  <a:pt x="344" y="17"/>
                </a:lnTo>
                <a:lnTo>
                  <a:pt x="344" y="19"/>
                </a:lnTo>
                <a:lnTo>
                  <a:pt x="339" y="19"/>
                </a:lnTo>
                <a:lnTo>
                  <a:pt x="339" y="23"/>
                </a:lnTo>
                <a:lnTo>
                  <a:pt x="335" y="28"/>
                </a:lnTo>
                <a:lnTo>
                  <a:pt x="331" y="30"/>
                </a:lnTo>
                <a:lnTo>
                  <a:pt x="331" y="32"/>
                </a:lnTo>
                <a:lnTo>
                  <a:pt x="329" y="34"/>
                </a:lnTo>
                <a:lnTo>
                  <a:pt x="326" y="34"/>
                </a:lnTo>
                <a:lnTo>
                  <a:pt x="324" y="36"/>
                </a:lnTo>
                <a:lnTo>
                  <a:pt x="320" y="47"/>
                </a:lnTo>
                <a:lnTo>
                  <a:pt x="329" y="47"/>
                </a:lnTo>
                <a:lnTo>
                  <a:pt x="350" y="45"/>
                </a:lnTo>
                <a:lnTo>
                  <a:pt x="372" y="41"/>
                </a:lnTo>
                <a:lnTo>
                  <a:pt x="372" y="45"/>
                </a:lnTo>
                <a:lnTo>
                  <a:pt x="374" y="47"/>
                </a:lnTo>
                <a:lnTo>
                  <a:pt x="376" y="49"/>
                </a:lnTo>
                <a:lnTo>
                  <a:pt x="376" y="52"/>
                </a:lnTo>
                <a:lnTo>
                  <a:pt x="372" y="52"/>
                </a:lnTo>
                <a:lnTo>
                  <a:pt x="367" y="49"/>
                </a:lnTo>
                <a:lnTo>
                  <a:pt x="367" y="52"/>
                </a:lnTo>
                <a:lnTo>
                  <a:pt x="365" y="54"/>
                </a:lnTo>
                <a:lnTo>
                  <a:pt x="367" y="54"/>
                </a:lnTo>
                <a:lnTo>
                  <a:pt x="374" y="56"/>
                </a:lnTo>
                <a:lnTo>
                  <a:pt x="374" y="60"/>
                </a:lnTo>
                <a:lnTo>
                  <a:pt x="372" y="60"/>
                </a:lnTo>
                <a:lnTo>
                  <a:pt x="367" y="60"/>
                </a:lnTo>
                <a:lnTo>
                  <a:pt x="365" y="62"/>
                </a:lnTo>
                <a:lnTo>
                  <a:pt x="365" y="64"/>
                </a:lnTo>
                <a:lnTo>
                  <a:pt x="363" y="64"/>
                </a:lnTo>
                <a:lnTo>
                  <a:pt x="361" y="67"/>
                </a:lnTo>
                <a:lnTo>
                  <a:pt x="357" y="67"/>
                </a:lnTo>
                <a:lnTo>
                  <a:pt x="352" y="69"/>
                </a:lnTo>
                <a:lnTo>
                  <a:pt x="357" y="73"/>
                </a:lnTo>
                <a:lnTo>
                  <a:pt x="359" y="73"/>
                </a:lnTo>
                <a:lnTo>
                  <a:pt x="361" y="73"/>
                </a:lnTo>
                <a:lnTo>
                  <a:pt x="363" y="77"/>
                </a:lnTo>
                <a:lnTo>
                  <a:pt x="361" y="77"/>
                </a:lnTo>
                <a:lnTo>
                  <a:pt x="352" y="82"/>
                </a:lnTo>
                <a:lnTo>
                  <a:pt x="359" y="86"/>
                </a:lnTo>
                <a:lnTo>
                  <a:pt x="357" y="86"/>
                </a:lnTo>
                <a:lnTo>
                  <a:pt x="352" y="86"/>
                </a:lnTo>
                <a:lnTo>
                  <a:pt x="352" y="84"/>
                </a:lnTo>
                <a:lnTo>
                  <a:pt x="348" y="86"/>
                </a:lnTo>
                <a:lnTo>
                  <a:pt x="348" y="88"/>
                </a:lnTo>
                <a:lnTo>
                  <a:pt x="350" y="97"/>
                </a:lnTo>
                <a:lnTo>
                  <a:pt x="348" y="99"/>
                </a:lnTo>
                <a:lnTo>
                  <a:pt x="346" y="97"/>
                </a:lnTo>
                <a:lnTo>
                  <a:pt x="346" y="95"/>
                </a:lnTo>
                <a:lnTo>
                  <a:pt x="346" y="90"/>
                </a:lnTo>
                <a:lnTo>
                  <a:pt x="344" y="95"/>
                </a:lnTo>
                <a:lnTo>
                  <a:pt x="342" y="97"/>
                </a:lnTo>
                <a:lnTo>
                  <a:pt x="339" y="99"/>
                </a:lnTo>
                <a:lnTo>
                  <a:pt x="342" y="101"/>
                </a:lnTo>
                <a:lnTo>
                  <a:pt x="344" y="99"/>
                </a:lnTo>
                <a:lnTo>
                  <a:pt x="346" y="99"/>
                </a:lnTo>
                <a:lnTo>
                  <a:pt x="346" y="101"/>
                </a:lnTo>
                <a:lnTo>
                  <a:pt x="344" y="103"/>
                </a:lnTo>
                <a:lnTo>
                  <a:pt x="346" y="103"/>
                </a:lnTo>
                <a:lnTo>
                  <a:pt x="346" y="110"/>
                </a:lnTo>
                <a:lnTo>
                  <a:pt x="342" y="110"/>
                </a:lnTo>
                <a:lnTo>
                  <a:pt x="342" y="112"/>
                </a:lnTo>
                <a:lnTo>
                  <a:pt x="342" y="114"/>
                </a:lnTo>
                <a:lnTo>
                  <a:pt x="346" y="114"/>
                </a:lnTo>
                <a:lnTo>
                  <a:pt x="348" y="116"/>
                </a:lnTo>
                <a:lnTo>
                  <a:pt x="348" y="118"/>
                </a:lnTo>
                <a:lnTo>
                  <a:pt x="348" y="121"/>
                </a:lnTo>
                <a:lnTo>
                  <a:pt x="348" y="123"/>
                </a:lnTo>
                <a:lnTo>
                  <a:pt x="348" y="127"/>
                </a:lnTo>
                <a:lnTo>
                  <a:pt x="344" y="123"/>
                </a:lnTo>
                <a:lnTo>
                  <a:pt x="342" y="127"/>
                </a:lnTo>
                <a:lnTo>
                  <a:pt x="342" y="129"/>
                </a:lnTo>
                <a:lnTo>
                  <a:pt x="342" y="131"/>
                </a:lnTo>
                <a:lnTo>
                  <a:pt x="339" y="134"/>
                </a:lnTo>
                <a:lnTo>
                  <a:pt x="331" y="134"/>
                </a:lnTo>
                <a:lnTo>
                  <a:pt x="331" y="138"/>
                </a:lnTo>
                <a:lnTo>
                  <a:pt x="331" y="142"/>
                </a:lnTo>
                <a:lnTo>
                  <a:pt x="335" y="144"/>
                </a:lnTo>
                <a:lnTo>
                  <a:pt x="335" y="147"/>
                </a:lnTo>
                <a:lnTo>
                  <a:pt x="335" y="149"/>
                </a:lnTo>
                <a:lnTo>
                  <a:pt x="333" y="149"/>
                </a:lnTo>
                <a:lnTo>
                  <a:pt x="333" y="151"/>
                </a:lnTo>
                <a:lnTo>
                  <a:pt x="331" y="151"/>
                </a:lnTo>
                <a:lnTo>
                  <a:pt x="329" y="151"/>
                </a:lnTo>
                <a:lnTo>
                  <a:pt x="326" y="153"/>
                </a:lnTo>
                <a:lnTo>
                  <a:pt x="324" y="153"/>
                </a:lnTo>
                <a:lnTo>
                  <a:pt x="324" y="151"/>
                </a:lnTo>
                <a:lnTo>
                  <a:pt x="320" y="149"/>
                </a:lnTo>
                <a:lnTo>
                  <a:pt x="318" y="151"/>
                </a:lnTo>
                <a:lnTo>
                  <a:pt x="320" y="155"/>
                </a:lnTo>
                <a:lnTo>
                  <a:pt x="320" y="159"/>
                </a:lnTo>
                <a:lnTo>
                  <a:pt x="320" y="162"/>
                </a:lnTo>
                <a:lnTo>
                  <a:pt x="320" y="164"/>
                </a:lnTo>
                <a:lnTo>
                  <a:pt x="318" y="164"/>
                </a:lnTo>
                <a:lnTo>
                  <a:pt x="316" y="164"/>
                </a:lnTo>
                <a:lnTo>
                  <a:pt x="318" y="162"/>
                </a:lnTo>
                <a:lnTo>
                  <a:pt x="318" y="159"/>
                </a:lnTo>
                <a:lnTo>
                  <a:pt x="316" y="159"/>
                </a:lnTo>
                <a:lnTo>
                  <a:pt x="316" y="155"/>
                </a:lnTo>
                <a:lnTo>
                  <a:pt x="313" y="159"/>
                </a:lnTo>
                <a:lnTo>
                  <a:pt x="316" y="166"/>
                </a:lnTo>
                <a:lnTo>
                  <a:pt x="320" y="166"/>
                </a:lnTo>
                <a:lnTo>
                  <a:pt x="320" y="168"/>
                </a:lnTo>
                <a:lnTo>
                  <a:pt x="318" y="172"/>
                </a:lnTo>
                <a:lnTo>
                  <a:pt x="316" y="172"/>
                </a:lnTo>
                <a:lnTo>
                  <a:pt x="316" y="170"/>
                </a:lnTo>
                <a:lnTo>
                  <a:pt x="316" y="168"/>
                </a:lnTo>
                <a:lnTo>
                  <a:pt x="313" y="168"/>
                </a:lnTo>
                <a:lnTo>
                  <a:pt x="313" y="172"/>
                </a:lnTo>
                <a:lnTo>
                  <a:pt x="311" y="172"/>
                </a:lnTo>
                <a:lnTo>
                  <a:pt x="313" y="177"/>
                </a:lnTo>
                <a:lnTo>
                  <a:pt x="316" y="181"/>
                </a:lnTo>
                <a:lnTo>
                  <a:pt x="313" y="183"/>
                </a:lnTo>
                <a:lnTo>
                  <a:pt x="313" y="185"/>
                </a:lnTo>
                <a:lnTo>
                  <a:pt x="313" y="192"/>
                </a:lnTo>
                <a:lnTo>
                  <a:pt x="313" y="194"/>
                </a:lnTo>
                <a:lnTo>
                  <a:pt x="311" y="196"/>
                </a:lnTo>
                <a:lnTo>
                  <a:pt x="309" y="198"/>
                </a:lnTo>
                <a:lnTo>
                  <a:pt x="309" y="203"/>
                </a:lnTo>
                <a:lnTo>
                  <a:pt x="307" y="203"/>
                </a:lnTo>
                <a:lnTo>
                  <a:pt x="307" y="198"/>
                </a:lnTo>
                <a:lnTo>
                  <a:pt x="301" y="198"/>
                </a:lnTo>
                <a:lnTo>
                  <a:pt x="301" y="200"/>
                </a:lnTo>
                <a:lnTo>
                  <a:pt x="301" y="203"/>
                </a:lnTo>
                <a:lnTo>
                  <a:pt x="301" y="209"/>
                </a:lnTo>
                <a:lnTo>
                  <a:pt x="298" y="205"/>
                </a:lnTo>
                <a:lnTo>
                  <a:pt x="296" y="205"/>
                </a:lnTo>
                <a:lnTo>
                  <a:pt x="296" y="209"/>
                </a:lnTo>
                <a:lnTo>
                  <a:pt x="296" y="213"/>
                </a:lnTo>
                <a:lnTo>
                  <a:pt x="294" y="213"/>
                </a:lnTo>
                <a:lnTo>
                  <a:pt x="290" y="211"/>
                </a:lnTo>
                <a:lnTo>
                  <a:pt x="285" y="213"/>
                </a:lnTo>
                <a:lnTo>
                  <a:pt x="290" y="216"/>
                </a:lnTo>
                <a:lnTo>
                  <a:pt x="296" y="216"/>
                </a:lnTo>
                <a:lnTo>
                  <a:pt x="298" y="218"/>
                </a:lnTo>
                <a:lnTo>
                  <a:pt x="296" y="220"/>
                </a:lnTo>
                <a:lnTo>
                  <a:pt x="294" y="220"/>
                </a:lnTo>
                <a:lnTo>
                  <a:pt x="290" y="216"/>
                </a:lnTo>
                <a:lnTo>
                  <a:pt x="285" y="220"/>
                </a:lnTo>
                <a:lnTo>
                  <a:pt x="285" y="224"/>
                </a:lnTo>
                <a:lnTo>
                  <a:pt x="292" y="226"/>
                </a:lnTo>
                <a:lnTo>
                  <a:pt x="294" y="226"/>
                </a:lnTo>
                <a:lnTo>
                  <a:pt x="292" y="231"/>
                </a:lnTo>
                <a:lnTo>
                  <a:pt x="285" y="231"/>
                </a:lnTo>
                <a:lnTo>
                  <a:pt x="285" y="233"/>
                </a:lnTo>
                <a:lnTo>
                  <a:pt x="285" y="235"/>
                </a:lnTo>
                <a:lnTo>
                  <a:pt x="285" y="237"/>
                </a:lnTo>
                <a:lnTo>
                  <a:pt x="283" y="237"/>
                </a:lnTo>
                <a:lnTo>
                  <a:pt x="283" y="235"/>
                </a:lnTo>
                <a:lnTo>
                  <a:pt x="281" y="235"/>
                </a:lnTo>
                <a:lnTo>
                  <a:pt x="279" y="233"/>
                </a:lnTo>
                <a:lnTo>
                  <a:pt x="277" y="235"/>
                </a:lnTo>
                <a:lnTo>
                  <a:pt x="279" y="237"/>
                </a:lnTo>
                <a:lnTo>
                  <a:pt x="281" y="241"/>
                </a:lnTo>
                <a:lnTo>
                  <a:pt x="279" y="248"/>
                </a:lnTo>
                <a:lnTo>
                  <a:pt x="281" y="250"/>
                </a:lnTo>
                <a:lnTo>
                  <a:pt x="285" y="252"/>
                </a:lnTo>
                <a:lnTo>
                  <a:pt x="285" y="257"/>
                </a:lnTo>
                <a:lnTo>
                  <a:pt x="283" y="257"/>
                </a:lnTo>
                <a:lnTo>
                  <a:pt x="281" y="257"/>
                </a:lnTo>
                <a:lnTo>
                  <a:pt x="279" y="257"/>
                </a:lnTo>
                <a:lnTo>
                  <a:pt x="277" y="257"/>
                </a:lnTo>
                <a:lnTo>
                  <a:pt x="275" y="257"/>
                </a:lnTo>
                <a:lnTo>
                  <a:pt x="275" y="261"/>
                </a:lnTo>
                <a:lnTo>
                  <a:pt x="275" y="263"/>
                </a:lnTo>
                <a:lnTo>
                  <a:pt x="277" y="263"/>
                </a:lnTo>
                <a:lnTo>
                  <a:pt x="281" y="261"/>
                </a:lnTo>
                <a:lnTo>
                  <a:pt x="281" y="263"/>
                </a:lnTo>
                <a:lnTo>
                  <a:pt x="281" y="265"/>
                </a:lnTo>
                <a:lnTo>
                  <a:pt x="279" y="265"/>
                </a:lnTo>
                <a:lnTo>
                  <a:pt x="277" y="265"/>
                </a:lnTo>
                <a:lnTo>
                  <a:pt x="270" y="261"/>
                </a:lnTo>
                <a:lnTo>
                  <a:pt x="268" y="263"/>
                </a:lnTo>
                <a:lnTo>
                  <a:pt x="268" y="265"/>
                </a:lnTo>
                <a:lnTo>
                  <a:pt x="275" y="267"/>
                </a:lnTo>
                <a:lnTo>
                  <a:pt x="275" y="270"/>
                </a:lnTo>
                <a:lnTo>
                  <a:pt x="275" y="276"/>
                </a:lnTo>
                <a:lnTo>
                  <a:pt x="270" y="276"/>
                </a:lnTo>
                <a:lnTo>
                  <a:pt x="268" y="274"/>
                </a:lnTo>
                <a:lnTo>
                  <a:pt x="268" y="278"/>
                </a:lnTo>
                <a:lnTo>
                  <a:pt x="270" y="280"/>
                </a:lnTo>
                <a:lnTo>
                  <a:pt x="268" y="285"/>
                </a:lnTo>
                <a:lnTo>
                  <a:pt x="268" y="287"/>
                </a:lnTo>
                <a:lnTo>
                  <a:pt x="270" y="287"/>
                </a:lnTo>
                <a:lnTo>
                  <a:pt x="275" y="285"/>
                </a:lnTo>
                <a:lnTo>
                  <a:pt x="270" y="280"/>
                </a:lnTo>
                <a:lnTo>
                  <a:pt x="275" y="280"/>
                </a:lnTo>
                <a:lnTo>
                  <a:pt x="277" y="283"/>
                </a:lnTo>
                <a:lnTo>
                  <a:pt x="277" y="285"/>
                </a:lnTo>
                <a:lnTo>
                  <a:pt x="277" y="287"/>
                </a:lnTo>
                <a:lnTo>
                  <a:pt x="270" y="291"/>
                </a:lnTo>
                <a:lnTo>
                  <a:pt x="270" y="293"/>
                </a:lnTo>
                <a:lnTo>
                  <a:pt x="277" y="293"/>
                </a:lnTo>
                <a:lnTo>
                  <a:pt x="279" y="291"/>
                </a:lnTo>
                <a:lnTo>
                  <a:pt x="279" y="285"/>
                </a:lnTo>
                <a:lnTo>
                  <a:pt x="281" y="285"/>
                </a:lnTo>
                <a:lnTo>
                  <a:pt x="281" y="287"/>
                </a:lnTo>
                <a:lnTo>
                  <a:pt x="281" y="291"/>
                </a:lnTo>
                <a:lnTo>
                  <a:pt x="279" y="291"/>
                </a:lnTo>
                <a:lnTo>
                  <a:pt x="277" y="295"/>
                </a:lnTo>
                <a:lnTo>
                  <a:pt x="277" y="298"/>
                </a:lnTo>
                <a:lnTo>
                  <a:pt x="279" y="302"/>
                </a:lnTo>
                <a:lnTo>
                  <a:pt x="279" y="306"/>
                </a:lnTo>
                <a:lnTo>
                  <a:pt x="281" y="300"/>
                </a:lnTo>
                <a:lnTo>
                  <a:pt x="283" y="300"/>
                </a:lnTo>
                <a:lnTo>
                  <a:pt x="283" y="302"/>
                </a:lnTo>
                <a:lnTo>
                  <a:pt x="283" y="306"/>
                </a:lnTo>
                <a:lnTo>
                  <a:pt x="281" y="308"/>
                </a:lnTo>
                <a:lnTo>
                  <a:pt x="281" y="313"/>
                </a:lnTo>
                <a:lnTo>
                  <a:pt x="281" y="315"/>
                </a:lnTo>
                <a:lnTo>
                  <a:pt x="279" y="315"/>
                </a:lnTo>
                <a:lnTo>
                  <a:pt x="275" y="315"/>
                </a:lnTo>
                <a:lnTo>
                  <a:pt x="270" y="315"/>
                </a:lnTo>
                <a:lnTo>
                  <a:pt x="275" y="317"/>
                </a:lnTo>
                <a:lnTo>
                  <a:pt x="277" y="319"/>
                </a:lnTo>
                <a:lnTo>
                  <a:pt x="279" y="324"/>
                </a:lnTo>
                <a:lnTo>
                  <a:pt x="279" y="326"/>
                </a:lnTo>
                <a:lnTo>
                  <a:pt x="277" y="326"/>
                </a:lnTo>
                <a:lnTo>
                  <a:pt x="277" y="328"/>
                </a:lnTo>
                <a:lnTo>
                  <a:pt x="268" y="328"/>
                </a:lnTo>
                <a:lnTo>
                  <a:pt x="253" y="328"/>
                </a:lnTo>
                <a:lnTo>
                  <a:pt x="203" y="330"/>
                </a:lnTo>
                <a:lnTo>
                  <a:pt x="154" y="332"/>
                </a:lnTo>
                <a:lnTo>
                  <a:pt x="134" y="332"/>
                </a:lnTo>
                <a:lnTo>
                  <a:pt x="115" y="332"/>
                </a:lnTo>
                <a:lnTo>
                  <a:pt x="95" y="332"/>
                </a:lnTo>
                <a:lnTo>
                  <a:pt x="93" y="332"/>
                </a:lnTo>
                <a:lnTo>
                  <a:pt x="70" y="334"/>
                </a:lnTo>
                <a:lnTo>
                  <a:pt x="50" y="334"/>
                </a:lnTo>
                <a:lnTo>
                  <a:pt x="50" y="311"/>
                </a:lnTo>
                <a:lnTo>
                  <a:pt x="50" y="285"/>
                </a:lnTo>
                <a:lnTo>
                  <a:pt x="48" y="283"/>
                </a:lnTo>
                <a:lnTo>
                  <a:pt x="46" y="283"/>
                </a:lnTo>
                <a:lnTo>
                  <a:pt x="39" y="283"/>
                </a:lnTo>
                <a:lnTo>
                  <a:pt x="39" y="280"/>
                </a:lnTo>
                <a:lnTo>
                  <a:pt x="37" y="283"/>
                </a:lnTo>
                <a:lnTo>
                  <a:pt x="37" y="285"/>
                </a:lnTo>
                <a:lnTo>
                  <a:pt x="35" y="285"/>
                </a:lnTo>
                <a:lnTo>
                  <a:pt x="35" y="283"/>
                </a:lnTo>
                <a:lnTo>
                  <a:pt x="35" y="280"/>
                </a:lnTo>
                <a:lnTo>
                  <a:pt x="33" y="285"/>
                </a:lnTo>
                <a:lnTo>
                  <a:pt x="33" y="283"/>
                </a:lnTo>
                <a:lnTo>
                  <a:pt x="31" y="283"/>
                </a:lnTo>
                <a:lnTo>
                  <a:pt x="31" y="285"/>
                </a:lnTo>
                <a:lnTo>
                  <a:pt x="28" y="283"/>
                </a:lnTo>
                <a:lnTo>
                  <a:pt x="24" y="285"/>
                </a:lnTo>
                <a:lnTo>
                  <a:pt x="22" y="285"/>
                </a:lnTo>
                <a:lnTo>
                  <a:pt x="24" y="283"/>
                </a:lnTo>
                <a:lnTo>
                  <a:pt x="22" y="283"/>
                </a:lnTo>
                <a:lnTo>
                  <a:pt x="20" y="283"/>
                </a:lnTo>
                <a:lnTo>
                  <a:pt x="20" y="280"/>
                </a:lnTo>
                <a:lnTo>
                  <a:pt x="18" y="280"/>
                </a:lnTo>
                <a:lnTo>
                  <a:pt x="20" y="280"/>
                </a:lnTo>
                <a:lnTo>
                  <a:pt x="20" y="278"/>
                </a:lnTo>
                <a:lnTo>
                  <a:pt x="16" y="278"/>
                </a:lnTo>
                <a:lnTo>
                  <a:pt x="16" y="250"/>
                </a:lnTo>
                <a:lnTo>
                  <a:pt x="16" y="226"/>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82" name="Freeform 115">
            <a:extLst>
              <a:ext uri="{FF2B5EF4-FFF2-40B4-BE49-F238E27FC236}">
                <a16:creationId xmlns:a16="http://schemas.microsoft.com/office/drawing/2014/main" id="{1E9582FD-736E-4233-AFFF-B8C9FA44A0E8}"/>
              </a:ext>
            </a:extLst>
          </p:cNvPr>
          <p:cNvSpPr>
            <a:spLocks/>
          </p:cNvSpPr>
          <p:nvPr>
            <p:custDataLst>
              <p:tags r:id="rId106"/>
            </p:custDataLst>
          </p:nvPr>
        </p:nvSpPr>
        <p:spPr bwMode="auto">
          <a:xfrm>
            <a:off x="6414198" y="5056411"/>
            <a:ext cx="850496" cy="801991"/>
          </a:xfrm>
          <a:custGeom>
            <a:avLst/>
            <a:gdLst>
              <a:gd name="T0" fmla="*/ 2147483647 w 421"/>
              <a:gd name="T1" fmla="*/ 2147483647 h 371"/>
              <a:gd name="T2" fmla="*/ 2147483647 w 421"/>
              <a:gd name="T3" fmla="*/ 2147483647 h 371"/>
              <a:gd name="T4" fmla="*/ 2147483647 w 421"/>
              <a:gd name="T5" fmla="*/ 2147483647 h 371"/>
              <a:gd name="T6" fmla="*/ 2147483647 w 421"/>
              <a:gd name="T7" fmla="*/ 2147483647 h 371"/>
              <a:gd name="T8" fmla="*/ 2147483647 w 421"/>
              <a:gd name="T9" fmla="*/ 2147483647 h 371"/>
              <a:gd name="T10" fmla="*/ 2147483647 w 421"/>
              <a:gd name="T11" fmla="*/ 2147483647 h 371"/>
              <a:gd name="T12" fmla="*/ 2147483647 w 421"/>
              <a:gd name="T13" fmla="*/ 2147483647 h 371"/>
              <a:gd name="T14" fmla="*/ 2147483647 w 421"/>
              <a:gd name="T15" fmla="*/ 2147483647 h 371"/>
              <a:gd name="T16" fmla="*/ 2147483647 w 421"/>
              <a:gd name="T17" fmla="*/ 2147483647 h 371"/>
              <a:gd name="T18" fmla="*/ 2147483647 w 421"/>
              <a:gd name="T19" fmla="*/ 2147483647 h 371"/>
              <a:gd name="T20" fmla="*/ 2147483647 w 421"/>
              <a:gd name="T21" fmla="*/ 2147483647 h 371"/>
              <a:gd name="T22" fmla="*/ 2147483647 w 421"/>
              <a:gd name="T23" fmla="*/ 2147483647 h 371"/>
              <a:gd name="T24" fmla="*/ 2147483647 w 421"/>
              <a:gd name="T25" fmla="*/ 2147483647 h 371"/>
              <a:gd name="T26" fmla="*/ 2147483647 w 421"/>
              <a:gd name="T27" fmla="*/ 2147483647 h 371"/>
              <a:gd name="T28" fmla="*/ 2147483647 w 421"/>
              <a:gd name="T29" fmla="*/ 2147483647 h 371"/>
              <a:gd name="T30" fmla="*/ 2147483647 w 421"/>
              <a:gd name="T31" fmla="*/ 0 h 371"/>
              <a:gd name="T32" fmla="*/ 2147483647 w 421"/>
              <a:gd name="T33" fmla="*/ 2147483647 h 371"/>
              <a:gd name="T34" fmla="*/ 2147483647 w 421"/>
              <a:gd name="T35" fmla="*/ 2147483647 h 371"/>
              <a:gd name="T36" fmla="*/ 2147483647 w 421"/>
              <a:gd name="T37" fmla="*/ 2147483647 h 371"/>
              <a:gd name="T38" fmla="*/ 2147483647 w 421"/>
              <a:gd name="T39" fmla="*/ 2147483647 h 371"/>
              <a:gd name="T40" fmla="*/ 2147483647 w 421"/>
              <a:gd name="T41" fmla="*/ 2147483647 h 371"/>
              <a:gd name="T42" fmla="*/ 2147483647 w 421"/>
              <a:gd name="T43" fmla="*/ 2147483647 h 371"/>
              <a:gd name="T44" fmla="*/ 2147483647 w 421"/>
              <a:gd name="T45" fmla="*/ 2147483647 h 371"/>
              <a:gd name="T46" fmla="*/ 2147483647 w 421"/>
              <a:gd name="T47" fmla="*/ 2147483647 h 371"/>
              <a:gd name="T48" fmla="*/ 2147483647 w 421"/>
              <a:gd name="T49" fmla="*/ 2147483647 h 371"/>
              <a:gd name="T50" fmla="*/ 2147483647 w 421"/>
              <a:gd name="T51" fmla="*/ 2147483647 h 371"/>
              <a:gd name="T52" fmla="*/ 2147483647 w 421"/>
              <a:gd name="T53" fmla="*/ 2147483647 h 371"/>
              <a:gd name="T54" fmla="*/ 2147483647 w 421"/>
              <a:gd name="T55" fmla="*/ 2147483647 h 371"/>
              <a:gd name="T56" fmla="*/ 2147483647 w 421"/>
              <a:gd name="T57" fmla="*/ 2147483647 h 371"/>
              <a:gd name="T58" fmla="*/ 2147483647 w 421"/>
              <a:gd name="T59" fmla="*/ 2147483647 h 371"/>
              <a:gd name="T60" fmla="*/ 2147483647 w 421"/>
              <a:gd name="T61" fmla="*/ 2147483647 h 371"/>
              <a:gd name="T62" fmla="*/ 2147483647 w 421"/>
              <a:gd name="T63" fmla="*/ 2147483647 h 371"/>
              <a:gd name="T64" fmla="*/ 2147483647 w 421"/>
              <a:gd name="T65" fmla="*/ 2147483647 h 371"/>
              <a:gd name="T66" fmla="*/ 2147483647 w 421"/>
              <a:gd name="T67" fmla="*/ 2147483647 h 371"/>
              <a:gd name="T68" fmla="*/ 2147483647 w 421"/>
              <a:gd name="T69" fmla="*/ 2147483647 h 371"/>
              <a:gd name="T70" fmla="*/ 2147483647 w 421"/>
              <a:gd name="T71" fmla="*/ 2147483647 h 371"/>
              <a:gd name="T72" fmla="*/ 2147483647 w 421"/>
              <a:gd name="T73" fmla="*/ 2147483647 h 371"/>
              <a:gd name="T74" fmla="*/ 2147483647 w 421"/>
              <a:gd name="T75" fmla="*/ 2147483647 h 371"/>
              <a:gd name="T76" fmla="*/ 2147483647 w 421"/>
              <a:gd name="T77" fmla="*/ 2147483647 h 371"/>
              <a:gd name="T78" fmla="*/ 2147483647 w 421"/>
              <a:gd name="T79" fmla="*/ 2147483647 h 371"/>
              <a:gd name="T80" fmla="*/ 2147483647 w 421"/>
              <a:gd name="T81" fmla="*/ 2147483647 h 371"/>
              <a:gd name="T82" fmla="*/ 2147483647 w 421"/>
              <a:gd name="T83" fmla="*/ 2147483647 h 371"/>
              <a:gd name="T84" fmla="*/ 2147483647 w 421"/>
              <a:gd name="T85" fmla="*/ 2147483647 h 371"/>
              <a:gd name="T86" fmla="*/ 2147483647 w 421"/>
              <a:gd name="T87" fmla="*/ 2147483647 h 371"/>
              <a:gd name="T88" fmla="*/ 2147483647 w 421"/>
              <a:gd name="T89" fmla="*/ 2147483647 h 371"/>
              <a:gd name="T90" fmla="*/ 2147483647 w 421"/>
              <a:gd name="T91" fmla="*/ 2147483647 h 371"/>
              <a:gd name="T92" fmla="*/ 2147483647 w 421"/>
              <a:gd name="T93" fmla="*/ 2147483647 h 371"/>
              <a:gd name="T94" fmla="*/ 2147483647 w 421"/>
              <a:gd name="T95" fmla="*/ 2147483647 h 371"/>
              <a:gd name="T96" fmla="*/ 2147483647 w 421"/>
              <a:gd name="T97" fmla="*/ 2147483647 h 371"/>
              <a:gd name="T98" fmla="*/ 2147483647 w 421"/>
              <a:gd name="T99" fmla="*/ 2147483647 h 371"/>
              <a:gd name="T100" fmla="*/ 2147483647 w 421"/>
              <a:gd name="T101" fmla="*/ 2147483647 h 371"/>
              <a:gd name="T102" fmla="*/ 2147483647 w 421"/>
              <a:gd name="T103" fmla="*/ 2147483647 h 371"/>
              <a:gd name="T104" fmla="*/ 2147483647 w 421"/>
              <a:gd name="T105" fmla="*/ 2147483647 h 371"/>
              <a:gd name="T106" fmla="*/ 2147483647 w 421"/>
              <a:gd name="T107" fmla="*/ 2147483647 h 371"/>
              <a:gd name="T108" fmla="*/ 2147483647 w 421"/>
              <a:gd name="T109" fmla="*/ 2147483647 h 371"/>
              <a:gd name="T110" fmla="*/ 2147483647 w 421"/>
              <a:gd name="T111" fmla="*/ 2147483647 h 371"/>
              <a:gd name="T112" fmla="*/ 2147483647 w 421"/>
              <a:gd name="T113" fmla="*/ 2147483647 h 371"/>
              <a:gd name="T114" fmla="*/ 2147483647 w 421"/>
              <a:gd name="T115" fmla="*/ 2147483647 h 371"/>
              <a:gd name="T116" fmla="*/ 2147483647 w 421"/>
              <a:gd name="T117" fmla="*/ 2147483647 h 371"/>
              <a:gd name="T118" fmla="*/ 2147483647 w 421"/>
              <a:gd name="T119" fmla="*/ 2147483647 h 371"/>
              <a:gd name="T120" fmla="*/ 2147483647 w 421"/>
              <a:gd name="T121" fmla="*/ 2147483647 h 371"/>
              <a:gd name="T122" fmla="*/ 2147483647 w 421"/>
              <a:gd name="T123" fmla="*/ 2147483647 h 3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1"/>
              <a:gd name="T187" fmla="*/ 0 h 371"/>
              <a:gd name="T188" fmla="*/ 421 w 421"/>
              <a:gd name="T189" fmla="*/ 371 h 3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1" h="371">
                <a:moveTo>
                  <a:pt x="32" y="265"/>
                </a:moveTo>
                <a:lnTo>
                  <a:pt x="35" y="261"/>
                </a:lnTo>
                <a:lnTo>
                  <a:pt x="32" y="261"/>
                </a:lnTo>
                <a:lnTo>
                  <a:pt x="30" y="257"/>
                </a:lnTo>
                <a:lnTo>
                  <a:pt x="30" y="252"/>
                </a:lnTo>
                <a:lnTo>
                  <a:pt x="30" y="250"/>
                </a:lnTo>
                <a:lnTo>
                  <a:pt x="32" y="248"/>
                </a:lnTo>
                <a:lnTo>
                  <a:pt x="35" y="246"/>
                </a:lnTo>
                <a:lnTo>
                  <a:pt x="32" y="246"/>
                </a:lnTo>
                <a:lnTo>
                  <a:pt x="32" y="244"/>
                </a:lnTo>
                <a:lnTo>
                  <a:pt x="32" y="242"/>
                </a:lnTo>
                <a:lnTo>
                  <a:pt x="32" y="239"/>
                </a:lnTo>
                <a:lnTo>
                  <a:pt x="30" y="239"/>
                </a:lnTo>
                <a:lnTo>
                  <a:pt x="32" y="235"/>
                </a:lnTo>
                <a:lnTo>
                  <a:pt x="32" y="233"/>
                </a:lnTo>
                <a:lnTo>
                  <a:pt x="32" y="231"/>
                </a:lnTo>
                <a:lnTo>
                  <a:pt x="35" y="231"/>
                </a:lnTo>
                <a:lnTo>
                  <a:pt x="32" y="231"/>
                </a:lnTo>
                <a:lnTo>
                  <a:pt x="35" y="231"/>
                </a:lnTo>
                <a:lnTo>
                  <a:pt x="32" y="229"/>
                </a:lnTo>
                <a:lnTo>
                  <a:pt x="35" y="229"/>
                </a:lnTo>
                <a:lnTo>
                  <a:pt x="35" y="227"/>
                </a:lnTo>
                <a:lnTo>
                  <a:pt x="39" y="224"/>
                </a:lnTo>
                <a:lnTo>
                  <a:pt x="39" y="220"/>
                </a:lnTo>
                <a:lnTo>
                  <a:pt x="39" y="218"/>
                </a:lnTo>
                <a:lnTo>
                  <a:pt x="43" y="216"/>
                </a:lnTo>
                <a:lnTo>
                  <a:pt x="43" y="214"/>
                </a:lnTo>
                <a:lnTo>
                  <a:pt x="45" y="211"/>
                </a:lnTo>
                <a:lnTo>
                  <a:pt x="45" y="209"/>
                </a:lnTo>
                <a:lnTo>
                  <a:pt x="43" y="209"/>
                </a:lnTo>
                <a:lnTo>
                  <a:pt x="45" y="209"/>
                </a:lnTo>
                <a:lnTo>
                  <a:pt x="45" y="207"/>
                </a:lnTo>
                <a:lnTo>
                  <a:pt x="43" y="207"/>
                </a:lnTo>
                <a:lnTo>
                  <a:pt x="43" y="203"/>
                </a:lnTo>
                <a:lnTo>
                  <a:pt x="45" y="203"/>
                </a:lnTo>
                <a:lnTo>
                  <a:pt x="45" y="201"/>
                </a:lnTo>
                <a:lnTo>
                  <a:pt x="48" y="201"/>
                </a:lnTo>
                <a:lnTo>
                  <a:pt x="45" y="198"/>
                </a:lnTo>
                <a:lnTo>
                  <a:pt x="45" y="196"/>
                </a:lnTo>
                <a:lnTo>
                  <a:pt x="43" y="196"/>
                </a:lnTo>
                <a:lnTo>
                  <a:pt x="43" y="194"/>
                </a:lnTo>
                <a:lnTo>
                  <a:pt x="45" y="194"/>
                </a:lnTo>
                <a:lnTo>
                  <a:pt x="48" y="192"/>
                </a:lnTo>
                <a:lnTo>
                  <a:pt x="45" y="188"/>
                </a:lnTo>
                <a:lnTo>
                  <a:pt x="48" y="185"/>
                </a:lnTo>
                <a:lnTo>
                  <a:pt x="45" y="185"/>
                </a:lnTo>
                <a:lnTo>
                  <a:pt x="43" y="185"/>
                </a:lnTo>
                <a:lnTo>
                  <a:pt x="43" y="183"/>
                </a:lnTo>
                <a:lnTo>
                  <a:pt x="45" y="183"/>
                </a:lnTo>
                <a:lnTo>
                  <a:pt x="45" y="181"/>
                </a:lnTo>
                <a:lnTo>
                  <a:pt x="45" y="179"/>
                </a:lnTo>
                <a:lnTo>
                  <a:pt x="45" y="177"/>
                </a:lnTo>
                <a:lnTo>
                  <a:pt x="43" y="179"/>
                </a:lnTo>
                <a:lnTo>
                  <a:pt x="39" y="179"/>
                </a:lnTo>
                <a:lnTo>
                  <a:pt x="39" y="177"/>
                </a:lnTo>
                <a:lnTo>
                  <a:pt x="39" y="175"/>
                </a:lnTo>
                <a:lnTo>
                  <a:pt x="39" y="170"/>
                </a:lnTo>
                <a:lnTo>
                  <a:pt x="37" y="168"/>
                </a:lnTo>
                <a:lnTo>
                  <a:pt x="35" y="166"/>
                </a:lnTo>
                <a:lnTo>
                  <a:pt x="35" y="168"/>
                </a:lnTo>
                <a:lnTo>
                  <a:pt x="32" y="166"/>
                </a:lnTo>
                <a:lnTo>
                  <a:pt x="32" y="164"/>
                </a:lnTo>
                <a:lnTo>
                  <a:pt x="37" y="160"/>
                </a:lnTo>
                <a:lnTo>
                  <a:pt x="35" y="160"/>
                </a:lnTo>
                <a:lnTo>
                  <a:pt x="35" y="155"/>
                </a:lnTo>
                <a:lnTo>
                  <a:pt x="32" y="155"/>
                </a:lnTo>
                <a:lnTo>
                  <a:pt x="32" y="153"/>
                </a:lnTo>
                <a:lnTo>
                  <a:pt x="30" y="153"/>
                </a:lnTo>
                <a:lnTo>
                  <a:pt x="32" y="151"/>
                </a:lnTo>
                <a:lnTo>
                  <a:pt x="30" y="151"/>
                </a:lnTo>
                <a:lnTo>
                  <a:pt x="28" y="149"/>
                </a:lnTo>
                <a:lnTo>
                  <a:pt x="30" y="149"/>
                </a:lnTo>
                <a:lnTo>
                  <a:pt x="30" y="147"/>
                </a:lnTo>
                <a:lnTo>
                  <a:pt x="28" y="147"/>
                </a:lnTo>
                <a:lnTo>
                  <a:pt x="28" y="144"/>
                </a:lnTo>
                <a:lnTo>
                  <a:pt x="24" y="147"/>
                </a:lnTo>
                <a:lnTo>
                  <a:pt x="24" y="144"/>
                </a:lnTo>
                <a:lnTo>
                  <a:pt x="22" y="144"/>
                </a:lnTo>
                <a:lnTo>
                  <a:pt x="22" y="142"/>
                </a:lnTo>
                <a:lnTo>
                  <a:pt x="20" y="138"/>
                </a:lnTo>
                <a:lnTo>
                  <a:pt x="20" y="136"/>
                </a:lnTo>
                <a:lnTo>
                  <a:pt x="22" y="136"/>
                </a:lnTo>
                <a:lnTo>
                  <a:pt x="22" y="134"/>
                </a:lnTo>
                <a:lnTo>
                  <a:pt x="22" y="132"/>
                </a:lnTo>
                <a:lnTo>
                  <a:pt x="22" y="129"/>
                </a:lnTo>
                <a:lnTo>
                  <a:pt x="22" y="127"/>
                </a:lnTo>
                <a:lnTo>
                  <a:pt x="20" y="125"/>
                </a:lnTo>
                <a:lnTo>
                  <a:pt x="20" y="121"/>
                </a:lnTo>
                <a:lnTo>
                  <a:pt x="20" y="119"/>
                </a:lnTo>
                <a:lnTo>
                  <a:pt x="17" y="119"/>
                </a:lnTo>
                <a:lnTo>
                  <a:pt x="15" y="116"/>
                </a:lnTo>
                <a:lnTo>
                  <a:pt x="15" y="114"/>
                </a:lnTo>
                <a:lnTo>
                  <a:pt x="15" y="112"/>
                </a:lnTo>
                <a:lnTo>
                  <a:pt x="13" y="112"/>
                </a:lnTo>
                <a:lnTo>
                  <a:pt x="13" y="110"/>
                </a:lnTo>
                <a:lnTo>
                  <a:pt x="7" y="110"/>
                </a:lnTo>
                <a:lnTo>
                  <a:pt x="7" y="106"/>
                </a:lnTo>
                <a:lnTo>
                  <a:pt x="4" y="103"/>
                </a:lnTo>
                <a:lnTo>
                  <a:pt x="2" y="101"/>
                </a:lnTo>
                <a:lnTo>
                  <a:pt x="2" y="84"/>
                </a:lnTo>
                <a:lnTo>
                  <a:pt x="2" y="67"/>
                </a:lnTo>
                <a:lnTo>
                  <a:pt x="2" y="37"/>
                </a:lnTo>
                <a:lnTo>
                  <a:pt x="0" y="19"/>
                </a:lnTo>
                <a:lnTo>
                  <a:pt x="0" y="6"/>
                </a:lnTo>
                <a:lnTo>
                  <a:pt x="20" y="6"/>
                </a:lnTo>
                <a:lnTo>
                  <a:pt x="43" y="4"/>
                </a:lnTo>
                <a:lnTo>
                  <a:pt x="45" y="4"/>
                </a:lnTo>
                <a:lnTo>
                  <a:pt x="65" y="4"/>
                </a:lnTo>
                <a:lnTo>
                  <a:pt x="84" y="4"/>
                </a:lnTo>
                <a:lnTo>
                  <a:pt x="104" y="4"/>
                </a:lnTo>
                <a:lnTo>
                  <a:pt x="153" y="2"/>
                </a:lnTo>
                <a:lnTo>
                  <a:pt x="203" y="0"/>
                </a:lnTo>
                <a:lnTo>
                  <a:pt x="218" y="0"/>
                </a:lnTo>
                <a:lnTo>
                  <a:pt x="227" y="0"/>
                </a:lnTo>
                <a:lnTo>
                  <a:pt x="220" y="6"/>
                </a:lnTo>
                <a:lnTo>
                  <a:pt x="225" y="11"/>
                </a:lnTo>
                <a:lnTo>
                  <a:pt x="227" y="11"/>
                </a:lnTo>
                <a:lnTo>
                  <a:pt x="229" y="6"/>
                </a:lnTo>
                <a:lnTo>
                  <a:pt x="229" y="2"/>
                </a:lnTo>
                <a:lnTo>
                  <a:pt x="231" y="2"/>
                </a:lnTo>
                <a:lnTo>
                  <a:pt x="233" y="4"/>
                </a:lnTo>
                <a:lnTo>
                  <a:pt x="233" y="13"/>
                </a:lnTo>
                <a:lnTo>
                  <a:pt x="229" y="15"/>
                </a:lnTo>
                <a:lnTo>
                  <a:pt x="227" y="21"/>
                </a:lnTo>
                <a:lnTo>
                  <a:pt x="229" y="24"/>
                </a:lnTo>
                <a:lnTo>
                  <a:pt x="231" y="24"/>
                </a:lnTo>
                <a:lnTo>
                  <a:pt x="235" y="28"/>
                </a:lnTo>
                <a:lnTo>
                  <a:pt x="229" y="32"/>
                </a:lnTo>
                <a:lnTo>
                  <a:pt x="229" y="34"/>
                </a:lnTo>
                <a:lnTo>
                  <a:pt x="231" y="37"/>
                </a:lnTo>
                <a:lnTo>
                  <a:pt x="235" y="37"/>
                </a:lnTo>
                <a:lnTo>
                  <a:pt x="240" y="34"/>
                </a:lnTo>
                <a:lnTo>
                  <a:pt x="240" y="32"/>
                </a:lnTo>
                <a:lnTo>
                  <a:pt x="242" y="34"/>
                </a:lnTo>
                <a:lnTo>
                  <a:pt x="240" y="39"/>
                </a:lnTo>
                <a:lnTo>
                  <a:pt x="235" y="39"/>
                </a:lnTo>
                <a:lnTo>
                  <a:pt x="233" y="43"/>
                </a:lnTo>
                <a:lnTo>
                  <a:pt x="235" y="43"/>
                </a:lnTo>
                <a:lnTo>
                  <a:pt x="242" y="45"/>
                </a:lnTo>
                <a:lnTo>
                  <a:pt x="242" y="47"/>
                </a:lnTo>
                <a:lnTo>
                  <a:pt x="240" y="47"/>
                </a:lnTo>
                <a:lnTo>
                  <a:pt x="233" y="43"/>
                </a:lnTo>
                <a:lnTo>
                  <a:pt x="231" y="45"/>
                </a:lnTo>
                <a:lnTo>
                  <a:pt x="231" y="47"/>
                </a:lnTo>
                <a:lnTo>
                  <a:pt x="235" y="52"/>
                </a:lnTo>
                <a:lnTo>
                  <a:pt x="240" y="52"/>
                </a:lnTo>
                <a:lnTo>
                  <a:pt x="242" y="52"/>
                </a:lnTo>
                <a:lnTo>
                  <a:pt x="244" y="52"/>
                </a:lnTo>
                <a:lnTo>
                  <a:pt x="244" y="54"/>
                </a:lnTo>
                <a:lnTo>
                  <a:pt x="242" y="56"/>
                </a:lnTo>
                <a:lnTo>
                  <a:pt x="242" y="60"/>
                </a:lnTo>
                <a:lnTo>
                  <a:pt x="244" y="60"/>
                </a:lnTo>
                <a:lnTo>
                  <a:pt x="248" y="60"/>
                </a:lnTo>
                <a:lnTo>
                  <a:pt x="251" y="56"/>
                </a:lnTo>
                <a:lnTo>
                  <a:pt x="248" y="65"/>
                </a:lnTo>
                <a:lnTo>
                  <a:pt x="244" y="65"/>
                </a:lnTo>
                <a:lnTo>
                  <a:pt x="244" y="67"/>
                </a:lnTo>
                <a:lnTo>
                  <a:pt x="244" y="71"/>
                </a:lnTo>
                <a:lnTo>
                  <a:pt x="240" y="69"/>
                </a:lnTo>
                <a:lnTo>
                  <a:pt x="235" y="71"/>
                </a:lnTo>
                <a:lnTo>
                  <a:pt x="233" y="73"/>
                </a:lnTo>
                <a:lnTo>
                  <a:pt x="233" y="71"/>
                </a:lnTo>
                <a:lnTo>
                  <a:pt x="229" y="73"/>
                </a:lnTo>
                <a:lnTo>
                  <a:pt x="229" y="78"/>
                </a:lnTo>
                <a:lnTo>
                  <a:pt x="231" y="80"/>
                </a:lnTo>
                <a:lnTo>
                  <a:pt x="233" y="82"/>
                </a:lnTo>
                <a:lnTo>
                  <a:pt x="235" y="80"/>
                </a:lnTo>
                <a:lnTo>
                  <a:pt x="240" y="82"/>
                </a:lnTo>
                <a:lnTo>
                  <a:pt x="240" y="80"/>
                </a:lnTo>
                <a:lnTo>
                  <a:pt x="240" y="78"/>
                </a:lnTo>
                <a:lnTo>
                  <a:pt x="242" y="78"/>
                </a:lnTo>
                <a:lnTo>
                  <a:pt x="242" y="82"/>
                </a:lnTo>
                <a:lnTo>
                  <a:pt x="240" y="84"/>
                </a:lnTo>
                <a:lnTo>
                  <a:pt x="235" y="84"/>
                </a:lnTo>
                <a:lnTo>
                  <a:pt x="240" y="86"/>
                </a:lnTo>
                <a:lnTo>
                  <a:pt x="235" y="88"/>
                </a:lnTo>
                <a:lnTo>
                  <a:pt x="233" y="84"/>
                </a:lnTo>
                <a:lnTo>
                  <a:pt x="231" y="86"/>
                </a:lnTo>
                <a:lnTo>
                  <a:pt x="235" y="88"/>
                </a:lnTo>
                <a:lnTo>
                  <a:pt x="240" y="88"/>
                </a:lnTo>
                <a:lnTo>
                  <a:pt x="240" y="93"/>
                </a:lnTo>
                <a:lnTo>
                  <a:pt x="233" y="95"/>
                </a:lnTo>
                <a:lnTo>
                  <a:pt x="231" y="95"/>
                </a:lnTo>
                <a:lnTo>
                  <a:pt x="229" y="101"/>
                </a:lnTo>
                <a:lnTo>
                  <a:pt x="225" y="106"/>
                </a:lnTo>
                <a:lnTo>
                  <a:pt x="227" y="110"/>
                </a:lnTo>
                <a:lnTo>
                  <a:pt x="225" y="112"/>
                </a:lnTo>
                <a:lnTo>
                  <a:pt x="220" y="110"/>
                </a:lnTo>
                <a:lnTo>
                  <a:pt x="220" y="106"/>
                </a:lnTo>
                <a:lnTo>
                  <a:pt x="218" y="106"/>
                </a:lnTo>
                <a:lnTo>
                  <a:pt x="218" y="110"/>
                </a:lnTo>
                <a:lnTo>
                  <a:pt x="216" y="114"/>
                </a:lnTo>
                <a:lnTo>
                  <a:pt x="216" y="116"/>
                </a:lnTo>
                <a:lnTo>
                  <a:pt x="218" y="116"/>
                </a:lnTo>
                <a:lnTo>
                  <a:pt x="225" y="114"/>
                </a:lnTo>
                <a:lnTo>
                  <a:pt x="225" y="116"/>
                </a:lnTo>
                <a:lnTo>
                  <a:pt x="220" y="116"/>
                </a:lnTo>
                <a:lnTo>
                  <a:pt x="218" y="116"/>
                </a:lnTo>
                <a:lnTo>
                  <a:pt x="216" y="116"/>
                </a:lnTo>
                <a:lnTo>
                  <a:pt x="214" y="121"/>
                </a:lnTo>
                <a:lnTo>
                  <a:pt x="214" y="127"/>
                </a:lnTo>
                <a:lnTo>
                  <a:pt x="214" y="129"/>
                </a:lnTo>
                <a:lnTo>
                  <a:pt x="210" y="129"/>
                </a:lnTo>
                <a:lnTo>
                  <a:pt x="207" y="127"/>
                </a:lnTo>
                <a:lnTo>
                  <a:pt x="203" y="129"/>
                </a:lnTo>
                <a:lnTo>
                  <a:pt x="203" y="132"/>
                </a:lnTo>
                <a:lnTo>
                  <a:pt x="207" y="132"/>
                </a:lnTo>
                <a:lnTo>
                  <a:pt x="212" y="132"/>
                </a:lnTo>
                <a:lnTo>
                  <a:pt x="214" y="134"/>
                </a:lnTo>
                <a:lnTo>
                  <a:pt x="212" y="136"/>
                </a:lnTo>
                <a:lnTo>
                  <a:pt x="210" y="136"/>
                </a:lnTo>
                <a:lnTo>
                  <a:pt x="207" y="138"/>
                </a:lnTo>
                <a:lnTo>
                  <a:pt x="207" y="147"/>
                </a:lnTo>
                <a:lnTo>
                  <a:pt x="210" y="149"/>
                </a:lnTo>
                <a:lnTo>
                  <a:pt x="210" y="151"/>
                </a:lnTo>
                <a:lnTo>
                  <a:pt x="210" y="153"/>
                </a:lnTo>
                <a:lnTo>
                  <a:pt x="207" y="153"/>
                </a:lnTo>
                <a:lnTo>
                  <a:pt x="203" y="151"/>
                </a:lnTo>
                <a:lnTo>
                  <a:pt x="203" y="149"/>
                </a:lnTo>
                <a:lnTo>
                  <a:pt x="201" y="149"/>
                </a:lnTo>
                <a:lnTo>
                  <a:pt x="201" y="151"/>
                </a:lnTo>
                <a:lnTo>
                  <a:pt x="203" y="153"/>
                </a:lnTo>
                <a:lnTo>
                  <a:pt x="203" y="155"/>
                </a:lnTo>
                <a:lnTo>
                  <a:pt x="207" y="160"/>
                </a:lnTo>
                <a:lnTo>
                  <a:pt x="207" y="162"/>
                </a:lnTo>
                <a:lnTo>
                  <a:pt x="201" y="164"/>
                </a:lnTo>
                <a:lnTo>
                  <a:pt x="197" y="164"/>
                </a:lnTo>
                <a:lnTo>
                  <a:pt x="197" y="166"/>
                </a:lnTo>
                <a:lnTo>
                  <a:pt x="199" y="168"/>
                </a:lnTo>
                <a:lnTo>
                  <a:pt x="201" y="170"/>
                </a:lnTo>
                <a:lnTo>
                  <a:pt x="199" y="177"/>
                </a:lnTo>
                <a:lnTo>
                  <a:pt x="203" y="181"/>
                </a:lnTo>
                <a:lnTo>
                  <a:pt x="203" y="183"/>
                </a:lnTo>
                <a:lnTo>
                  <a:pt x="201" y="185"/>
                </a:lnTo>
                <a:lnTo>
                  <a:pt x="199" y="188"/>
                </a:lnTo>
                <a:lnTo>
                  <a:pt x="233" y="185"/>
                </a:lnTo>
                <a:lnTo>
                  <a:pt x="244" y="185"/>
                </a:lnTo>
                <a:lnTo>
                  <a:pt x="261" y="185"/>
                </a:lnTo>
                <a:lnTo>
                  <a:pt x="283" y="183"/>
                </a:lnTo>
                <a:lnTo>
                  <a:pt x="285" y="183"/>
                </a:lnTo>
                <a:lnTo>
                  <a:pt x="300" y="183"/>
                </a:lnTo>
                <a:lnTo>
                  <a:pt x="309" y="181"/>
                </a:lnTo>
                <a:lnTo>
                  <a:pt x="341" y="181"/>
                </a:lnTo>
                <a:lnTo>
                  <a:pt x="350" y="179"/>
                </a:lnTo>
                <a:lnTo>
                  <a:pt x="350" y="181"/>
                </a:lnTo>
                <a:lnTo>
                  <a:pt x="350" y="183"/>
                </a:lnTo>
                <a:lnTo>
                  <a:pt x="348" y="185"/>
                </a:lnTo>
                <a:lnTo>
                  <a:pt x="350" y="185"/>
                </a:lnTo>
                <a:lnTo>
                  <a:pt x="348" y="188"/>
                </a:lnTo>
                <a:lnTo>
                  <a:pt x="348" y="194"/>
                </a:lnTo>
                <a:lnTo>
                  <a:pt x="346" y="194"/>
                </a:lnTo>
                <a:lnTo>
                  <a:pt x="348" y="196"/>
                </a:lnTo>
                <a:lnTo>
                  <a:pt x="346" y="196"/>
                </a:lnTo>
                <a:lnTo>
                  <a:pt x="346" y="198"/>
                </a:lnTo>
                <a:lnTo>
                  <a:pt x="343" y="201"/>
                </a:lnTo>
                <a:lnTo>
                  <a:pt x="346" y="203"/>
                </a:lnTo>
                <a:lnTo>
                  <a:pt x="343" y="203"/>
                </a:lnTo>
                <a:lnTo>
                  <a:pt x="343" y="207"/>
                </a:lnTo>
                <a:lnTo>
                  <a:pt x="343" y="209"/>
                </a:lnTo>
                <a:lnTo>
                  <a:pt x="343" y="211"/>
                </a:lnTo>
                <a:lnTo>
                  <a:pt x="346" y="214"/>
                </a:lnTo>
                <a:lnTo>
                  <a:pt x="346" y="216"/>
                </a:lnTo>
                <a:lnTo>
                  <a:pt x="348" y="220"/>
                </a:lnTo>
                <a:lnTo>
                  <a:pt x="348" y="224"/>
                </a:lnTo>
                <a:lnTo>
                  <a:pt x="350" y="227"/>
                </a:lnTo>
                <a:lnTo>
                  <a:pt x="354" y="227"/>
                </a:lnTo>
                <a:lnTo>
                  <a:pt x="356" y="229"/>
                </a:lnTo>
                <a:lnTo>
                  <a:pt x="358" y="231"/>
                </a:lnTo>
                <a:lnTo>
                  <a:pt x="358" y="235"/>
                </a:lnTo>
                <a:lnTo>
                  <a:pt x="361" y="239"/>
                </a:lnTo>
                <a:lnTo>
                  <a:pt x="361" y="242"/>
                </a:lnTo>
                <a:lnTo>
                  <a:pt x="363" y="242"/>
                </a:lnTo>
                <a:lnTo>
                  <a:pt x="363" y="244"/>
                </a:lnTo>
                <a:lnTo>
                  <a:pt x="361" y="244"/>
                </a:lnTo>
                <a:lnTo>
                  <a:pt x="361" y="246"/>
                </a:lnTo>
                <a:lnTo>
                  <a:pt x="363" y="246"/>
                </a:lnTo>
                <a:lnTo>
                  <a:pt x="363" y="248"/>
                </a:lnTo>
                <a:lnTo>
                  <a:pt x="365" y="250"/>
                </a:lnTo>
                <a:lnTo>
                  <a:pt x="367" y="252"/>
                </a:lnTo>
                <a:lnTo>
                  <a:pt x="356" y="257"/>
                </a:lnTo>
                <a:lnTo>
                  <a:pt x="354" y="250"/>
                </a:lnTo>
                <a:lnTo>
                  <a:pt x="339" y="248"/>
                </a:lnTo>
                <a:lnTo>
                  <a:pt x="326" y="242"/>
                </a:lnTo>
                <a:lnTo>
                  <a:pt x="313" y="242"/>
                </a:lnTo>
                <a:lnTo>
                  <a:pt x="309" y="248"/>
                </a:lnTo>
                <a:lnTo>
                  <a:pt x="298" y="261"/>
                </a:lnTo>
                <a:lnTo>
                  <a:pt x="300" y="268"/>
                </a:lnTo>
                <a:lnTo>
                  <a:pt x="311" y="270"/>
                </a:lnTo>
                <a:lnTo>
                  <a:pt x="326" y="270"/>
                </a:lnTo>
                <a:lnTo>
                  <a:pt x="335" y="270"/>
                </a:lnTo>
                <a:lnTo>
                  <a:pt x="343" y="261"/>
                </a:lnTo>
                <a:lnTo>
                  <a:pt x="350" y="263"/>
                </a:lnTo>
                <a:lnTo>
                  <a:pt x="356" y="259"/>
                </a:lnTo>
                <a:lnTo>
                  <a:pt x="356" y="263"/>
                </a:lnTo>
                <a:lnTo>
                  <a:pt x="361" y="259"/>
                </a:lnTo>
                <a:lnTo>
                  <a:pt x="363" y="261"/>
                </a:lnTo>
                <a:lnTo>
                  <a:pt x="358" y="268"/>
                </a:lnTo>
                <a:lnTo>
                  <a:pt x="346" y="274"/>
                </a:lnTo>
                <a:lnTo>
                  <a:pt x="348" y="278"/>
                </a:lnTo>
                <a:lnTo>
                  <a:pt x="358" y="276"/>
                </a:lnTo>
                <a:lnTo>
                  <a:pt x="358" y="283"/>
                </a:lnTo>
                <a:lnTo>
                  <a:pt x="365" y="285"/>
                </a:lnTo>
                <a:lnTo>
                  <a:pt x="367" y="283"/>
                </a:lnTo>
                <a:lnTo>
                  <a:pt x="367" y="270"/>
                </a:lnTo>
                <a:lnTo>
                  <a:pt x="380" y="268"/>
                </a:lnTo>
                <a:lnTo>
                  <a:pt x="378" y="274"/>
                </a:lnTo>
                <a:lnTo>
                  <a:pt x="384" y="276"/>
                </a:lnTo>
                <a:lnTo>
                  <a:pt x="380" y="278"/>
                </a:lnTo>
                <a:lnTo>
                  <a:pt x="382" y="285"/>
                </a:lnTo>
                <a:lnTo>
                  <a:pt x="382" y="289"/>
                </a:lnTo>
                <a:lnTo>
                  <a:pt x="389" y="291"/>
                </a:lnTo>
                <a:lnTo>
                  <a:pt x="382" y="293"/>
                </a:lnTo>
                <a:lnTo>
                  <a:pt x="378" y="289"/>
                </a:lnTo>
                <a:lnTo>
                  <a:pt x="374" y="296"/>
                </a:lnTo>
                <a:lnTo>
                  <a:pt x="363" y="296"/>
                </a:lnTo>
                <a:lnTo>
                  <a:pt x="367" y="300"/>
                </a:lnTo>
                <a:lnTo>
                  <a:pt x="376" y="302"/>
                </a:lnTo>
                <a:lnTo>
                  <a:pt x="378" y="306"/>
                </a:lnTo>
                <a:lnTo>
                  <a:pt x="367" y="302"/>
                </a:lnTo>
                <a:lnTo>
                  <a:pt x="363" y="300"/>
                </a:lnTo>
                <a:lnTo>
                  <a:pt x="361" y="300"/>
                </a:lnTo>
                <a:lnTo>
                  <a:pt x="365" y="309"/>
                </a:lnTo>
                <a:lnTo>
                  <a:pt x="358" y="306"/>
                </a:lnTo>
                <a:lnTo>
                  <a:pt x="358" y="309"/>
                </a:lnTo>
                <a:lnTo>
                  <a:pt x="358" y="311"/>
                </a:lnTo>
                <a:lnTo>
                  <a:pt x="356" y="311"/>
                </a:lnTo>
                <a:lnTo>
                  <a:pt x="376" y="321"/>
                </a:lnTo>
                <a:lnTo>
                  <a:pt x="376" y="328"/>
                </a:lnTo>
                <a:lnTo>
                  <a:pt x="389" y="328"/>
                </a:lnTo>
                <a:lnTo>
                  <a:pt x="393" y="332"/>
                </a:lnTo>
                <a:lnTo>
                  <a:pt x="397" y="330"/>
                </a:lnTo>
                <a:lnTo>
                  <a:pt x="397" y="334"/>
                </a:lnTo>
                <a:lnTo>
                  <a:pt x="404" y="330"/>
                </a:lnTo>
                <a:lnTo>
                  <a:pt x="410" y="334"/>
                </a:lnTo>
                <a:lnTo>
                  <a:pt x="410" y="343"/>
                </a:lnTo>
                <a:lnTo>
                  <a:pt x="417" y="343"/>
                </a:lnTo>
                <a:lnTo>
                  <a:pt x="412" y="347"/>
                </a:lnTo>
                <a:lnTo>
                  <a:pt x="421" y="347"/>
                </a:lnTo>
                <a:lnTo>
                  <a:pt x="417" y="356"/>
                </a:lnTo>
                <a:lnTo>
                  <a:pt x="410" y="350"/>
                </a:lnTo>
                <a:lnTo>
                  <a:pt x="412" y="356"/>
                </a:lnTo>
                <a:lnTo>
                  <a:pt x="410" y="358"/>
                </a:lnTo>
                <a:lnTo>
                  <a:pt x="410" y="363"/>
                </a:lnTo>
                <a:lnTo>
                  <a:pt x="404" y="354"/>
                </a:lnTo>
                <a:lnTo>
                  <a:pt x="400" y="358"/>
                </a:lnTo>
                <a:lnTo>
                  <a:pt x="391" y="371"/>
                </a:lnTo>
                <a:lnTo>
                  <a:pt x="400" y="350"/>
                </a:lnTo>
                <a:lnTo>
                  <a:pt x="395" y="347"/>
                </a:lnTo>
                <a:lnTo>
                  <a:pt x="393" y="356"/>
                </a:lnTo>
                <a:lnTo>
                  <a:pt x="391" y="356"/>
                </a:lnTo>
                <a:lnTo>
                  <a:pt x="389" y="350"/>
                </a:lnTo>
                <a:lnTo>
                  <a:pt x="382" y="345"/>
                </a:lnTo>
                <a:lnTo>
                  <a:pt x="382" y="341"/>
                </a:lnTo>
                <a:lnTo>
                  <a:pt x="380" y="343"/>
                </a:lnTo>
                <a:lnTo>
                  <a:pt x="371" y="341"/>
                </a:lnTo>
                <a:lnTo>
                  <a:pt x="371" y="334"/>
                </a:lnTo>
                <a:lnTo>
                  <a:pt x="356" y="339"/>
                </a:lnTo>
                <a:lnTo>
                  <a:pt x="358" y="332"/>
                </a:lnTo>
                <a:lnTo>
                  <a:pt x="354" y="328"/>
                </a:lnTo>
                <a:lnTo>
                  <a:pt x="354" y="324"/>
                </a:lnTo>
                <a:lnTo>
                  <a:pt x="341" y="324"/>
                </a:lnTo>
                <a:lnTo>
                  <a:pt x="341" y="321"/>
                </a:lnTo>
                <a:lnTo>
                  <a:pt x="335" y="324"/>
                </a:lnTo>
                <a:lnTo>
                  <a:pt x="328" y="317"/>
                </a:lnTo>
                <a:lnTo>
                  <a:pt x="326" y="317"/>
                </a:lnTo>
                <a:lnTo>
                  <a:pt x="324" y="313"/>
                </a:lnTo>
                <a:lnTo>
                  <a:pt x="322" y="317"/>
                </a:lnTo>
                <a:lnTo>
                  <a:pt x="324" y="324"/>
                </a:lnTo>
                <a:lnTo>
                  <a:pt x="335" y="326"/>
                </a:lnTo>
                <a:lnTo>
                  <a:pt x="333" y="328"/>
                </a:lnTo>
                <a:lnTo>
                  <a:pt x="335" y="332"/>
                </a:lnTo>
                <a:lnTo>
                  <a:pt x="333" y="334"/>
                </a:lnTo>
                <a:lnTo>
                  <a:pt x="335" y="341"/>
                </a:lnTo>
                <a:lnTo>
                  <a:pt x="328" y="339"/>
                </a:lnTo>
                <a:lnTo>
                  <a:pt x="333" y="347"/>
                </a:lnTo>
                <a:lnTo>
                  <a:pt x="335" y="347"/>
                </a:lnTo>
                <a:lnTo>
                  <a:pt x="333" y="354"/>
                </a:lnTo>
                <a:lnTo>
                  <a:pt x="322" y="360"/>
                </a:lnTo>
                <a:lnTo>
                  <a:pt x="317" y="354"/>
                </a:lnTo>
                <a:lnTo>
                  <a:pt x="317" y="345"/>
                </a:lnTo>
                <a:lnTo>
                  <a:pt x="315" y="343"/>
                </a:lnTo>
                <a:lnTo>
                  <a:pt x="315" y="347"/>
                </a:lnTo>
                <a:lnTo>
                  <a:pt x="311" y="341"/>
                </a:lnTo>
                <a:lnTo>
                  <a:pt x="307" y="345"/>
                </a:lnTo>
                <a:lnTo>
                  <a:pt x="307" y="341"/>
                </a:lnTo>
                <a:lnTo>
                  <a:pt x="300" y="339"/>
                </a:lnTo>
                <a:lnTo>
                  <a:pt x="298" y="343"/>
                </a:lnTo>
                <a:lnTo>
                  <a:pt x="289" y="343"/>
                </a:lnTo>
                <a:lnTo>
                  <a:pt x="292" y="347"/>
                </a:lnTo>
                <a:lnTo>
                  <a:pt x="289" y="350"/>
                </a:lnTo>
                <a:lnTo>
                  <a:pt x="285" y="347"/>
                </a:lnTo>
                <a:lnTo>
                  <a:pt x="285" y="356"/>
                </a:lnTo>
                <a:lnTo>
                  <a:pt x="283" y="356"/>
                </a:lnTo>
                <a:lnTo>
                  <a:pt x="283" y="358"/>
                </a:lnTo>
                <a:lnTo>
                  <a:pt x="276" y="360"/>
                </a:lnTo>
                <a:lnTo>
                  <a:pt x="276" y="358"/>
                </a:lnTo>
                <a:lnTo>
                  <a:pt x="270" y="356"/>
                </a:lnTo>
                <a:lnTo>
                  <a:pt x="266" y="360"/>
                </a:lnTo>
                <a:lnTo>
                  <a:pt x="263" y="356"/>
                </a:lnTo>
                <a:lnTo>
                  <a:pt x="274" y="350"/>
                </a:lnTo>
                <a:lnTo>
                  <a:pt x="270" y="347"/>
                </a:lnTo>
                <a:lnTo>
                  <a:pt x="266" y="347"/>
                </a:lnTo>
                <a:lnTo>
                  <a:pt x="261" y="341"/>
                </a:lnTo>
                <a:lnTo>
                  <a:pt x="251" y="341"/>
                </a:lnTo>
                <a:lnTo>
                  <a:pt x="248" y="343"/>
                </a:lnTo>
                <a:lnTo>
                  <a:pt x="240" y="334"/>
                </a:lnTo>
                <a:lnTo>
                  <a:pt x="233" y="328"/>
                </a:lnTo>
                <a:lnTo>
                  <a:pt x="220" y="324"/>
                </a:lnTo>
                <a:lnTo>
                  <a:pt x="212" y="326"/>
                </a:lnTo>
                <a:lnTo>
                  <a:pt x="212" y="315"/>
                </a:lnTo>
                <a:lnTo>
                  <a:pt x="203" y="315"/>
                </a:lnTo>
                <a:lnTo>
                  <a:pt x="203" y="302"/>
                </a:lnTo>
                <a:lnTo>
                  <a:pt x="184" y="309"/>
                </a:lnTo>
                <a:lnTo>
                  <a:pt x="184" y="306"/>
                </a:lnTo>
                <a:lnTo>
                  <a:pt x="186" y="300"/>
                </a:lnTo>
                <a:lnTo>
                  <a:pt x="186" y="302"/>
                </a:lnTo>
                <a:lnTo>
                  <a:pt x="186" y="298"/>
                </a:lnTo>
                <a:lnTo>
                  <a:pt x="177" y="298"/>
                </a:lnTo>
                <a:lnTo>
                  <a:pt x="175" y="300"/>
                </a:lnTo>
                <a:lnTo>
                  <a:pt x="162" y="309"/>
                </a:lnTo>
                <a:lnTo>
                  <a:pt x="162" y="306"/>
                </a:lnTo>
                <a:lnTo>
                  <a:pt x="156" y="306"/>
                </a:lnTo>
                <a:lnTo>
                  <a:pt x="168" y="321"/>
                </a:lnTo>
                <a:lnTo>
                  <a:pt x="149" y="328"/>
                </a:lnTo>
                <a:lnTo>
                  <a:pt x="125" y="324"/>
                </a:lnTo>
                <a:lnTo>
                  <a:pt x="71" y="306"/>
                </a:lnTo>
                <a:lnTo>
                  <a:pt x="32" y="311"/>
                </a:lnTo>
                <a:lnTo>
                  <a:pt x="28" y="313"/>
                </a:lnTo>
                <a:lnTo>
                  <a:pt x="17" y="306"/>
                </a:lnTo>
                <a:lnTo>
                  <a:pt x="28" y="302"/>
                </a:lnTo>
                <a:lnTo>
                  <a:pt x="30" y="289"/>
                </a:lnTo>
                <a:lnTo>
                  <a:pt x="32" y="283"/>
                </a:lnTo>
                <a:lnTo>
                  <a:pt x="32" y="278"/>
                </a:lnTo>
                <a:lnTo>
                  <a:pt x="35" y="278"/>
                </a:lnTo>
                <a:lnTo>
                  <a:pt x="35" y="276"/>
                </a:lnTo>
                <a:lnTo>
                  <a:pt x="35" y="274"/>
                </a:lnTo>
                <a:lnTo>
                  <a:pt x="35" y="270"/>
                </a:lnTo>
                <a:lnTo>
                  <a:pt x="32" y="270"/>
                </a:lnTo>
                <a:lnTo>
                  <a:pt x="32" y="268"/>
                </a:lnTo>
                <a:lnTo>
                  <a:pt x="32" y="265"/>
                </a:lnTo>
                <a:close/>
              </a:path>
            </a:pathLst>
          </a:custGeom>
          <a:noFill/>
          <a:ln w="9525">
            <a:noFill/>
            <a:round/>
            <a:headEnd/>
            <a:tailEnd/>
          </a:ln>
        </p:spPr>
        <p:txBody>
          <a:bodyPr/>
          <a:lstStyle/>
          <a:p>
            <a:endParaRPr lang="en-US" dirty="0">
              <a:solidFill>
                <a:prstClr val="black"/>
              </a:solidFill>
            </a:endParaRPr>
          </a:p>
        </p:txBody>
      </p:sp>
      <p:sp>
        <p:nvSpPr>
          <p:cNvPr id="283" name="Freeform 116">
            <a:extLst>
              <a:ext uri="{FF2B5EF4-FFF2-40B4-BE49-F238E27FC236}">
                <a16:creationId xmlns:a16="http://schemas.microsoft.com/office/drawing/2014/main" id="{793E1AB5-F172-4FD7-9523-6FD03AB551CB}"/>
              </a:ext>
            </a:extLst>
          </p:cNvPr>
          <p:cNvSpPr>
            <a:spLocks/>
          </p:cNvSpPr>
          <p:nvPr>
            <p:custDataLst>
              <p:tags r:id="rId107"/>
            </p:custDataLst>
          </p:nvPr>
        </p:nvSpPr>
        <p:spPr bwMode="auto">
          <a:xfrm>
            <a:off x="6407618" y="5053083"/>
            <a:ext cx="850496" cy="801991"/>
          </a:xfrm>
          <a:custGeom>
            <a:avLst/>
            <a:gdLst>
              <a:gd name="T0" fmla="*/ 2147483647 w 421"/>
              <a:gd name="T1" fmla="*/ 2147483647 h 371"/>
              <a:gd name="T2" fmla="*/ 2147483647 w 421"/>
              <a:gd name="T3" fmla="*/ 2147483647 h 371"/>
              <a:gd name="T4" fmla="*/ 2147483647 w 421"/>
              <a:gd name="T5" fmla="*/ 2147483647 h 371"/>
              <a:gd name="T6" fmla="*/ 2147483647 w 421"/>
              <a:gd name="T7" fmla="*/ 2147483647 h 371"/>
              <a:gd name="T8" fmla="*/ 2147483647 w 421"/>
              <a:gd name="T9" fmla="*/ 2147483647 h 371"/>
              <a:gd name="T10" fmla="*/ 2147483647 w 421"/>
              <a:gd name="T11" fmla="*/ 2147483647 h 371"/>
              <a:gd name="T12" fmla="*/ 2147483647 w 421"/>
              <a:gd name="T13" fmla="*/ 2147483647 h 371"/>
              <a:gd name="T14" fmla="*/ 2147483647 w 421"/>
              <a:gd name="T15" fmla="*/ 2147483647 h 371"/>
              <a:gd name="T16" fmla="*/ 2147483647 w 421"/>
              <a:gd name="T17" fmla="*/ 2147483647 h 371"/>
              <a:gd name="T18" fmla="*/ 2147483647 w 421"/>
              <a:gd name="T19" fmla="*/ 2147483647 h 371"/>
              <a:gd name="T20" fmla="*/ 2147483647 w 421"/>
              <a:gd name="T21" fmla="*/ 2147483647 h 371"/>
              <a:gd name="T22" fmla="*/ 2147483647 w 421"/>
              <a:gd name="T23" fmla="*/ 2147483647 h 371"/>
              <a:gd name="T24" fmla="*/ 2147483647 w 421"/>
              <a:gd name="T25" fmla="*/ 2147483647 h 371"/>
              <a:gd name="T26" fmla="*/ 2147483647 w 421"/>
              <a:gd name="T27" fmla="*/ 2147483647 h 371"/>
              <a:gd name="T28" fmla="*/ 2147483647 w 421"/>
              <a:gd name="T29" fmla="*/ 2147483647 h 371"/>
              <a:gd name="T30" fmla="*/ 2147483647 w 421"/>
              <a:gd name="T31" fmla="*/ 0 h 371"/>
              <a:gd name="T32" fmla="*/ 2147483647 w 421"/>
              <a:gd name="T33" fmla="*/ 2147483647 h 371"/>
              <a:gd name="T34" fmla="*/ 2147483647 w 421"/>
              <a:gd name="T35" fmla="*/ 2147483647 h 371"/>
              <a:gd name="T36" fmla="*/ 2147483647 w 421"/>
              <a:gd name="T37" fmla="*/ 2147483647 h 371"/>
              <a:gd name="T38" fmla="*/ 2147483647 w 421"/>
              <a:gd name="T39" fmla="*/ 2147483647 h 371"/>
              <a:gd name="T40" fmla="*/ 2147483647 w 421"/>
              <a:gd name="T41" fmla="*/ 2147483647 h 371"/>
              <a:gd name="T42" fmla="*/ 2147483647 w 421"/>
              <a:gd name="T43" fmla="*/ 2147483647 h 371"/>
              <a:gd name="T44" fmla="*/ 2147483647 w 421"/>
              <a:gd name="T45" fmla="*/ 2147483647 h 371"/>
              <a:gd name="T46" fmla="*/ 2147483647 w 421"/>
              <a:gd name="T47" fmla="*/ 2147483647 h 371"/>
              <a:gd name="T48" fmla="*/ 2147483647 w 421"/>
              <a:gd name="T49" fmla="*/ 2147483647 h 371"/>
              <a:gd name="T50" fmla="*/ 2147483647 w 421"/>
              <a:gd name="T51" fmla="*/ 2147483647 h 371"/>
              <a:gd name="T52" fmla="*/ 2147483647 w 421"/>
              <a:gd name="T53" fmla="*/ 2147483647 h 371"/>
              <a:gd name="T54" fmla="*/ 2147483647 w 421"/>
              <a:gd name="T55" fmla="*/ 2147483647 h 371"/>
              <a:gd name="T56" fmla="*/ 2147483647 w 421"/>
              <a:gd name="T57" fmla="*/ 2147483647 h 371"/>
              <a:gd name="T58" fmla="*/ 2147483647 w 421"/>
              <a:gd name="T59" fmla="*/ 2147483647 h 371"/>
              <a:gd name="T60" fmla="*/ 2147483647 w 421"/>
              <a:gd name="T61" fmla="*/ 2147483647 h 371"/>
              <a:gd name="T62" fmla="*/ 2147483647 w 421"/>
              <a:gd name="T63" fmla="*/ 2147483647 h 371"/>
              <a:gd name="T64" fmla="*/ 2147483647 w 421"/>
              <a:gd name="T65" fmla="*/ 2147483647 h 371"/>
              <a:gd name="T66" fmla="*/ 2147483647 w 421"/>
              <a:gd name="T67" fmla="*/ 2147483647 h 371"/>
              <a:gd name="T68" fmla="*/ 2147483647 w 421"/>
              <a:gd name="T69" fmla="*/ 2147483647 h 371"/>
              <a:gd name="T70" fmla="*/ 2147483647 w 421"/>
              <a:gd name="T71" fmla="*/ 2147483647 h 371"/>
              <a:gd name="T72" fmla="*/ 2147483647 w 421"/>
              <a:gd name="T73" fmla="*/ 2147483647 h 371"/>
              <a:gd name="T74" fmla="*/ 2147483647 w 421"/>
              <a:gd name="T75" fmla="*/ 2147483647 h 371"/>
              <a:gd name="T76" fmla="*/ 2147483647 w 421"/>
              <a:gd name="T77" fmla="*/ 2147483647 h 371"/>
              <a:gd name="T78" fmla="*/ 2147483647 w 421"/>
              <a:gd name="T79" fmla="*/ 2147483647 h 371"/>
              <a:gd name="T80" fmla="*/ 2147483647 w 421"/>
              <a:gd name="T81" fmla="*/ 2147483647 h 371"/>
              <a:gd name="T82" fmla="*/ 2147483647 w 421"/>
              <a:gd name="T83" fmla="*/ 2147483647 h 371"/>
              <a:gd name="T84" fmla="*/ 2147483647 w 421"/>
              <a:gd name="T85" fmla="*/ 2147483647 h 371"/>
              <a:gd name="T86" fmla="*/ 2147483647 w 421"/>
              <a:gd name="T87" fmla="*/ 2147483647 h 371"/>
              <a:gd name="T88" fmla="*/ 2147483647 w 421"/>
              <a:gd name="T89" fmla="*/ 2147483647 h 371"/>
              <a:gd name="T90" fmla="*/ 2147483647 w 421"/>
              <a:gd name="T91" fmla="*/ 2147483647 h 371"/>
              <a:gd name="T92" fmla="*/ 2147483647 w 421"/>
              <a:gd name="T93" fmla="*/ 2147483647 h 371"/>
              <a:gd name="T94" fmla="*/ 2147483647 w 421"/>
              <a:gd name="T95" fmla="*/ 2147483647 h 371"/>
              <a:gd name="T96" fmla="*/ 2147483647 w 421"/>
              <a:gd name="T97" fmla="*/ 2147483647 h 371"/>
              <a:gd name="T98" fmla="*/ 2147483647 w 421"/>
              <a:gd name="T99" fmla="*/ 2147483647 h 371"/>
              <a:gd name="T100" fmla="*/ 2147483647 w 421"/>
              <a:gd name="T101" fmla="*/ 2147483647 h 371"/>
              <a:gd name="T102" fmla="*/ 2147483647 w 421"/>
              <a:gd name="T103" fmla="*/ 2147483647 h 371"/>
              <a:gd name="T104" fmla="*/ 2147483647 w 421"/>
              <a:gd name="T105" fmla="*/ 2147483647 h 371"/>
              <a:gd name="T106" fmla="*/ 2147483647 w 421"/>
              <a:gd name="T107" fmla="*/ 2147483647 h 371"/>
              <a:gd name="T108" fmla="*/ 2147483647 w 421"/>
              <a:gd name="T109" fmla="*/ 2147483647 h 371"/>
              <a:gd name="T110" fmla="*/ 2147483647 w 421"/>
              <a:gd name="T111" fmla="*/ 2147483647 h 371"/>
              <a:gd name="T112" fmla="*/ 2147483647 w 421"/>
              <a:gd name="T113" fmla="*/ 2147483647 h 371"/>
              <a:gd name="T114" fmla="*/ 2147483647 w 421"/>
              <a:gd name="T115" fmla="*/ 2147483647 h 371"/>
              <a:gd name="T116" fmla="*/ 2147483647 w 421"/>
              <a:gd name="T117" fmla="*/ 2147483647 h 371"/>
              <a:gd name="T118" fmla="*/ 2147483647 w 421"/>
              <a:gd name="T119" fmla="*/ 2147483647 h 371"/>
              <a:gd name="T120" fmla="*/ 2147483647 w 421"/>
              <a:gd name="T121" fmla="*/ 2147483647 h 371"/>
              <a:gd name="T122" fmla="*/ 2147483647 w 421"/>
              <a:gd name="T123" fmla="*/ 2147483647 h 3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1"/>
              <a:gd name="T187" fmla="*/ 0 h 371"/>
              <a:gd name="T188" fmla="*/ 421 w 421"/>
              <a:gd name="T189" fmla="*/ 371 h 3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1" h="371">
                <a:moveTo>
                  <a:pt x="32" y="265"/>
                </a:moveTo>
                <a:lnTo>
                  <a:pt x="35" y="261"/>
                </a:lnTo>
                <a:lnTo>
                  <a:pt x="32" y="261"/>
                </a:lnTo>
                <a:lnTo>
                  <a:pt x="30" y="257"/>
                </a:lnTo>
                <a:lnTo>
                  <a:pt x="30" y="252"/>
                </a:lnTo>
                <a:lnTo>
                  <a:pt x="30" y="250"/>
                </a:lnTo>
                <a:lnTo>
                  <a:pt x="32" y="248"/>
                </a:lnTo>
                <a:lnTo>
                  <a:pt x="35" y="246"/>
                </a:lnTo>
                <a:lnTo>
                  <a:pt x="32" y="246"/>
                </a:lnTo>
                <a:lnTo>
                  <a:pt x="32" y="244"/>
                </a:lnTo>
                <a:lnTo>
                  <a:pt x="32" y="242"/>
                </a:lnTo>
                <a:lnTo>
                  <a:pt x="32" y="239"/>
                </a:lnTo>
                <a:lnTo>
                  <a:pt x="30" y="239"/>
                </a:lnTo>
                <a:lnTo>
                  <a:pt x="32" y="235"/>
                </a:lnTo>
                <a:lnTo>
                  <a:pt x="32" y="233"/>
                </a:lnTo>
                <a:lnTo>
                  <a:pt x="32" y="231"/>
                </a:lnTo>
                <a:lnTo>
                  <a:pt x="35" y="231"/>
                </a:lnTo>
                <a:lnTo>
                  <a:pt x="32" y="231"/>
                </a:lnTo>
                <a:lnTo>
                  <a:pt x="35" y="231"/>
                </a:lnTo>
                <a:lnTo>
                  <a:pt x="32" y="229"/>
                </a:lnTo>
                <a:lnTo>
                  <a:pt x="35" y="229"/>
                </a:lnTo>
                <a:lnTo>
                  <a:pt x="35" y="227"/>
                </a:lnTo>
                <a:lnTo>
                  <a:pt x="39" y="224"/>
                </a:lnTo>
                <a:lnTo>
                  <a:pt x="39" y="220"/>
                </a:lnTo>
                <a:lnTo>
                  <a:pt x="39" y="218"/>
                </a:lnTo>
                <a:lnTo>
                  <a:pt x="43" y="216"/>
                </a:lnTo>
                <a:lnTo>
                  <a:pt x="43" y="214"/>
                </a:lnTo>
                <a:lnTo>
                  <a:pt x="45" y="211"/>
                </a:lnTo>
                <a:lnTo>
                  <a:pt x="45" y="209"/>
                </a:lnTo>
                <a:lnTo>
                  <a:pt x="43" y="209"/>
                </a:lnTo>
                <a:lnTo>
                  <a:pt x="45" y="209"/>
                </a:lnTo>
                <a:lnTo>
                  <a:pt x="45" y="207"/>
                </a:lnTo>
                <a:lnTo>
                  <a:pt x="43" y="207"/>
                </a:lnTo>
                <a:lnTo>
                  <a:pt x="43" y="203"/>
                </a:lnTo>
                <a:lnTo>
                  <a:pt x="45" y="203"/>
                </a:lnTo>
                <a:lnTo>
                  <a:pt x="45" y="201"/>
                </a:lnTo>
                <a:lnTo>
                  <a:pt x="48" y="201"/>
                </a:lnTo>
                <a:lnTo>
                  <a:pt x="45" y="198"/>
                </a:lnTo>
                <a:lnTo>
                  <a:pt x="45" y="196"/>
                </a:lnTo>
                <a:lnTo>
                  <a:pt x="43" y="196"/>
                </a:lnTo>
                <a:lnTo>
                  <a:pt x="43" y="194"/>
                </a:lnTo>
                <a:lnTo>
                  <a:pt x="45" y="194"/>
                </a:lnTo>
                <a:lnTo>
                  <a:pt x="48" y="192"/>
                </a:lnTo>
                <a:lnTo>
                  <a:pt x="45" y="188"/>
                </a:lnTo>
                <a:lnTo>
                  <a:pt x="48" y="185"/>
                </a:lnTo>
                <a:lnTo>
                  <a:pt x="45" y="185"/>
                </a:lnTo>
                <a:lnTo>
                  <a:pt x="43" y="185"/>
                </a:lnTo>
                <a:lnTo>
                  <a:pt x="43" y="183"/>
                </a:lnTo>
                <a:lnTo>
                  <a:pt x="45" y="183"/>
                </a:lnTo>
                <a:lnTo>
                  <a:pt x="45" y="181"/>
                </a:lnTo>
                <a:lnTo>
                  <a:pt x="45" y="179"/>
                </a:lnTo>
                <a:lnTo>
                  <a:pt x="45" y="177"/>
                </a:lnTo>
                <a:lnTo>
                  <a:pt x="43" y="179"/>
                </a:lnTo>
                <a:lnTo>
                  <a:pt x="39" y="179"/>
                </a:lnTo>
                <a:lnTo>
                  <a:pt x="39" y="177"/>
                </a:lnTo>
                <a:lnTo>
                  <a:pt x="39" y="175"/>
                </a:lnTo>
                <a:lnTo>
                  <a:pt x="39" y="170"/>
                </a:lnTo>
                <a:lnTo>
                  <a:pt x="37" y="168"/>
                </a:lnTo>
                <a:lnTo>
                  <a:pt x="35" y="166"/>
                </a:lnTo>
                <a:lnTo>
                  <a:pt x="35" y="168"/>
                </a:lnTo>
                <a:lnTo>
                  <a:pt x="32" y="166"/>
                </a:lnTo>
                <a:lnTo>
                  <a:pt x="32" y="164"/>
                </a:lnTo>
                <a:lnTo>
                  <a:pt x="37" y="160"/>
                </a:lnTo>
                <a:lnTo>
                  <a:pt x="35" y="160"/>
                </a:lnTo>
                <a:lnTo>
                  <a:pt x="35" y="155"/>
                </a:lnTo>
                <a:lnTo>
                  <a:pt x="32" y="155"/>
                </a:lnTo>
                <a:lnTo>
                  <a:pt x="32" y="153"/>
                </a:lnTo>
                <a:lnTo>
                  <a:pt x="30" y="153"/>
                </a:lnTo>
                <a:lnTo>
                  <a:pt x="32" y="151"/>
                </a:lnTo>
                <a:lnTo>
                  <a:pt x="30" y="151"/>
                </a:lnTo>
                <a:lnTo>
                  <a:pt x="28" y="149"/>
                </a:lnTo>
                <a:lnTo>
                  <a:pt x="30" y="149"/>
                </a:lnTo>
                <a:lnTo>
                  <a:pt x="30" y="147"/>
                </a:lnTo>
                <a:lnTo>
                  <a:pt x="28" y="147"/>
                </a:lnTo>
                <a:lnTo>
                  <a:pt x="28" y="144"/>
                </a:lnTo>
                <a:lnTo>
                  <a:pt x="24" y="147"/>
                </a:lnTo>
                <a:lnTo>
                  <a:pt x="24" y="144"/>
                </a:lnTo>
                <a:lnTo>
                  <a:pt x="22" y="144"/>
                </a:lnTo>
                <a:lnTo>
                  <a:pt x="22" y="142"/>
                </a:lnTo>
                <a:lnTo>
                  <a:pt x="20" y="138"/>
                </a:lnTo>
                <a:lnTo>
                  <a:pt x="20" y="136"/>
                </a:lnTo>
                <a:lnTo>
                  <a:pt x="22" y="136"/>
                </a:lnTo>
                <a:lnTo>
                  <a:pt x="22" y="134"/>
                </a:lnTo>
                <a:lnTo>
                  <a:pt x="22" y="132"/>
                </a:lnTo>
                <a:lnTo>
                  <a:pt x="22" y="129"/>
                </a:lnTo>
                <a:lnTo>
                  <a:pt x="22" y="127"/>
                </a:lnTo>
                <a:lnTo>
                  <a:pt x="20" y="125"/>
                </a:lnTo>
                <a:lnTo>
                  <a:pt x="20" y="121"/>
                </a:lnTo>
                <a:lnTo>
                  <a:pt x="20" y="119"/>
                </a:lnTo>
                <a:lnTo>
                  <a:pt x="17" y="119"/>
                </a:lnTo>
                <a:lnTo>
                  <a:pt x="15" y="116"/>
                </a:lnTo>
                <a:lnTo>
                  <a:pt x="15" y="114"/>
                </a:lnTo>
                <a:lnTo>
                  <a:pt x="15" y="112"/>
                </a:lnTo>
                <a:lnTo>
                  <a:pt x="13" y="112"/>
                </a:lnTo>
                <a:lnTo>
                  <a:pt x="13" y="110"/>
                </a:lnTo>
                <a:lnTo>
                  <a:pt x="7" y="110"/>
                </a:lnTo>
                <a:lnTo>
                  <a:pt x="7" y="106"/>
                </a:lnTo>
                <a:lnTo>
                  <a:pt x="4" y="103"/>
                </a:lnTo>
                <a:lnTo>
                  <a:pt x="2" y="101"/>
                </a:lnTo>
                <a:lnTo>
                  <a:pt x="2" y="84"/>
                </a:lnTo>
                <a:lnTo>
                  <a:pt x="2" y="67"/>
                </a:lnTo>
                <a:lnTo>
                  <a:pt x="2" y="37"/>
                </a:lnTo>
                <a:lnTo>
                  <a:pt x="0" y="19"/>
                </a:lnTo>
                <a:lnTo>
                  <a:pt x="0" y="6"/>
                </a:lnTo>
                <a:lnTo>
                  <a:pt x="20" y="6"/>
                </a:lnTo>
                <a:lnTo>
                  <a:pt x="43" y="4"/>
                </a:lnTo>
                <a:lnTo>
                  <a:pt x="45" y="4"/>
                </a:lnTo>
                <a:lnTo>
                  <a:pt x="65" y="4"/>
                </a:lnTo>
                <a:lnTo>
                  <a:pt x="84" y="4"/>
                </a:lnTo>
                <a:lnTo>
                  <a:pt x="104" y="4"/>
                </a:lnTo>
                <a:lnTo>
                  <a:pt x="153" y="2"/>
                </a:lnTo>
                <a:lnTo>
                  <a:pt x="203" y="0"/>
                </a:lnTo>
                <a:lnTo>
                  <a:pt x="218" y="0"/>
                </a:lnTo>
                <a:lnTo>
                  <a:pt x="227" y="0"/>
                </a:lnTo>
                <a:lnTo>
                  <a:pt x="220" y="6"/>
                </a:lnTo>
                <a:lnTo>
                  <a:pt x="225" y="11"/>
                </a:lnTo>
                <a:lnTo>
                  <a:pt x="227" y="11"/>
                </a:lnTo>
                <a:lnTo>
                  <a:pt x="229" y="6"/>
                </a:lnTo>
                <a:lnTo>
                  <a:pt x="229" y="2"/>
                </a:lnTo>
                <a:lnTo>
                  <a:pt x="231" y="2"/>
                </a:lnTo>
                <a:lnTo>
                  <a:pt x="233" y="4"/>
                </a:lnTo>
                <a:lnTo>
                  <a:pt x="233" y="13"/>
                </a:lnTo>
                <a:lnTo>
                  <a:pt x="229" y="15"/>
                </a:lnTo>
                <a:lnTo>
                  <a:pt x="227" y="21"/>
                </a:lnTo>
                <a:lnTo>
                  <a:pt x="229" y="24"/>
                </a:lnTo>
                <a:lnTo>
                  <a:pt x="231" y="24"/>
                </a:lnTo>
                <a:lnTo>
                  <a:pt x="235" y="28"/>
                </a:lnTo>
                <a:lnTo>
                  <a:pt x="229" y="32"/>
                </a:lnTo>
                <a:lnTo>
                  <a:pt x="229" y="34"/>
                </a:lnTo>
                <a:lnTo>
                  <a:pt x="231" y="37"/>
                </a:lnTo>
                <a:lnTo>
                  <a:pt x="235" y="37"/>
                </a:lnTo>
                <a:lnTo>
                  <a:pt x="240" y="34"/>
                </a:lnTo>
                <a:lnTo>
                  <a:pt x="240" y="32"/>
                </a:lnTo>
                <a:lnTo>
                  <a:pt x="242" y="34"/>
                </a:lnTo>
                <a:lnTo>
                  <a:pt x="240" y="39"/>
                </a:lnTo>
                <a:lnTo>
                  <a:pt x="235" y="39"/>
                </a:lnTo>
                <a:lnTo>
                  <a:pt x="233" y="43"/>
                </a:lnTo>
                <a:lnTo>
                  <a:pt x="235" y="43"/>
                </a:lnTo>
                <a:lnTo>
                  <a:pt x="242" y="45"/>
                </a:lnTo>
                <a:lnTo>
                  <a:pt x="242" y="47"/>
                </a:lnTo>
                <a:lnTo>
                  <a:pt x="240" y="47"/>
                </a:lnTo>
                <a:lnTo>
                  <a:pt x="233" y="43"/>
                </a:lnTo>
                <a:lnTo>
                  <a:pt x="231" y="45"/>
                </a:lnTo>
                <a:lnTo>
                  <a:pt x="231" y="47"/>
                </a:lnTo>
                <a:lnTo>
                  <a:pt x="235" y="52"/>
                </a:lnTo>
                <a:lnTo>
                  <a:pt x="240" y="52"/>
                </a:lnTo>
                <a:lnTo>
                  <a:pt x="242" y="52"/>
                </a:lnTo>
                <a:lnTo>
                  <a:pt x="244" y="52"/>
                </a:lnTo>
                <a:lnTo>
                  <a:pt x="244" y="54"/>
                </a:lnTo>
                <a:lnTo>
                  <a:pt x="242" y="56"/>
                </a:lnTo>
                <a:lnTo>
                  <a:pt x="242" y="60"/>
                </a:lnTo>
                <a:lnTo>
                  <a:pt x="244" y="60"/>
                </a:lnTo>
                <a:lnTo>
                  <a:pt x="248" y="60"/>
                </a:lnTo>
                <a:lnTo>
                  <a:pt x="251" y="56"/>
                </a:lnTo>
                <a:lnTo>
                  <a:pt x="248" y="65"/>
                </a:lnTo>
                <a:lnTo>
                  <a:pt x="244" y="65"/>
                </a:lnTo>
                <a:lnTo>
                  <a:pt x="244" y="67"/>
                </a:lnTo>
                <a:lnTo>
                  <a:pt x="244" y="71"/>
                </a:lnTo>
                <a:lnTo>
                  <a:pt x="240" y="69"/>
                </a:lnTo>
                <a:lnTo>
                  <a:pt x="235" y="71"/>
                </a:lnTo>
                <a:lnTo>
                  <a:pt x="233" y="73"/>
                </a:lnTo>
                <a:lnTo>
                  <a:pt x="233" y="71"/>
                </a:lnTo>
                <a:lnTo>
                  <a:pt x="229" y="73"/>
                </a:lnTo>
                <a:lnTo>
                  <a:pt x="229" y="78"/>
                </a:lnTo>
                <a:lnTo>
                  <a:pt x="231" y="80"/>
                </a:lnTo>
                <a:lnTo>
                  <a:pt x="233" y="82"/>
                </a:lnTo>
                <a:lnTo>
                  <a:pt x="235" y="80"/>
                </a:lnTo>
                <a:lnTo>
                  <a:pt x="240" y="82"/>
                </a:lnTo>
                <a:lnTo>
                  <a:pt x="240" y="80"/>
                </a:lnTo>
                <a:lnTo>
                  <a:pt x="240" y="78"/>
                </a:lnTo>
                <a:lnTo>
                  <a:pt x="242" y="78"/>
                </a:lnTo>
                <a:lnTo>
                  <a:pt x="242" y="82"/>
                </a:lnTo>
                <a:lnTo>
                  <a:pt x="240" y="84"/>
                </a:lnTo>
                <a:lnTo>
                  <a:pt x="235" y="84"/>
                </a:lnTo>
                <a:lnTo>
                  <a:pt x="240" y="86"/>
                </a:lnTo>
                <a:lnTo>
                  <a:pt x="235" y="88"/>
                </a:lnTo>
                <a:lnTo>
                  <a:pt x="233" y="84"/>
                </a:lnTo>
                <a:lnTo>
                  <a:pt x="231" y="86"/>
                </a:lnTo>
                <a:lnTo>
                  <a:pt x="235" y="88"/>
                </a:lnTo>
                <a:lnTo>
                  <a:pt x="240" y="88"/>
                </a:lnTo>
                <a:lnTo>
                  <a:pt x="240" y="93"/>
                </a:lnTo>
                <a:lnTo>
                  <a:pt x="233" y="95"/>
                </a:lnTo>
                <a:lnTo>
                  <a:pt x="231" y="95"/>
                </a:lnTo>
                <a:lnTo>
                  <a:pt x="229" y="101"/>
                </a:lnTo>
                <a:lnTo>
                  <a:pt x="225" y="106"/>
                </a:lnTo>
                <a:lnTo>
                  <a:pt x="227" y="110"/>
                </a:lnTo>
                <a:lnTo>
                  <a:pt x="225" y="112"/>
                </a:lnTo>
                <a:lnTo>
                  <a:pt x="220" y="110"/>
                </a:lnTo>
                <a:lnTo>
                  <a:pt x="220" y="106"/>
                </a:lnTo>
                <a:lnTo>
                  <a:pt x="218" y="106"/>
                </a:lnTo>
                <a:lnTo>
                  <a:pt x="218" y="110"/>
                </a:lnTo>
                <a:lnTo>
                  <a:pt x="216" y="114"/>
                </a:lnTo>
                <a:lnTo>
                  <a:pt x="216" y="116"/>
                </a:lnTo>
                <a:lnTo>
                  <a:pt x="218" y="116"/>
                </a:lnTo>
                <a:lnTo>
                  <a:pt x="225" y="114"/>
                </a:lnTo>
                <a:lnTo>
                  <a:pt x="225" y="116"/>
                </a:lnTo>
                <a:lnTo>
                  <a:pt x="220" y="116"/>
                </a:lnTo>
                <a:lnTo>
                  <a:pt x="218" y="116"/>
                </a:lnTo>
                <a:lnTo>
                  <a:pt x="216" y="116"/>
                </a:lnTo>
                <a:lnTo>
                  <a:pt x="214" y="121"/>
                </a:lnTo>
                <a:lnTo>
                  <a:pt x="214" y="127"/>
                </a:lnTo>
                <a:lnTo>
                  <a:pt x="214" y="129"/>
                </a:lnTo>
                <a:lnTo>
                  <a:pt x="210" y="129"/>
                </a:lnTo>
                <a:lnTo>
                  <a:pt x="207" y="127"/>
                </a:lnTo>
                <a:lnTo>
                  <a:pt x="203" y="129"/>
                </a:lnTo>
                <a:lnTo>
                  <a:pt x="203" y="132"/>
                </a:lnTo>
                <a:lnTo>
                  <a:pt x="207" y="132"/>
                </a:lnTo>
                <a:lnTo>
                  <a:pt x="212" y="132"/>
                </a:lnTo>
                <a:lnTo>
                  <a:pt x="214" y="134"/>
                </a:lnTo>
                <a:lnTo>
                  <a:pt x="212" y="136"/>
                </a:lnTo>
                <a:lnTo>
                  <a:pt x="210" y="136"/>
                </a:lnTo>
                <a:lnTo>
                  <a:pt x="207" y="138"/>
                </a:lnTo>
                <a:lnTo>
                  <a:pt x="207" y="147"/>
                </a:lnTo>
                <a:lnTo>
                  <a:pt x="210" y="149"/>
                </a:lnTo>
                <a:lnTo>
                  <a:pt x="210" y="151"/>
                </a:lnTo>
                <a:lnTo>
                  <a:pt x="210" y="153"/>
                </a:lnTo>
                <a:lnTo>
                  <a:pt x="207" y="153"/>
                </a:lnTo>
                <a:lnTo>
                  <a:pt x="203" y="151"/>
                </a:lnTo>
                <a:lnTo>
                  <a:pt x="203" y="149"/>
                </a:lnTo>
                <a:lnTo>
                  <a:pt x="201" y="149"/>
                </a:lnTo>
                <a:lnTo>
                  <a:pt x="201" y="151"/>
                </a:lnTo>
                <a:lnTo>
                  <a:pt x="203" y="153"/>
                </a:lnTo>
                <a:lnTo>
                  <a:pt x="203" y="155"/>
                </a:lnTo>
                <a:lnTo>
                  <a:pt x="207" y="160"/>
                </a:lnTo>
                <a:lnTo>
                  <a:pt x="207" y="162"/>
                </a:lnTo>
                <a:lnTo>
                  <a:pt x="201" y="164"/>
                </a:lnTo>
                <a:lnTo>
                  <a:pt x="197" y="164"/>
                </a:lnTo>
                <a:lnTo>
                  <a:pt x="197" y="166"/>
                </a:lnTo>
                <a:lnTo>
                  <a:pt x="199" y="168"/>
                </a:lnTo>
                <a:lnTo>
                  <a:pt x="201" y="170"/>
                </a:lnTo>
                <a:lnTo>
                  <a:pt x="199" y="177"/>
                </a:lnTo>
                <a:lnTo>
                  <a:pt x="203" y="181"/>
                </a:lnTo>
                <a:lnTo>
                  <a:pt x="203" y="183"/>
                </a:lnTo>
                <a:lnTo>
                  <a:pt x="201" y="185"/>
                </a:lnTo>
                <a:lnTo>
                  <a:pt x="199" y="188"/>
                </a:lnTo>
                <a:lnTo>
                  <a:pt x="233" y="185"/>
                </a:lnTo>
                <a:lnTo>
                  <a:pt x="244" y="185"/>
                </a:lnTo>
                <a:lnTo>
                  <a:pt x="261" y="185"/>
                </a:lnTo>
                <a:lnTo>
                  <a:pt x="283" y="183"/>
                </a:lnTo>
                <a:lnTo>
                  <a:pt x="285" y="183"/>
                </a:lnTo>
                <a:lnTo>
                  <a:pt x="300" y="183"/>
                </a:lnTo>
                <a:lnTo>
                  <a:pt x="309" y="181"/>
                </a:lnTo>
                <a:lnTo>
                  <a:pt x="341" y="181"/>
                </a:lnTo>
                <a:lnTo>
                  <a:pt x="350" y="179"/>
                </a:lnTo>
                <a:lnTo>
                  <a:pt x="350" y="181"/>
                </a:lnTo>
                <a:lnTo>
                  <a:pt x="350" y="183"/>
                </a:lnTo>
                <a:lnTo>
                  <a:pt x="348" y="185"/>
                </a:lnTo>
                <a:lnTo>
                  <a:pt x="350" y="185"/>
                </a:lnTo>
                <a:lnTo>
                  <a:pt x="348" y="188"/>
                </a:lnTo>
                <a:lnTo>
                  <a:pt x="348" y="194"/>
                </a:lnTo>
                <a:lnTo>
                  <a:pt x="346" y="194"/>
                </a:lnTo>
                <a:lnTo>
                  <a:pt x="348" y="196"/>
                </a:lnTo>
                <a:lnTo>
                  <a:pt x="346" y="196"/>
                </a:lnTo>
                <a:lnTo>
                  <a:pt x="346" y="198"/>
                </a:lnTo>
                <a:lnTo>
                  <a:pt x="343" y="201"/>
                </a:lnTo>
                <a:lnTo>
                  <a:pt x="346" y="203"/>
                </a:lnTo>
                <a:lnTo>
                  <a:pt x="343" y="203"/>
                </a:lnTo>
                <a:lnTo>
                  <a:pt x="343" y="207"/>
                </a:lnTo>
                <a:lnTo>
                  <a:pt x="343" y="209"/>
                </a:lnTo>
                <a:lnTo>
                  <a:pt x="343" y="211"/>
                </a:lnTo>
                <a:lnTo>
                  <a:pt x="346" y="214"/>
                </a:lnTo>
                <a:lnTo>
                  <a:pt x="346" y="216"/>
                </a:lnTo>
                <a:lnTo>
                  <a:pt x="348" y="220"/>
                </a:lnTo>
                <a:lnTo>
                  <a:pt x="348" y="224"/>
                </a:lnTo>
                <a:lnTo>
                  <a:pt x="350" y="227"/>
                </a:lnTo>
                <a:lnTo>
                  <a:pt x="354" y="227"/>
                </a:lnTo>
                <a:lnTo>
                  <a:pt x="356" y="229"/>
                </a:lnTo>
                <a:lnTo>
                  <a:pt x="358" y="231"/>
                </a:lnTo>
                <a:lnTo>
                  <a:pt x="358" y="235"/>
                </a:lnTo>
                <a:lnTo>
                  <a:pt x="361" y="239"/>
                </a:lnTo>
                <a:lnTo>
                  <a:pt x="361" y="242"/>
                </a:lnTo>
                <a:lnTo>
                  <a:pt x="363" y="242"/>
                </a:lnTo>
                <a:lnTo>
                  <a:pt x="363" y="244"/>
                </a:lnTo>
                <a:lnTo>
                  <a:pt x="361" y="244"/>
                </a:lnTo>
                <a:lnTo>
                  <a:pt x="361" y="246"/>
                </a:lnTo>
                <a:lnTo>
                  <a:pt x="363" y="246"/>
                </a:lnTo>
                <a:lnTo>
                  <a:pt x="363" y="248"/>
                </a:lnTo>
                <a:lnTo>
                  <a:pt x="365" y="250"/>
                </a:lnTo>
                <a:lnTo>
                  <a:pt x="367" y="252"/>
                </a:lnTo>
                <a:lnTo>
                  <a:pt x="356" y="257"/>
                </a:lnTo>
                <a:lnTo>
                  <a:pt x="354" y="250"/>
                </a:lnTo>
                <a:lnTo>
                  <a:pt x="339" y="248"/>
                </a:lnTo>
                <a:lnTo>
                  <a:pt x="326" y="242"/>
                </a:lnTo>
                <a:lnTo>
                  <a:pt x="313" y="242"/>
                </a:lnTo>
                <a:lnTo>
                  <a:pt x="309" y="248"/>
                </a:lnTo>
                <a:lnTo>
                  <a:pt x="298" y="261"/>
                </a:lnTo>
                <a:lnTo>
                  <a:pt x="300" y="268"/>
                </a:lnTo>
                <a:lnTo>
                  <a:pt x="311" y="270"/>
                </a:lnTo>
                <a:lnTo>
                  <a:pt x="326" y="270"/>
                </a:lnTo>
                <a:lnTo>
                  <a:pt x="335" y="270"/>
                </a:lnTo>
                <a:lnTo>
                  <a:pt x="343" y="261"/>
                </a:lnTo>
                <a:lnTo>
                  <a:pt x="350" y="263"/>
                </a:lnTo>
                <a:lnTo>
                  <a:pt x="356" y="259"/>
                </a:lnTo>
                <a:lnTo>
                  <a:pt x="356" y="263"/>
                </a:lnTo>
                <a:lnTo>
                  <a:pt x="361" y="259"/>
                </a:lnTo>
                <a:lnTo>
                  <a:pt x="363" y="261"/>
                </a:lnTo>
                <a:lnTo>
                  <a:pt x="358" y="268"/>
                </a:lnTo>
                <a:lnTo>
                  <a:pt x="346" y="274"/>
                </a:lnTo>
                <a:lnTo>
                  <a:pt x="348" y="278"/>
                </a:lnTo>
                <a:lnTo>
                  <a:pt x="358" y="276"/>
                </a:lnTo>
                <a:lnTo>
                  <a:pt x="358" y="283"/>
                </a:lnTo>
                <a:lnTo>
                  <a:pt x="365" y="285"/>
                </a:lnTo>
                <a:lnTo>
                  <a:pt x="367" y="283"/>
                </a:lnTo>
                <a:lnTo>
                  <a:pt x="367" y="270"/>
                </a:lnTo>
                <a:lnTo>
                  <a:pt x="380" y="268"/>
                </a:lnTo>
                <a:lnTo>
                  <a:pt x="378" y="274"/>
                </a:lnTo>
                <a:lnTo>
                  <a:pt x="384" y="276"/>
                </a:lnTo>
                <a:lnTo>
                  <a:pt x="380" y="278"/>
                </a:lnTo>
                <a:lnTo>
                  <a:pt x="382" y="285"/>
                </a:lnTo>
                <a:lnTo>
                  <a:pt x="382" y="289"/>
                </a:lnTo>
                <a:lnTo>
                  <a:pt x="389" y="291"/>
                </a:lnTo>
                <a:lnTo>
                  <a:pt x="382" y="293"/>
                </a:lnTo>
                <a:lnTo>
                  <a:pt x="378" y="289"/>
                </a:lnTo>
                <a:lnTo>
                  <a:pt x="374" y="296"/>
                </a:lnTo>
                <a:lnTo>
                  <a:pt x="363" y="296"/>
                </a:lnTo>
                <a:lnTo>
                  <a:pt x="367" y="300"/>
                </a:lnTo>
                <a:lnTo>
                  <a:pt x="376" y="302"/>
                </a:lnTo>
                <a:lnTo>
                  <a:pt x="378" y="306"/>
                </a:lnTo>
                <a:lnTo>
                  <a:pt x="367" y="302"/>
                </a:lnTo>
                <a:lnTo>
                  <a:pt x="363" y="300"/>
                </a:lnTo>
                <a:lnTo>
                  <a:pt x="361" y="300"/>
                </a:lnTo>
                <a:lnTo>
                  <a:pt x="365" y="309"/>
                </a:lnTo>
                <a:lnTo>
                  <a:pt x="358" y="306"/>
                </a:lnTo>
                <a:lnTo>
                  <a:pt x="358" y="309"/>
                </a:lnTo>
                <a:lnTo>
                  <a:pt x="358" y="311"/>
                </a:lnTo>
                <a:lnTo>
                  <a:pt x="356" y="311"/>
                </a:lnTo>
                <a:lnTo>
                  <a:pt x="376" y="321"/>
                </a:lnTo>
                <a:lnTo>
                  <a:pt x="376" y="328"/>
                </a:lnTo>
                <a:lnTo>
                  <a:pt x="389" y="328"/>
                </a:lnTo>
                <a:lnTo>
                  <a:pt x="393" y="332"/>
                </a:lnTo>
                <a:lnTo>
                  <a:pt x="397" y="330"/>
                </a:lnTo>
                <a:lnTo>
                  <a:pt x="397" y="334"/>
                </a:lnTo>
                <a:lnTo>
                  <a:pt x="404" y="330"/>
                </a:lnTo>
                <a:lnTo>
                  <a:pt x="410" y="334"/>
                </a:lnTo>
                <a:lnTo>
                  <a:pt x="410" y="343"/>
                </a:lnTo>
                <a:lnTo>
                  <a:pt x="417" y="343"/>
                </a:lnTo>
                <a:lnTo>
                  <a:pt x="412" y="347"/>
                </a:lnTo>
                <a:lnTo>
                  <a:pt x="421" y="347"/>
                </a:lnTo>
                <a:lnTo>
                  <a:pt x="417" y="356"/>
                </a:lnTo>
                <a:lnTo>
                  <a:pt x="410" y="350"/>
                </a:lnTo>
                <a:lnTo>
                  <a:pt x="412" y="356"/>
                </a:lnTo>
                <a:lnTo>
                  <a:pt x="410" y="358"/>
                </a:lnTo>
                <a:lnTo>
                  <a:pt x="410" y="363"/>
                </a:lnTo>
                <a:lnTo>
                  <a:pt x="404" y="354"/>
                </a:lnTo>
                <a:lnTo>
                  <a:pt x="400" y="358"/>
                </a:lnTo>
                <a:lnTo>
                  <a:pt x="391" y="371"/>
                </a:lnTo>
                <a:lnTo>
                  <a:pt x="400" y="350"/>
                </a:lnTo>
                <a:lnTo>
                  <a:pt x="395" y="347"/>
                </a:lnTo>
                <a:lnTo>
                  <a:pt x="393" y="356"/>
                </a:lnTo>
                <a:lnTo>
                  <a:pt x="391" y="356"/>
                </a:lnTo>
                <a:lnTo>
                  <a:pt x="389" y="350"/>
                </a:lnTo>
                <a:lnTo>
                  <a:pt x="382" y="345"/>
                </a:lnTo>
                <a:lnTo>
                  <a:pt x="382" y="341"/>
                </a:lnTo>
                <a:lnTo>
                  <a:pt x="380" y="343"/>
                </a:lnTo>
                <a:lnTo>
                  <a:pt x="371" y="341"/>
                </a:lnTo>
                <a:lnTo>
                  <a:pt x="371" y="334"/>
                </a:lnTo>
                <a:lnTo>
                  <a:pt x="356" y="339"/>
                </a:lnTo>
                <a:lnTo>
                  <a:pt x="358" y="332"/>
                </a:lnTo>
                <a:lnTo>
                  <a:pt x="354" y="328"/>
                </a:lnTo>
                <a:lnTo>
                  <a:pt x="354" y="324"/>
                </a:lnTo>
                <a:lnTo>
                  <a:pt x="341" y="324"/>
                </a:lnTo>
                <a:lnTo>
                  <a:pt x="341" y="321"/>
                </a:lnTo>
                <a:lnTo>
                  <a:pt x="335" y="324"/>
                </a:lnTo>
                <a:lnTo>
                  <a:pt x="328" y="317"/>
                </a:lnTo>
                <a:lnTo>
                  <a:pt x="326" y="317"/>
                </a:lnTo>
                <a:lnTo>
                  <a:pt x="324" y="313"/>
                </a:lnTo>
                <a:lnTo>
                  <a:pt x="322" y="317"/>
                </a:lnTo>
                <a:lnTo>
                  <a:pt x="324" y="324"/>
                </a:lnTo>
                <a:lnTo>
                  <a:pt x="335" y="326"/>
                </a:lnTo>
                <a:lnTo>
                  <a:pt x="333" y="328"/>
                </a:lnTo>
                <a:lnTo>
                  <a:pt x="335" y="332"/>
                </a:lnTo>
                <a:lnTo>
                  <a:pt x="333" y="334"/>
                </a:lnTo>
                <a:lnTo>
                  <a:pt x="335" y="341"/>
                </a:lnTo>
                <a:lnTo>
                  <a:pt x="328" y="339"/>
                </a:lnTo>
                <a:lnTo>
                  <a:pt x="333" y="347"/>
                </a:lnTo>
                <a:lnTo>
                  <a:pt x="335" y="347"/>
                </a:lnTo>
                <a:lnTo>
                  <a:pt x="333" y="354"/>
                </a:lnTo>
                <a:lnTo>
                  <a:pt x="322" y="360"/>
                </a:lnTo>
                <a:lnTo>
                  <a:pt x="317" y="354"/>
                </a:lnTo>
                <a:lnTo>
                  <a:pt x="317" y="345"/>
                </a:lnTo>
                <a:lnTo>
                  <a:pt x="315" y="343"/>
                </a:lnTo>
                <a:lnTo>
                  <a:pt x="315" y="347"/>
                </a:lnTo>
                <a:lnTo>
                  <a:pt x="311" y="341"/>
                </a:lnTo>
                <a:lnTo>
                  <a:pt x="307" y="345"/>
                </a:lnTo>
                <a:lnTo>
                  <a:pt x="307" y="341"/>
                </a:lnTo>
                <a:lnTo>
                  <a:pt x="300" y="339"/>
                </a:lnTo>
                <a:lnTo>
                  <a:pt x="298" y="343"/>
                </a:lnTo>
                <a:lnTo>
                  <a:pt x="289" y="343"/>
                </a:lnTo>
                <a:lnTo>
                  <a:pt x="292" y="347"/>
                </a:lnTo>
                <a:lnTo>
                  <a:pt x="289" y="350"/>
                </a:lnTo>
                <a:lnTo>
                  <a:pt x="285" y="347"/>
                </a:lnTo>
                <a:lnTo>
                  <a:pt x="285" y="356"/>
                </a:lnTo>
                <a:lnTo>
                  <a:pt x="283" y="356"/>
                </a:lnTo>
                <a:lnTo>
                  <a:pt x="283" y="358"/>
                </a:lnTo>
                <a:lnTo>
                  <a:pt x="276" y="360"/>
                </a:lnTo>
                <a:lnTo>
                  <a:pt x="276" y="358"/>
                </a:lnTo>
                <a:lnTo>
                  <a:pt x="270" y="356"/>
                </a:lnTo>
                <a:lnTo>
                  <a:pt x="266" y="360"/>
                </a:lnTo>
                <a:lnTo>
                  <a:pt x="263" y="356"/>
                </a:lnTo>
                <a:lnTo>
                  <a:pt x="274" y="350"/>
                </a:lnTo>
                <a:lnTo>
                  <a:pt x="270" y="347"/>
                </a:lnTo>
                <a:lnTo>
                  <a:pt x="266" y="347"/>
                </a:lnTo>
                <a:lnTo>
                  <a:pt x="261" y="341"/>
                </a:lnTo>
                <a:lnTo>
                  <a:pt x="251" y="341"/>
                </a:lnTo>
                <a:lnTo>
                  <a:pt x="248" y="343"/>
                </a:lnTo>
                <a:lnTo>
                  <a:pt x="240" y="334"/>
                </a:lnTo>
                <a:lnTo>
                  <a:pt x="233" y="328"/>
                </a:lnTo>
                <a:lnTo>
                  <a:pt x="220" y="324"/>
                </a:lnTo>
                <a:lnTo>
                  <a:pt x="212" y="326"/>
                </a:lnTo>
                <a:lnTo>
                  <a:pt x="212" y="315"/>
                </a:lnTo>
                <a:lnTo>
                  <a:pt x="203" y="315"/>
                </a:lnTo>
                <a:lnTo>
                  <a:pt x="203" y="302"/>
                </a:lnTo>
                <a:lnTo>
                  <a:pt x="184" y="309"/>
                </a:lnTo>
                <a:lnTo>
                  <a:pt x="184" y="306"/>
                </a:lnTo>
                <a:lnTo>
                  <a:pt x="186" y="300"/>
                </a:lnTo>
                <a:lnTo>
                  <a:pt x="186" y="302"/>
                </a:lnTo>
                <a:lnTo>
                  <a:pt x="186" y="298"/>
                </a:lnTo>
                <a:lnTo>
                  <a:pt x="177" y="298"/>
                </a:lnTo>
                <a:lnTo>
                  <a:pt x="175" y="300"/>
                </a:lnTo>
                <a:lnTo>
                  <a:pt x="162" y="309"/>
                </a:lnTo>
                <a:lnTo>
                  <a:pt x="162" y="306"/>
                </a:lnTo>
                <a:lnTo>
                  <a:pt x="156" y="306"/>
                </a:lnTo>
                <a:lnTo>
                  <a:pt x="168" y="321"/>
                </a:lnTo>
                <a:lnTo>
                  <a:pt x="149" y="328"/>
                </a:lnTo>
                <a:lnTo>
                  <a:pt x="125" y="324"/>
                </a:lnTo>
                <a:lnTo>
                  <a:pt x="71" y="306"/>
                </a:lnTo>
                <a:lnTo>
                  <a:pt x="32" y="311"/>
                </a:lnTo>
                <a:lnTo>
                  <a:pt x="28" y="313"/>
                </a:lnTo>
                <a:lnTo>
                  <a:pt x="17" y="306"/>
                </a:lnTo>
                <a:lnTo>
                  <a:pt x="28" y="302"/>
                </a:lnTo>
                <a:lnTo>
                  <a:pt x="30" y="289"/>
                </a:lnTo>
                <a:lnTo>
                  <a:pt x="32" y="283"/>
                </a:lnTo>
                <a:lnTo>
                  <a:pt x="32" y="278"/>
                </a:lnTo>
                <a:lnTo>
                  <a:pt x="35" y="278"/>
                </a:lnTo>
                <a:lnTo>
                  <a:pt x="35" y="276"/>
                </a:lnTo>
                <a:lnTo>
                  <a:pt x="35" y="274"/>
                </a:lnTo>
                <a:lnTo>
                  <a:pt x="35" y="270"/>
                </a:lnTo>
                <a:lnTo>
                  <a:pt x="32" y="270"/>
                </a:lnTo>
                <a:lnTo>
                  <a:pt x="32" y="268"/>
                </a:lnTo>
                <a:lnTo>
                  <a:pt x="32" y="265"/>
                </a:lnTo>
              </a:path>
            </a:pathLst>
          </a:custGeom>
          <a:solidFill>
            <a:srgbClr val="FFC000"/>
          </a:solidFill>
          <a:ln w="6350">
            <a:solidFill>
              <a:srgbClr val="404040"/>
            </a:solidFill>
            <a:round/>
            <a:headEnd/>
            <a:tailEnd/>
          </a:ln>
        </p:spPr>
        <p:txBody>
          <a:bodyPr/>
          <a:lstStyle/>
          <a:p>
            <a:endParaRPr lang="en-US" dirty="0">
              <a:solidFill>
                <a:prstClr val="black"/>
              </a:solidFill>
            </a:endParaRPr>
          </a:p>
        </p:txBody>
      </p:sp>
      <p:sp>
        <p:nvSpPr>
          <p:cNvPr id="284" name="Freeform 117">
            <a:extLst>
              <a:ext uri="{FF2B5EF4-FFF2-40B4-BE49-F238E27FC236}">
                <a16:creationId xmlns:a16="http://schemas.microsoft.com/office/drawing/2014/main" id="{F673CA15-E7F9-43D1-9583-1D3C1AD18EBB}"/>
              </a:ext>
            </a:extLst>
          </p:cNvPr>
          <p:cNvSpPr>
            <a:spLocks noEditPoints="1"/>
          </p:cNvSpPr>
          <p:nvPr>
            <p:custDataLst>
              <p:tags r:id="rId108"/>
            </p:custDataLst>
          </p:nvPr>
        </p:nvSpPr>
        <p:spPr bwMode="auto">
          <a:xfrm>
            <a:off x="7466373" y="5335251"/>
            <a:ext cx="1363425" cy="1111115"/>
          </a:xfrm>
          <a:custGeom>
            <a:avLst/>
            <a:gdLst>
              <a:gd name="T0" fmla="*/ 2147483647 w 674"/>
              <a:gd name="T1" fmla="*/ 2147483647 h 514"/>
              <a:gd name="T2" fmla="*/ 2147483647 w 674"/>
              <a:gd name="T3" fmla="*/ 2147483647 h 514"/>
              <a:gd name="T4" fmla="*/ 2147483647 w 674"/>
              <a:gd name="T5" fmla="*/ 2147483647 h 514"/>
              <a:gd name="T6" fmla="*/ 2147483647 w 674"/>
              <a:gd name="T7" fmla="*/ 2147483647 h 514"/>
              <a:gd name="T8" fmla="*/ 2147483647 w 674"/>
              <a:gd name="T9" fmla="*/ 2147483647 h 514"/>
              <a:gd name="T10" fmla="*/ 2147483647 w 674"/>
              <a:gd name="T11" fmla="*/ 2147483647 h 514"/>
              <a:gd name="T12" fmla="*/ 2147483647 w 674"/>
              <a:gd name="T13" fmla="*/ 2147483647 h 514"/>
              <a:gd name="T14" fmla="*/ 2147483647 w 674"/>
              <a:gd name="T15" fmla="*/ 2147483647 h 514"/>
              <a:gd name="T16" fmla="*/ 2147483647 w 674"/>
              <a:gd name="T17" fmla="*/ 2147483647 h 514"/>
              <a:gd name="T18" fmla="*/ 2147483647 w 674"/>
              <a:gd name="T19" fmla="*/ 2147483647 h 514"/>
              <a:gd name="T20" fmla="*/ 2147483647 w 674"/>
              <a:gd name="T21" fmla="*/ 2147483647 h 514"/>
              <a:gd name="T22" fmla="*/ 2147483647 w 674"/>
              <a:gd name="T23" fmla="*/ 2147483647 h 514"/>
              <a:gd name="T24" fmla="*/ 2147483647 w 674"/>
              <a:gd name="T25" fmla="*/ 2147483647 h 514"/>
              <a:gd name="T26" fmla="*/ 2147483647 w 674"/>
              <a:gd name="T27" fmla="*/ 2147483647 h 514"/>
              <a:gd name="T28" fmla="*/ 2147483647 w 674"/>
              <a:gd name="T29" fmla="*/ 2147483647 h 514"/>
              <a:gd name="T30" fmla="*/ 2147483647 w 674"/>
              <a:gd name="T31" fmla="*/ 2147483647 h 514"/>
              <a:gd name="T32" fmla="*/ 2147483647 w 674"/>
              <a:gd name="T33" fmla="*/ 2147483647 h 514"/>
              <a:gd name="T34" fmla="*/ 2147483647 w 674"/>
              <a:gd name="T35" fmla="*/ 2147483647 h 514"/>
              <a:gd name="T36" fmla="*/ 2147483647 w 674"/>
              <a:gd name="T37" fmla="*/ 2147483647 h 514"/>
              <a:gd name="T38" fmla="*/ 2147483647 w 674"/>
              <a:gd name="T39" fmla="*/ 2147483647 h 514"/>
              <a:gd name="T40" fmla="*/ 2147483647 w 674"/>
              <a:gd name="T41" fmla="*/ 2147483647 h 514"/>
              <a:gd name="T42" fmla="*/ 2147483647 w 674"/>
              <a:gd name="T43" fmla="*/ 2147483647 h 514"/>
              <a:gd name="T44" fmla="*/ 2147483647 w 674"/>
              <a:gd name="T45" fmla="*/ 2147483647 h 514"/>
              <a:gd name="T46" fmla="*/ 2147483647 w 674"/>
              <a:gd name="T47" fmla="*/ 2147483647 h 514"/>
              <a:gd name="T48" fmla="*/ 2147483647 w 674"/>
              <a:gd name="T49" fmla="*/ 2147483647 h 514"/>
              <a:gd name="T50" fmla="*/ 2147483647 w 674"/>
              <a:gd name="T51" fmla="*/ 2147483647 h 514"/>
              <a:gd name="T52" fmla="*/ 2147483647 w 674"/>
              <a:gd name="T53" fmla="*/ 2147483647 h 514"/>
              <a:gd name="T54" fmla="*/ 2147483647 w 674"/>
              <a:gd name="T55" fmla="*/ 2147483647 h 514"/>
              <a:gd name="T56" fmla="*/ 2147483647 w 674"/>
              <a:gd name="T57" fmla="*/ 2147483647 h 514"/>
              <a:gd name="T58" fmla="*/ 2147483647 w 674"/>
              <a:gd name="T59" fmla="*/ 2147483647 h 514"/>
              <a:gd name="T60" fmla="*/ 2147483647 w 674"/>
              <a:gd name="T61" fmla="*/ 2147483647 h 514"/>
              <a:gd name="T62" fmla="*/ 2147483647 w 674"/>
              <a:gd name="T63" fmla="*/ 2147483647 h 514"/>
              <a:gd name="T64" fmla="*/ 2147483647 w 674"/>
              <a:gd name="T65" fmla="*/ 2147483647 h 514"/>
              <a:gd name="T66" fmla="*/ 2147483647 w 674"/>
              <a:gd name="T67" fmla="*/ 2147483647 h 514"/>
              <a:gd name="T68" fmla="*/ 2147483647 w 674"/>
              <a:gd name="T69" fmla="*/ 2147483647 h 514"/>
              <a:gd name="T70" fmla="*/ 2147483647 w 674"/>
              <a:gd name="T71" fmla="*/ 2147483647 h 514"/>
              <a:gd name="T72" fmla="*/ 2147483647 w 674"/>
              <a:gd name="T73" fmla="*/ 2147483647 h 514"/>
              <a:gd name="T74" fmla="*/ 2147483647 w 674"/>
              <a:gd name="T75" fmla="*/ 2147483647 h 514"/>
              <a:gd name="T76" fmla="*/ 2147483647 w 674"/>
              <a:gd name="T77" fmla="*/ 2147483647 h 514"/>
              <a:gd name="T78" fmla="*/ 2147483647 w 674"/>
              <a:gd name="T79" fmla="*/ 2147483647 h 514"/>
              <a:gd name="T80" fmla="*/ 2147483647 w 674"/>
              <a:gd name="T81" fmla="*/ 2147483647 h 514"/>
              <a:gd name="T82" fmla="*/ 2147483647 w 674"/>
              <a:gd name="T83" fmla="*/ 2147483647 h 514"/>
              <a:gd name="T84" fmla="*/ 2147483647 w 674"/>
              <a:gd name="T85" fmla="*/ 2147483647 h 514"/>
              <a:gd name="T86" fmla="*/ 2147483647 w 674"/>
              <a:gd name="T87" fmla="*/ 2147483647 h 514"/>
              <a:gd name="T88" fmla="*/ 2147483647 w 674"/>
              <a:gd name="T89" fmla="*/ 0 h 514"/>
              <a:gd name="T90" fmla="*/ 2147483647 w 674"/>
              <a:gd name="T91" fmla="*/ 2147483647 h 514"/>
              <a:gd name="T92" fmla="*/ 2147483647 w 674"/>
              <a:gd name="T93" fmla="*/ 2147483647 h 514"/>
              <a:gd name="T94" fmla="*/ 2147483647 w 674"/>
              <a:gd name="T95" fmla="*/ 2147483647 h 514"/>
              <a:gd name="T96" fmla="*/ 2147483647 w 674"/>
              <a:gd name="T97" fmla="*/ 2147483647 h 514"/>
              <a:gd name="T98" fmla="*/ 2147483647 w 674"/>
              <a:gd name="T99" fmla="*/ 2147483647 h 514"/>
              <a:gd name="T100" fmla="*/ 2147483647 w 674"/>
              <a:gd name="T101" fmla="*/ 2147483647 h 514"/>
              <a:gd name="T102" fmla="*/ 2147483647 w 674"/>
              <a:gd name="T103" fmla="*/ 2147483647 h 514"/>
              <a:gd name="T104" fmla="*/ 2147483647 w 674"/>
              <a:gd name="T105" fmla="*/ 2147483647 h 514"/>
              <a:gd name="T106" fmla="*/ 2147483647 w 674"/>
              <a:gd name="T107" fmla="*/ 2147483647 h 514"/>
              <a:gd name="T108" fmla="*/ 2147483647 w 674"/>
              <a:gd name="T109" fmla="*/ 2147483647 h 514"/>
              <a:gd name="T110" fmla="*/ 2147483647 w 674"/>
              <a:gd name="T111" fmla="*/ 2147483647 h 514"/>
              <a:gd name="T112" fmla="*/ 2147483647 w 674"/>
              <a:gd name="T113" fmla="*/ 2147483647 h 514"/>
              <a:gd name="T114" fmla="*/ 2147483647 w 674"/>
              <a:gd name="T115" fmla="*/ 2147483647 h 5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4"/>
              <a:gd name="T175" fmla="*/ 0 h 514"/>
              <a:gd name="T176" fmla="*/ 674 w 674"/>
              <a:gd name="T177" fmla="*/ 514 h 51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4" h="514">
                <a:moveTo>
                  <a:pt x="577" y="173"/>
                </a:moveTo>
                <a:lnTo>
                  <a:pt x="579" y="180"/>
                </a:lnTo>
                <a:lnTo>
                  <a:pt x="573" y="173"/>
                </a:lnTo>
                <a:lnTo>
                  <a:pt x="568" y="173"/>
                </a:lnTo>
                <a:lnTo>
                  <a:pt x="583" y="210"/>
                </a:lnTo>
                <a:lnTo>
                  <a:pt x="614" y="253"/>
                </a:lnTo>
                <a:lnTo>
                  <a:pt x="611" y="259"/>
                </a:lnTo>
                <a:lnTo>
                  <a:pt x="614" y="255"/>
                </a:lnTo>
                <a:lnTo>
                  <a:pt x="624" y="268"/>
                </a:lnTo>
                <a:lnTo>
                  <a:pt x="629" y="281"/>
                </a:lnTo>
                <a:lnTo>
                  <a:pt x="644" y="307"/>
                </a:lnTo>
                <a:lnTo>
                  <a:pt x="648" y="313"/>
                </a:lnTo>
                <a:lnTo>
                  <a:pt x="646" y="311"/>
                </a:lnTo>
                <a:lnTo>
                  <a:pt x="640" y="309"/>
                </a:lnTo>
                <a:lnTo>
                  <a:pt x="637" y="309"/>
                </a:lnTo>
                <a:lnTo>
                  <a:pt x="640" y="311"/>
                </a:lnTo>
                <a:lnTo>
                  <a:pt x="646" y="311"/>
                </a:lnTo>
                <a:lnTo>
                  <a:pt x="655" y="320"/>
                </a:lnTo>
                <a:lnTo>
                  <a:pt x="661" y="331"/>
                </a:lnTo>
                <a:lnTo>
                  <a:pt x="659" y="331"/>
                </a:lnTo>
                <a:lnTo>
                  <a:pt x="665" y="348"/>
                </a:lnTo>
                <a:lnTo>
                  <a:pt x="672" y="391"/>
                </a:lnTo>
                <a:lnTo>
                  <a:pt x="674" y="423"/>
                </a:lnTo>
                <a:lnTo>
                  <a:pt x="672" y="445"/>
                </a:lnTo>
                <a:lnTo>
                  <a:pt x="663" y="460"/>
                </a:lnTo>
                <a:lnTo>
                  <a:pt x="663" y="471"/>
                </a:lnTo>
                <a:lnTo>
                  <a:pt x="665" y="480"/>
                </a:lnTo>
                <a:lnTo>
                  <a:pt x="659" y="495"/>
                </a:lnTo>
                <a:lnTo>
                  <a:pt x="661" y="499"/>
                </a:lnTo>
                <a:lnTo>
                  <a:pt x="648" y="499"/>
                </a:lnTo>
                <a:lnTo>
                  <a:pt x="640" y="508"/>
                </a:lnTo>
                <a:lnTo>
                  <a:pt x="624" y="508"/>
                </a:lnTo>
                <a:lnTo>
                  <a:pt x="614" y="512"/>
                </a:lnTo>
                <a:lnTo>
                  <a:pt x="601" y="514"/>
                </a:lnTo>
                <a:lnTo>
                  <a:pt x="599" y="512"/>
                </a:lnTo>
                <a:lnTo>
                  <a:pt x="594" y="503"/>
                </a:lnTo>
                <a:lnTo>
                  <a:pt x="596" y="497"/>
                </a:lnTo>
                <a:lnTo>
                  <a:pt x="609" y="506"/>
                </a:lnTo>
                <a:lnTo>
                  <a:pt x="614" y="508"/>
                </a:lnTo>
                <a:lnTo>
                  <a:pt x="616" y="503"/>
                </a:lnTo>
                <a:lnTo>
                  <a:pt x="611" y="495"/>
                </a:lnTo>
                <a:lnTo>
                  <a:pt x="596" y="490"/>
                </a:lnTo>
                <a:lnTo>
                  <a:pt x="581" y="464"/>
                </a:lnTo>
                <a:lnTo>
                  <a:pt x="588" y="462"/>
                </a:lnTo>
                <a:lnTo>
                  <a:pt x="581" y="456"/>
                </a:lnTo>
                <a:lnTo>
                  <a:pt x="557" y="447"/>
                </a:lnTo>
                <a:lnTo>
                  <a:pt x="540" y="449"/>
                </a:lnTo>
                <a:lnTo>
                  <a:pt x="540" y="443"/>
                </a:lnTo>
                <a:lnTo>
                  <a:pt x="532" y="432"/>
                </a:lnTo>
                <a:lnTo>
                  <a:pt x="527" y="417"/>
                </a:lnTo>
                <a:lnTo>
                  <a:pt x="523" y="413"/>
                </a:lnTo>
                <a:lnTo>
                  <a:pt x="519" y="406"/>
                </a:lnTo>
                <a:lnTo>
                  <a:pt x="514" y="402"/>
                </a:lnTo>
                <a:lnTo>
                  <a:pt x="510" y="398"/>
                </a:lnTo>
                <a:lnTo>
                  <a:pt x="514" y="395"/>
                </a:lnTo>
                <a:lnTo>
                  <a:pt x="516" y="385"/>
                </a:lnTo>
                <a:lnTo>
                  <a:pt x="525" y="378"/>
                </a:lnTo>
                <a:lnTo>
                  <a:pt x="514" y="382"/>
                </a:lnTo>
                <a:lnTo>
                  <a:pt x="512" y="395"/>
                </a:lnTo>
                <a:lnTo>
                  <a:pt x="508" y="398"/>
                </a:lnTo>
                <a:lnTo>
                  <a:pt x="497" y="380"/>
                </a:lnTo>
                <a:lnTo>
                  <a:pt x="499" y="376"/>
                </a:lnTo>
                <a:lnTo>
                  <a:pt x="499" y="367"/>
                </a:lnTo>
                <a:lnTo>
                  <a:pt x="495" y="363"/>
                </a:lnTo>
                <a:lnTo>
                  <a:pt x="501" y="359"/>
                </a:lnTo>
                <a:lnTo>
                  <a:pt x="501" y="350"/>
                </a:lnTo>
                <a:lnTo>
                  <a:pt x="499" y="357"/>
                </a:lnTo>
                <a:lnTo>
                  <a:pt x="491" y="363"/>
                </a:lnTo>
                <a:lnTo>
                  <a:pt x="480" y="359"/>
                </a:lnTo>
                <a:lnTo>
                  <a:pt x="478" y="357"/>
                </a:lnTo>
                <a:lnTo>
                  <a:pt x="480" y="359"/>
                </a:lnTo>
                <a:lnTo>
                  <a:pt x="486" y="363"/>
                </a:lnTo>
                <a:lnTo>
                  <a:pt x="493" y="376"/>
                </a:lnTo>
                <a:lnTo>
                  <a:pt x="480" y="370"/>
                </a:lnTo>
                <a:lnTo>
                  <a:pt x="473" y="363"/>
                </a:lnTo>
                <a:lnTo>
                  <a:pt x="467" y="359"/>
                </a:lnTo>
                <a:lnTo>
                  <a:pt x="473" y="363"/>
                </a:lnTo>
                <a:lnTo>
                  <a:pt x="475" y="367"/>
                </a:lnTo>
                <a:lnTo>
                  <a:pt x="469" y="363"/>
                </a:lnTo>
                <a:lnTo>
                  <a:pt x="456" y="337"/>
                </a:lnTo>
                <a:lnTo>
                  <a:pt x="452" y="335"/>
                </a:lnTo>
                <a:lnTo>
                  <a:pt x="456" y="341"/>
                </a:lnTo>
                <a:lnTo>
                  <a:pt x="450" y="335"/>
                </a:lnTo>
                <a:lnTo>
                  <a:pt x="452" y="331"/>
                </a:lnTo>
                <a:lnTo>
                  <a:pt x="450" y="326"/>
                </a:lnTo>
                <a:lnTo>
                  <a:pt x="437" y="318"/>
                </a:lnTo>
                <a:lnTo>
                  <a:pt x="443" y="316"/>
                </a:lnTo>
                <a:lnTo>
                  <a:pt x="441" y="316"/>
                </a:lnTo>
                <a:lnTo>
                  <a:pt x="437" y="313"/>
                </a:lnTo>
                <a:lnTo>
                  <a:pt x="456" y="316"/>
                </a:lnTo>
                <a:lnTo>
                  <a:pt x="452" y="313"/>
                </a:lnTo>
                <a:lnTo>
                  <a:pt x="460" y="311"/>
                </a:lnTo>
                <a:lnTo>
                  <a:pt x="447" y="313"/>
                </a:lnTo>
                <a:lnTo>
                  <a:pt x="441" y="313"/>
                </a:lnTo>
                <a:lnTo>
                  <a:pt x="447" y="311"/>
                </a:lnTo>
                <a:lnTo>
                  <a:pt x="447" y="309"/>
                </a:lnTo>
                <a:lnTo>
                  <a:pt x="443" y="311"/>
                </a:lnTo>
                <a:lnTo>
                  <a:pt x="447" y="303"/>
                </a:lnTo>
                <a:lnTo>
                  <a:pt x="447" y="300"/>
                </a:lnTo>
                <a:lnTo>
                  <a:pt x="458" y="285"/>
                </a:lnTo>
                <a:lnTo>
                  <a:pt x="456" y="277"/>
                </a:lnTo>
                <a:lnTo>
                  <a:pt x="450" y="275"/>
                </a:lnTo>
                <a:lnTo>
                  <a:pt x="450" y="283"/>
                </a:lnTo>
                <a:lnTo>
                  <a:pt x="447" y="283"/>
                </a:lnTo>
                <a:lnTo>
                  <a:pt x="445" y="275"/>
                </a:lnTo>
                <a:lnTo>
                  <a:pt x="434" y="266"/>
                </a:lnTo>
                <a:lnTo>
                  <a:pt x="434" y="268"/>
                </a:lnTo>
                <a:lnTo>
                  <a:pt x="430" y="266"/>
                </a:lnTo>
                <a:lnTo>
                  <a:pt x="432" y="268"/>
                </a:lnTo>
                <a:lnTo>
                  <a:pt x="430" y="275"/>
                </a:lnTo>
                <a:lnTo>
                  <a:pt x="434" y="275"/>
                </a:lnTo>
                <a:lnTo>
                  <a:pt x="428" y="277"/>
                </a:lnTo>
                <a:lnTo>
                  <a:pt x="443" y="281"/>
                </a:lnTo>
                <a:lnTo>
                  <a:pt x="437" y="283"/>
                </a:lnTo>
                <a:lnTo>
                  <a:pt x="437" y="296"/>
                </a:lnTo>
                <a:lnTo>
                  <a:pt x="434" y="298"/>
                </a:lnTo>
                <a:lnTo>
                  <a:pt x="426" y="285"/>
                </a:lnTo>
                <a:lnTo>
                  <a:pt x="432" y="296"/>
                </a:lnTo>
                <a:lnTo>
                  <a:pt x="430" y="300"/>
                </a:lnTo>
                <a:lnTo>
                  <a:pt x="419" y="285"/>
                </a:lnTo>
                <a:lnTo>
                  <a:pt x="419" y="255"/>
                </a:lnTo>
                <a:lnTo>
                  <a:pt x="428" y="231"/>
                </a:lnTo>
                <a:lnTo>
                  <a:pt x="426" y="205"/>
                </a:lnTo>
                <a:lnTo>
                  <a:pt x="419" y="197"/>
                </a:lnTo>
                <a:lnTo>
                  <a:pt x="426" y="195"/>
                </a:lnTo>
                <a:lnTo>
                  <a:pt x="424" y="188"/>
                </a:lnTo>
                <a:lnTo>
                  <a:pt x="413" y="177"/>
                </a:lnTo>
                <a:lnTo>
                  <a:pt x="409" y="164"/>
                </a:lnTo>
                <a:lnTo>
                  <a:pt x="387" y="164"/>
                </a:lnTo>
                <a:lnTo>
                  <a:pt x="383" y="156"/>
                </a:lnTo>
                <a:lnTo>
                  <a:pt x="378" y="154"/>
                </a:lnTo>
                <a:lnTo>
                  <a:pt x="380" y="151"/>
                </a:lnTo>
                <a:lnTo>
                  <a:pt x="372" y="151"/>
                </a:lnTo>
                <a:lnTo>
                  <a:pt x="367" y="145"/>
                </a:lnTo>
                <a:lnTo>
                  <a:pt x="355" y="136"/>
                </a:lnTo>
                <a:lnTo>
                  <a:pt x="350" y="123"/>
                </a:lnTo>
                <a:lnTo>
                  <a:pt x="337" y="119"/>
                </a:lnTo>
                <a:lnTo>
                  <a:pt x="329" y="104"/>
                </a:lnTo>
                <a:lnTo>
                  <a:pt x="301" y="91"/>
                </a:lnTo>
                <a:lnTo>
                  <a:pt x="290" y="91"/>
                </a:lnTo>
                <a:lnTo>
                  <a:pt x="285" y="95"/>
                </a:lnTo>
                <a:lnTo>
                  <a:pt x="279" y="91"/>
                </a:lnTo>
                <a:lnTo>
                  <a:pt x="270" y="98"/>
                </a:lnTo>
                <a:lnTo>
                  <a:pt x="270" y="104"/>
                </a:lnTo>
                <a:lnTo>
                  <a:pt x="264" y="104"/>
                </a:lnTo>
                <a:lnTo>
                  <a:pt x="266" y="106"/>
                </a:lnTo>
                <a:lnTo>
                  <a:pt x="272" y="106"/>
                </a:lnTo>
                <a:lnTo>
                  <a:pt x="272" y="113"/>
                </a:lnTo>
                <a:lnTo>
                  <a:pt x="264" y="113"/>
                </a:lnTo>
                <a:lnTo>
                  <a:pt x="234" y="132"/>
                </a:lnTo>
                <a:lnTo>
                  <a:pt x="227" y="130"/>
                </a:lnTo>
                <a:lnTo>
                  <a:pt x="223" y="134"/>
                </a:lnTo>
                <a:lnTo>
                  <a:pt x="203" y="139"/>
                </a:lnTo>
                <a:lnTo>
                  <a:pt x="190" y="141"/>
                </a:lnTo>
                <a:lnTo>
                  <a:pt x="188" y="134"/>
                </a:lnTo>
                <a:lnTo>
                  <a:pt x="186" y="128"/>
                </a:lnTo>
                <a:lnTo>
                  <a:pt x="188" y="123"/>
                </a:lnTo>
                <a:lnTo>
                  <a:pt x="188" y="132"/>
                </a:lnTo>
                <a:lnTo>
                  <a:pt x="195" y="141"/>
                </a:lnTo>
                <a:lnTo>
                  <a:pt x="197" y="139"/>
                </a:lnTo>
                <a:lnTo>
                  <a:pt x="197" y="130"/>
                </a:lnTo>
                <a:lnTo>
                  <a:pt x="188" y="119"/>
                </a:lnTo>
                <a:lnTo>
                  <a:pt x="167" y="106"/>
                </a:lnTo>
                <a:lnTo>
                  <a:pt x="171" y="104"/>
                </a:lnTo>
                <a:lnTo>
                  <a:pt x="182" y="113"/>
                </a:lnTo>
                <a:lnTo>
                  <a:pt x="184" y="110"/>
                </a:lnTo>
                <a:lnTo>
                  <a:pt x="186" y="113"/>
                </a:lnTo>
                <a:lnTo>
                  <a:pt x="186" y="110"/>
                </a:lnTo>
                <a:lnTo>
                  <a:pt x="186" y="106"/>
                </a:lnTo>
                <a:lnTo>
                  <a:pt x="182" y="110"/>
                </a:lnTo>
                <a:lnTo>
                  <a:pt x="173" y="102"/>
                </a:lnTo>
                <a:lnTo>
                  <a:pt x="158" y="100"/>
                </a:lnTo>
                <a:lnTo>
                  <a:pt x="162" y="91"/>
                </a:lnTo>
                <a:lnTo>
                  <a:pt x="167" y="91"/>
                </a:lnTo>
                <a:lnTo>
                  <a:pt x="169" y="85"/>
                </a:lnTo>
                <a:lnTo>
                  <a:pt x="158" y="91"/>
                </a:lnTo>
                <a:lnTo>
                  <a:pt x="154" y="89"/>
                </a:lnTo>
                <a:lnTo>
                  <a:pt x="147" y="91"/>
                </a:lnTo>
                <a:lnTo>
                  <a:pt x="149" y="95"/>
                </a:lnTo>
                <a:lnTo>
                  <a:pt x="154" y="95"/>
                </a:lnTo>
                <a:lnTo>
                  <a:pt x="158" y="104"/>
                </a:lnTo>
                <a:lnTo>
                  <a:pt x="136" y="91"/>
                </a:lnTo>
                <a:lnTo>
                  <a:pt x="102" y="85"/>
                </a:lnTo>
                <a:lnTo>
                  <a:pt x="93" y="85"/>
                </a:lnTo>
                <a:lnTo>
                  <a:pt x="102" y="85"/>
                </a:lnTo>
                <a:lnTo>
                  <a:pt x="115" y="82"/>
                </a:lnTo>
                <a:lnTo>
                  <a:pt x="115" y="80"/>
                </a:lnTo>
                <a:lnTo>
                  <a:pt x="124" y="85"/>
                </a:lnTo>
                <a:lnTo>
                  <a:pt x="124" y="80"/>
                </a:lnTo>
                <a:lnTo>
                  <a:pt x="117" y="74"/>
                </a:lnTo>
                <a:lnTo>
                  <a:pt x="102" y="80"/>
                </a:lnTo>
                <a:lnTo>
                  <a:pt x="98" y="74"/>
                </a:lnTo>
                <a:lnTo>
                  <a:pt x="85" y="85"/>
                </a:lnTo>
                <a:lnTo>
                  <a:pt x="70" y="87"/>
                </a:lnTo>
                <a:lnTo>
                  <a:pt x="39" y="95"/>
                </a:lnTo>
                <a:lnTo>
                  <a:pt x="59" y="82"/>
                </a:lnTo>
                <a:lnTo>
                  <a:pt x="52" y="80"/>
                </a:lnTo>
                <a:lnTo>
                  <a:pt x="52" y="72"/>
                </a:lnTo>
                <a:lnTo>
                  <a:pt x="50" y="72"/>
                </a:lnTo>
                <a:lnTo>
                  <a:pt x="48" y="85"/>
                </a:lnTo>
                <a:lnTo>
                  <a:pt x="41" y="74"/>
                </a:lnTo>
                <a:lnTo>
                  <a:pt x="39" y="78"/>
                </a:lnTo>
                <a:lnTo>
                  <a:pt x="39" y="85"/>
                </a:lnTo>
                <a:lnTo>
                  <a:pt x="33" y="95"/>
                </a:lnTo>
                <a:lnTo>
                  <a:pt x="20" y="100"/>
                </a:lnTo>
                <a:lnTo>
                  <a:pt x="20" y="91"/>
                </a:lnTo>
                <a:lnTo>
                  <a:pt x="24" y="89"/>
                </a:lnTo>
                <a:lnTo>
                  <a:pt x="24" y="87"/>
                </a:lnTo>
                <a:lnTo>
                  <a:pt x="20" y="85"/>
                </a:lnTo>
                <a:lnTo>
                  <a:pt x="18" y="80"/>
                </a:lnTo>
                <a:lnTo>
                  <a:pt x="18" y="78"/>
                </a:lnTo>
                <a:lnTo>
                  <a:pt x="20" y="72"/>
                </a:lnTo>
                <a:lnTo>
                  <a:pt x="20" y="67"/>
                </a:lnTo>
                <a:lnTo>
                  <a:pt x="18" y="65"/>
                </a:lnTo>
                <a:lnTo>
                  <a:pt x="16" y="65"/>
                </a:lnTo>
                <a:lnTo>
                  <a:pt x="7" y="59"/>
                </a:lnTo>
                <a:lnTo>
                  <a:pt x="7" y="56"/>
                </a:lnTo>
                <a:lnTo>
                  <a:pt x="0" y="52"/>
                </a:lnTo>
                <a:lnTo>
                  <a:pt x="0" y="50"/>
                </a:lnTo>
                <a:lnTo>
                  <a:pt x="3" y="41"/>
                </a:lnTo>
                <a:lnTo>
                  <a:pt x="0" y="37"/>
                </a:lnTo>
                <a:lnTo>
                  <a:pt x="35" y="35"/>
                </a:lnTo>
                <a:lnTo>
                  <a:pt x="67" y="33"/>
                </a:lnTo>
                <a:lnTo>
                  <a:pt x="72" y="33"/>
                </a:lnTo>
                <a:lnTo>
                  <a:pt x="98" y="31"/>
                </a:lnTo>
                <a:lnTo>
                  <a:pt x="115" y="26"/>
                </a:lnTo>
                <a:lnTo>
                  <a:pt x="126" y="26"/>
                </a:lnTo>
                <a:lnTo>
                  <a:pt x="169" y="20"/>
                </a:lnTo>
                <a:lnTo>
                  <a:pt x="208" y="18"/>
                </a:lnTo>
                <a:lnTo>
                  <a:pt x="212" y="20"/>
                </a:lnTo>
                <a:lnTo>
                  <a:pt x="212" y="22"/>
                </a:lnTo>
                <a:lnTo>
                  <a:pt x="214" y="24"/>
                </a:lnTo>
                <a:lnTo>
                  <a:pt x="216" y="31"/>
                </a:lnTo>
                <a:lnTo>
                  <a:pt x="216" y="35"/>
                </a:lnTo>
                <a:lnTo>
                  <a:pt x="216" y="37"/>
                </a:lnTo>
                <a:lnTo>
                  <a:pt x="216" y="39"/>
                </a:lnTo>
                <a:lnTo>
                  <a:pt x="219" y="39"/>
                </a:lnTo>
                <a:lnTo>
                  <a:pt x="221" y="41"/>
                </a:lnTo>
                <a:lnTo>
                  <a:pt x="262" y="39"/>
                </a:lnTo>
                <a:lnTo>
                  <a:pt x="268" y="37"/>
                </a:lnTo>
                <a:lnTo>
                  <a:pt x="285" y="37"/>
                </a:lnTo>
                <a:lnTo>
                  <a:pt x="290" y="37"/>
                </a:lnTo>
                <a:lnTo>
                  <a:pt x="314" y="35"/>
                </a:lnTo>
                <a:lnTo>
                  <a:pt x="322" y="35"/>
                </a:lnTo>
                <a:lnTo>
                  <a:pt x="346" y="33"/>
                </a:lnTo>
                <a:lnTo>
                  <a:pt x="348" y="33"/>
                </a:lnTo>
                <a:lnTo>
                  <a:pt x="361" y="33"/>
                </a:lnTo>
                <a:lnTo>
                  <a:pt x="396" y="31"/>
                </a:lnTo>
                <a:lnTo>
                  <a:pt x="404" y="31"/>
                </a:lnTo>
                <a:lnTo>
                  <a:pt x="415" y="31"/>
                </a:lnTo>
                <a:lnTo>
                  <a:pt x="419" y="31"/>
                </a:lnTo>
                <a:lnTo>
                  <a:pt x="434" y="26"/>
                </a:lnTo>
                <a:lnTo>
                  <a:pt x="432" y="31"/>
                </a:lnTo>
                <a:lnTo>
                  <a:pt x="434" y="33"/>
                </a:lnTo>
                <a:lnTo>
                  <a:pt x="437" y="35"/>
                </a:lnTo>
                <a:lnTo>
                  <a:pt x="437" y="39"/>
                </a:lnTo>
                <a:lnTo>
                  <a:pt x="441" y="46"/>
                </a:lnTo>
                <a:lnTo>
                  <a:pt x="443" y="46"/>
                </a:lnTo>
                <a:lnTo>
                  <a:pt x="450" y="46"/>
                </a:lnTo>
                <a:lnTo>
                  <a:pt x="452" y="41"/>
                </a:lnTo>
                <a:lnTo>
                  <a:pt x="450" y="37"/>
                </a:lnTo>
                <a:lnTo>
                  <a:pt x="452" y="33"/>
                </a:lnTo>
                <a:lnTo>
                  <a:pt x="452" y="24"/>
                </a:lnTo>
                <a:lnTo>
                  <a:pt x="450" y="22"/>
                </a:lnTo>
                <a:lnTo>
                  <a:pt x="447" y="18"/>
                </a:lnTo>
                <a:lnTo>
                  <a:pt x="447" y="7"/>
                </a:lnTo>
                <a:lnTo>
                  <a:pt x="447" y="5"/>
                </a:lnTo>
                <a:lnTo>
                  <a:pt x="450" y="5"/>
                </a:lnTo>
                <a:lnTo>
                  <a:pt x="452" y="3"/>
                </a:lnTo>
                <a:lnTo>
                  <a:pt x="452" y="0"/>
                </a:lnTo>
                <a:lnTo>
                  <a:pt x="456" y="0"/>
                </a:lnTo>
                <a:lnTo>
                  <a:pt x="458" y="0"/>
                </a:lnTo>
                <a:lnTo>
                  <a:pt x="460" y="3"/>
                </a:lnTo>
                <a:lnTo>
                  <a:pt x="465" y="3"/>
                </a:lnTo>
                <a:lnTo>
                  <a:pt x="467" y="5"/>
                </a:lnTo>
                <a:lnTo>
                  <a:pt x="469" y="3"/>
                </a:lnTo>
                <a:lnTo>
                  <a:pt x="473" y="5"/>
                </a:lnTo>
                <a:lnTo>
                  <a:pt x="478" y="5"/>
                </a:lnTo>
                <a:lnTo>
                  <a:pt x="480" y="5"/>
                </a:lnTo>
                <a:lnTo>
                  <a:pt x="482" y="7"/>
                </a:lnTo>
                <a:lnTo>
                  <a:pt x="482" y="5"/>
                </a:lnTo>
                <a:lnTo>
                  <a:pt x="486" y="7"/>
                </a:lnTo>
                <a:lnTo>
                  <a:pt x="486" y="5"/>
                </a:lnTo>
                <a:lnTo>
                  <a:pt x="493" y="15"/>
                </a:lnTo>
                <a:lnTo>
                  <a:pt x="491" y="20"/>
                </a:lnTo>
                <a:lnTo>
                  <a:pt x="497" y="31"/>
                </a:lnTo>
                <a:lnTo>
                  <a:pt x="497" y="35"/>
                </a:lnTo>
                <a:lnTo>
                  <a:pt x="499" y="37"/>
                </a:lnTo>
                <a:lnTo>
                  <a:pt x="501" y="48"/>
                </a:lnTo>
                <a:lnTo>
                  <a:pt x="516" y="78"/>
                </a:lnTo>
                <a:lnTo>
                  <a:pt x="516" y="85"/>
                </a:lnTo>
                <a:lnTo>
                  <a:pt x="525" y="91"/>
                </a:lnTo>
                <a:lnTo>
                  <a:pt x="527" y="100"/>
                </a:lnTo>
                <a:lnTo>
                  <a:pt x="540" y="119"/>
                </a:lnTo>
                <a:lnTo>
                  <a:pt x="542" y="128"/>
                </a:lnTo>
                <a:lnTo>
                  <a:pt x="577" y="173"/>
                </a:lnTo>
                <a:close/>
                <a:moveTo>
                  <a:pt x="67" y="87"/>
                </a:moveTo>
                <a:lnTo>
                  <a:pt x="70" y="87"/>
                </a:lnTo>
                <a:lnTo>
                  <a:pt x="85" y="85"/>
                </a:lnTo>
                <a:lnTo>
                  <a:pt x="91" y="85"/>
                </a:lnTo>
                <a:lnTo>
                  <a:pt x="91" y="87"/>
                </a:lnTo>
                <a:lnTo>
                  <a:pt x="74" y="87"/>
                </a:lnTo>
                <a:lnTo>
                  <a:pt x="70" y="89"/>
                </a:lnTo>
                <a:lnTo>
                  <a:pt x="67" y="89"/>
                </a:lnTo>
                <a:lnTo>
                  <a:pt x="35" y="100"/>
                </a:lnTo>
                <a:lnTo>
                  <a:pt x="33" y="100"/>
                </a:lnTo>
                <a:lnTo>
                  <a:pt x="31" y="98"/>
                </a:lnTo>
                <a:lnTo>
                  <a:pt x="33" y="98"/>
                </a:lnTo>
                <a:lnTo>
                  <a:pt x="37" y="98"/>
                </a:lnTo>
                <a:lnTo>
                  <a:pt x="41" y="95"/>
                </a:lnTo>
                <a:lnTo>
                  <a:pt x="50" y="91"/>
                </a:lnTo>
                <a:lnTo>
                  <a:pt x="59" y="89"/>
                </a:lnTo>
                <a:lnTo>
                  <a:pt x="67" y="87"/>
                </a:lnTo>
                <a:close/>
                <a:moveTo>
                  <a:pt x="579" y="173"/>
                </a:moveTo>
                <a:lnTo>
                  <a:pt x="577" y="169"/>
                </a:lnTo>
                <a:lnTo>
                  <a:pt x="573" y="164"/>
                </a:lnTo>
                <a:lnTo>
                  <a:pt x="564" y="154"/>
                </a:lnTo>
                <a:lnTo>
                  <a:pt x="562" y="149"/>
                </a:lnTo>
                <a:lnTo>
                  <a:pt x="566" y="156"/>
                </a:lnTo>
                <a:lnTo>
                  <a:pt x="579" y="173"/>
                </a:lnTo>
                <a:close/>
                <a:moveTo>
                  <a:pt x="579" y="173"/>
                </a:moveTo>
                <a:lnTo>
                  <a:pt x="594" y="188"/>
                </a:lnTo>
                <a:lnTo>
                  <a:pt x="601" y="199"/>
                </a:lnTo>
                <a:lnTo>
                  <a:pt x="596" y="205"/>
                </a:lnTo>
                <a:lnTo>
                  <a:pt x="594" y="205"/>
                </a:lnTo>
                <a:lnTo>
                  <a:pt x="596" y="195"/>
                </a:lnTo>
                <a:lnTo>
                  <a:pt x="594" y="188"/>
                </a:lnTo>
                <a:lnTo>
                  <a:pt x="590" y="186"/>
                </a:lnTo>
                <a:lnTo>
                  <a:pt x="588" y="192"/>
                </a:lnTo>
                <a:lnTo>
                  <a:pt x="579" y="188"/>
                </a:lnTo>
                <a:lnTo>
                  <a:pt x="577" y="184"/>
                </a:lnTo>
                <a:lnTo>
                  <a:pt x="581" y="182"/>
                </a:lnTo>
                <a:lnTo>
                  <a:pt x="579" y="180"/>
                </a:lnTo>
                <a:lnTo>
                  <a:pt x="590" y="184"/>
                </a:lnTo>
                <a:lnTo>
                  <a:pt x="579" y="173"/>
                </a:lnTo>
                <a:close/>
                <a:moveTo>
                  <a:pt x="588" y="192"/>
                </a:moveTo>
                <a:lnTo>
                  <a:pt x="590" y="188"/>
                </a:lnTo>
                <a:lnTo>
                  <a:pt x="594" y="192"/>
                </a:lnTo>
                <a:lnTo>
                  <a:pt x="592" y="205"/>
                </a:lnTo>
                <a:lnTo>
                  <a:pt x="592" y="216"/>
                </a:lnTo>
                <a:lnTo>
                  <a:pt x="599" y="231"/>
                </a:lnTo>
                <a:lnTo>
                  <a:pt x="588" y="210"/>
                </a:lnTo>
                <a:lnTo>
                  <a:pt x="588" y="192"/>
                </a:lnTo>
                <a:close/>
                <a:moveTo>
                  <a:pt x="499" y="393"/>
                </a:moveTo>
                <a:lnTo>
                  <a:pt x="501" y="400"/>
                </a:lnTo>
                <a:lnTo>
                  <a:pt x="499" y="402"/>
                </a:lnTo>
                <a:lnTo>
                  <a:pt x="495" y="389"/>
                </a:lnTo>
                <a:lnTo>
                  <a:pt x="491" y="385"/>
                </a:lnTo>
                <a:lnTo>
                  <a:pt x="495" y="382"/>
                </a:lnTo>
                <a:lnTo>
                  <a:pt x="499" y="393"/>
                </a:lnTo>
                <a:close/>
              </a:path>
            </a:pathLst>
          </a:custGeom>
          <a:noFill/>
          <a:ln w="9525">
            <a:noFill/>
            <a:round/>
            <a:headEnd/>
            <a:tailEnd/>
          </a:ln>
        </p:spPr>
        <p:txBody>
          <a:bodyPr/>
          <a:lstStyle/>
          <a:p>
            <a:endParaRPr lang="en-US" dirty="0">
              <a:solidFill>
                <a:prstClr val="black"/>
              </a:solidFill>
            </a:endParaRPr>
          </a:p>
        </p:txBody>
      </p:sp>
      <p:sp>
        <p:nvSpPr>
          <p:cNvPr id="285" name="Freeform 118">
            <a:extLst>
              <a:ext uri="{FF2B5EF4-FFF2-40B4-BE49-F238E27FC236}">
                <a16:creationId xmlns:a16="http://schemas.microsoft.com/office/drawing/2014/main" id="{79113CFE-8BCA-4E2E-9F93-70F0919F656F}"/>
              </a:ext>
            </a:extLst>
          </p:cNvPr>
          <p:cNvSpPr>
            <a:spLocks/>
          </p:cNvSpPr>
          <p:nvPr>
            <p:custDataLst>
              <p:tags r:id="rId109"/>
            </p:custDataLst>
          </p:nvPr>
        </p:nvSpPr>
        <p:spPr bwMode="auto">
          <a:xfrm>
            <a:off x="7466373" y="5335251"/>
            <a:ext cx="1363425" cy="1111115"/>
          </a:xfrm>
          <a:custGeom>
            <a:avLst/>
            <a:gdLst>
              <a:gd name="T0" fmla="*/ 2147483647 w 674"/>
              <a:gd name="T1" fmla="*/ 2147483647 h 514"/>
              <a:gd name="T2" fmla="*/ 2147483647 w 674"/>
              <a:gd name="T3" fmla="*/ 2147483647 h 514"/>
              <a:gd name="T4" fmla="*/ 2147483647 w 674"/>
              <a:gd name="T5" fmla="*/ 2147483647 h 514"/>
              <a:gd name="T6" fmla="*/ 2147483647 w 674"/>
              <a:gd name="T7" fmla="*/ 2147483647 h 514"/>
              <a:gd name="T8" fmla="*/ 2147483647 w 674"/>
              <a:gd name="T9" fmla="*/ 2147483647 h 514"/>
              <a:gd name="T10" fmla="*/ 2147483647 w 674"/>
              <a:gd name="T11" fmla="*/ 2147483647 h 514"/>
              <a:gd name="T12" fmla="*/ 2147483647 w 674"/>
              <a:gd name="T13" fmla="*/ 2147483647 h 514"/>
              <a:gd name="T14" fmla="*/ 2147483647 w 674"/>
              <a:gd name="T15" fmla="*/ 2147483647 h 514"/>
              <a:gd name="T16" fmla="*/ 2147483647 w 674"/>
              <a:gd name="T17" fmla="*/ 2147483647 h 514"/>
              <a:gd name="T18" fmla="*/ 2147483647 w 674"/>
              <a:gd name="T19" fmla="*/ 2147483647 h 514"/>
              <a:gd name="T20" fmla="*/ 2147483647 w 674"/>
              <a:gd name="T21" fmla="*/ 2147483647 h 514"/>
              <a:gd name="T22" fmla="*/ 2147483647 w 674"/>
              <a:gd name="T23" fmla="*/ 2147483647 h 514"/>
              <a:gd name="T24" fmla="*/ 2147483647 w 674"/>
              <a:gd name="T25" fmla="*/ 2147483647 h 514"/>
              <a:gd name="T26" fmla="*/ 2147483647 w 674"/>
              <a:gd name="T27" fmla="*/ 2147483647 h 514"/>
              <a:gd name="T28" fmla="*/ 2147483647 w 674"/>
              <a:gd name="T29" fmla="*/ 2147483647 h 514"/>
              <a:gd name="T30" fmla="*/ 2147483647 w 674"/>
              <a:gd name="T31" fmla="*/ 2147483647 h 514"/>
              <a:gd name="T32" fmla="*/ 2147483647 w 674"/>
              <a:gd name="T33" fmla="*/ 2147483647 h 514"/>
              <a:gd name="T34" fmla="*/ 2147483647 w 674"/>
              <a:gd name="T35" fmla="*/ 2147483647 h 514"/>
              <a:gd name="T36" fmla="*/ 2147483647 w 674"/>
              <a:gd name="T37" fmla="*/ 2147483647 h 514"/>
              <a:gd name="T38" fmla="*/ 2147483647 w 674"/>
              <a:gd name="T39" fmla="*/ 2147483647 h 514"/>
              <a:gd name="T40" fmla="*/ 2147483647 w 674"/>
              <a:gd name="T41" fmla="*/ 2147483647 h 514"/>
              <a:gd name="T42" fmla="*/ 2147483647 w 674"/>
              <a:gd name="T43" fmla="*/ 2147483647 h 514"/>
              <a:gd name="T44" fmla="*/ 2147483647 w 674"/>
              <a:gd name="T45" fmla="*/ 2147483647 h 514"/>
              <a:gd name="T46" fmla="*/ 2147483647 w 674"/>
              <a:gd name="T47" fmla="*/ 2147483647 h 514"/>
              <a:gd name="T48" fmla="*/ 2147483647 w 674"/>
              <a:gd name="T49" fmla="*/ 2147483647 h 514"/>
              <a:gd name="T50" fmla="*/ 2147483647 w 674"/>
              <a:gd name="T51" fmla="*/ 2147483647 h 514"/>
              <a:gd name="T52" fmla="*/ 2147483647 w 674"/>
              <a:gd name="T53" fmla="*/ 2147483647 h 514"/>
              <a:gd name="T54" fmla="*/ 2147483647 w 674"/>
              <a:gd name="T55" fmla="*/ 2147483647 h 514"/>
              <a:gd name="T56" fmla="*/ 2147483647 w 674"/>
              <a:gd name="T57" fmla="*/ 2147483647 h 514"/>
              <a:gd name="T58" fmla="*/ 2147483647 w 674"/>
              <a:gd name="T59" fmla="*/ 2147483647 h 514"/>
              <a:gd name="T60" fmla="*/ 2147483647 w 674"/>
              <a:gd name="T61" fmla="*/ 2147483647 h 514"/>
              <a:gd name="T62" fmla="*/ 2147483647 w 674"/>
              <a:gd name="T63" fmla="*/ 2147483647 h 514"/>
              <a:gd name="T64" fmla="*/ 2147483647 w 674"/>
              <a:gd name="T65" fmla="*/ 2147483647 h 514"/>
              <a:gd name="T66" fmla="*/ 2147483647 w 674"/>
              <a:gd name="T67" fmla="*/ 2147483647 h 514"/>
              <a:gd name="T68" fmla="*/ 2147483647 w 674"/>
              <a:gd name="T69" fmla="*/ 2147483647 h 514"/>
              <a:gd name="T70" fmla="*/ 2147483647 w 674"/>
              <a:gd name="T71" fmla="*/ 2147483647 h 514"/>
              <a:gd name="T72" fmla="*/ 2147483647 w 674"/>
              <a:gd name="T73" fmla="*/ 2147483647 h 514"/>
              <a:gd name="T74" fmla="*/ 2147483647 w 674"/>
              <a:gd name="T75" fmla="*/ 2147483647 h 514"/>
              <a:gd name="T76" fmla="*/ 2147483647 w 674"/>
              <a:gd name="T77" fmla="*/ 2147483647 h 514"/>
              <a:gd name="T78" fmla="*/ 2147483647 w 674"/>
              <a:gd name="T79" fmla="*/ 2147483647 h 514"/>
              <a:gd name="T80" fmla="*/ 2147483647 w 674"/>
              <a:gd name="T81" fmla="*/ 2147483647 h 514"/>
              <a:gd name="T82" fmla="*/ 2147483647 w 674"/>
              <a:gd name="T83" fmla="*/ 2147483647 h 514"/>
              <a:gd name="T84" fmla="*/ 2147483647 w 674"/>
              <a:gd name="T85" fmla="*/ 2147483647 h 514"/>
              <a:gd name="T86" fmla="*/ 2147483647 w 674"/>
              <a:gd name="T87" fmla="*/ 2147483647 h 514"/>
              <a:gd name="T88" fmla="*/ 2147483647 w 674"/>
              <a:gd name="T89" fmla="*/ 2147483647 h 514"/>
              <a:gd name="T90" fmla="*/ 2147483647 w 674"/>
              <a:gd name="T91" fmla="*/ 2147483647 h 514"/>
              <a:gd name="T92" fmla="*/ 2147483647 w 674"/>
              <a:gd name="T93" fmla="*/ 2147483647 h 514"/>
              <a:gd name="T94" fmla="*/ 2147483647 w 674"/>
              <a:gd name="T95" fmla="*/ 2147483647 h 514"/>
              <a:gd name="T96" fmla="*/ 2147483647 w 674"/>
              <a:gd name="T97" fmla="*/ 2147483647 h 514"/>
              <a:gd name="T98" fmla="*/ 2147483647 w 674"/>
              <a:gd name="T99" fmla="*/ 2147483647 h 514"/>
              <a:gd name="T100" fmla="*/ 2147483647 w 674"/>
              <a:gd name="T101" fmla="*/ 2147483647 h 514"/>
              <a:gd name="T102" fmla="*/ 2147483647 w 674"/>
              <a:gd name="T103" fmla="*/ 2147483647 h 514"/>
              <a:gd name="T104" fmla="*/ 2147483647 w 674"/>
              <a:gd name="T105" fmla="*/ 2147483647 h 514"/>
              <a:gd name="T106" fmla="*/ 2147483647 w 674"/>
              <a:gd name="T107" fmla="*/ 0 h 514"/>
              <a:gd name="T108" fmla="*/ 2147483647 w 674"/>
              <a:gd name="T109" fmla="*/ 2147483647 h 514"/>
              <a:gd name="T110" fmla="*/ 2147483647 w 674"/>
              <a:gd name="T111" fmla="*/ 2147483647 h 514"/>
              <a:gd name="T112" fmla="*/ 2147483647 w 674"/>
              <a:gd name="T113" fmla="*/ 2147483647 h 514"/>
              <a:gd name="T114" fmla="*/ 2147483647 w 674"/>
              <a:gd name="T115" fmla="*/ 2147483647 h 514"/>
              <a:gd name="T116" fmla="*/ 2147483647 w 674"/>
              <a:gd name="T117" fmla="*/ 2147483647 h 5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4"/>
              <a:gd name="T178" fmla="*/ 0 h 514"/>
              <a:gd name="T179" fmla="*/ 674 w 674"/>
              <a:gd name="T180" fmla="*/ 514 h 5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4" h="514">
                <a:moveTo>
                  <a:pt x="577" y="173"/>
                </a:moveTo>
                <a:lnTo>
                  <a:pt x="579" y="180"/>
                </a:lnTo>
                <a:lnTo>
                  <a:pt x="573" y="173"/>
                </a:lnTo>
                <a:lnTo>
                  <a:pt x="568" y="173"/>
                </a:lnTo>
                <a:lnTo>
                  <a:pt x="583" y="210"/>
                </a:lnTo>
                <a:lnTo>
                  <a:pt x="614" y="253"/>
                </a:lnTo>
                <a:lnTo>
                  <a:pt x="611" y="259"/>
                </a:lnTo>
                <a:lnTo>
                  <a:pt x="614" y="255"/>
                </a:lnTo>
                <a:lnTo>
                  <a:pt x="624" y="268"/>
                </a:lnTo>
                <a:lnTo>
                  <a:pt x="629" y="281"/>
                </a:lnTo>
                <a:lnTo>
                  <a:pt x="644" y="307"/>
                </a:lnTo>
                <a:lnTo>
                  <a:pt x="648" y="313"/>
                </a:lnTo>
                <a:lnTo>
                  <a:pt x="646" y="311"/>
                </a:lnTo>
                <a:lnTo>
                  <a:pt x="640" y="309"/>
                </a:lnTo>
                <a:lnTo>
                  <a:pt x="637" y="309"/>
                </a:lnTo>
                <a:lnTo>
                  <a:pt x="640" y="311"/>
                </a:lnTo>
                <a:lnTo>
                  <a:pt x="646" y="311"/>
                </a:lnTo>
                <a:lnTo>
                  <a:pt x="655" y="320"/>
                </a:lnTo>
                <a:lnTo>
                  <a:pt x="661" y="331"/>
                </a:lnTo>
                <a:lnTo>
                  <a:pt x="659" y="331"/>
                </a:lnTo>
                <a:lnTo>
                  <a:pt x="665" y="348"/>
                </a:lnTo>
                <a:lnTo>
                  <a:pt x="672" y="391"/>
                </a:lnTo>
                <a:lnTo>
                  <a:pt x="674" y="423"/>
                </a:lnTo>
                <a:lnTo>
                  <a:pt x="672" y="445"/>
                </a:lnTo>
                <a:lnTo>
                  <a:pt x="663" y="460"/>
                </a:lnTo>
                <a:lnTo>
                  <a:pt x="663" y="471"/>
                </a:lnTo>
                <a:lnTo>
                  <a:pt x="665" y="480"/>
                </a:lnTo>
                <a:lnTo>
                  <a:pt x="659" y="495"/>
                </a:lnTo>
                <a:lnTo>
                  <a:pt x="661" y="499"/>
                </a:lnTo>
                <a:lnTo>
                  <a:pt x="648" y="499"/>
                </a:lnTo>
                <a:lnTo>
                  <a:pt x="640" y="508"/>
                </a:lnTo>
                <a:lnTo>
                  <a:pt x="624" y="508"/>
                </a:lnTo>
                <a:lnTo>
                  <a:pt x="614" y="512"/>
                </a:lnTo>
                <a:lnTo>
                  <a:pt x="601" y="514"/>
                </a:lnTo>
                <a:lnTo>
                  <a:pt x="599" y="512"/>
                </a:lnTo>
                <a:lnTo>
                  <a:pt x="594" y="503"/>
                </a:lnTo>
                <a:lnTo>
                  <a:pt x="596" y="497"/>
                </a:lnTo>
                <a:lnTo>
                  <a:pt x="609" y="506"/>
                </a:lnTo>
                <a:lnTo>
                  <a:pt x="614" y="508"/>
                </a:lnTo>
                <a:lnTo>
                  <a:pt x="616" y="503"/>
                </a:lnTo>
                <a:lnTo>
                  <a:pt x="611" y="495"/>
                </a:lnTo>
                <a:lnTo>
                  <a:pt x="596" y="490"/>
                </a:lnTo>
                <a:lnTo>
                  <a:pt x="581" y="464"/>
                </a:lnTo>
                <a:lnTo>
                  <a:pt x="588" y="462"/>
                </a:lnTo>
                <a:lnTo>
                  <a:pt x="581" y="456"/>
                </a:lnTo>
                <a:lnTo>
                  <a:pt x="557" y="447"/>
                </a:lnTo>
                <a:lnTo>
                  <a:pt x="540" y="449"/>
                </a:lnTo>
                <a:lnTo>
                  <a:pt x="540" y="443"/>
                </a:lnTo>
                <a:lnTo>
                  <a:pt x="532" y="432"/>
                </a:lnTo>
                <a:lnTo>
                  <a:pt x="527" y="417"/>
                </a:lnTo>
                <a:lnTo>
                  <a:pt x="523" y="413"/>
                </a:lnTo>
                <a:lnTo>
                  <a:pt x="519" y="406"/>
                </a:lnTo>
                <a:lnTo>
                  <a:pt x="514" y="402"/>
                </a:lnTo>
                <a:lnTo>
                  <a:pt x="510" y="398"/>
                </a:lnTo>
                <a:lnTo>
                  <a:pt x="514" y="395"/>
                </a:lnTo>
                <a:lnTo>
                  <a:pt x="516" y="385"/>
                </a:lnTo>
                <a:lnTo>
                  <a:pt x="525" y="378"/>
                </a:lnTo>
                <a:lnTo>
                  <a:pt x="514" y="382"/>
                </a:lnTo>
                <a:lnTo>
                  <a:pt x="512" y="395"/>
                </a:lnTo>
                <a:lnTo>
                  <a:pt x="508" y="398"/>
                </a:lnTo>
                <a:lnTo>
                  <a:pt x="497" y="380"/>
                </a:lnTo>
                <a:lnTo>
                  <a:pt x="499" y="376"/>
                </a:lnTo>
                <a:lnTo>
                  <a:pt x="499" y="367"/>
                </a:lnTo>
                <a:lnTo>
                  <a:pt x="495" y="363"/>
                </a:lnTo>
                <a:lnTo>
                  <a:pt x="501" y="359"/>
                </a:lnTo>
                <a:lnTo>
                  <a:pt x="501" y="350"/>
                </a:lnTo>
                <a:lnTo>
                  <a:pt x="499" y="357"/>
                </a:lnTo>
                <a:lnTo>
                  <a:pt x="491" y="363"/>
                </a:lnTo>
                <a:lnTo>
                  <a:pt x="480" y="359"/>
                </a:lnTo>
                <a:lnTo>
                  <a:pt x="478" y="357"/>
                </a:lnTo>
                <a:lnTo>
                  <a:pt x="480" y="359"/>
                </a:lnTo>
                <a:lnTo>
                  <a:pt x="486" y="363"/>
                </a:lnTo>
                <a:lnTo>
                  <a:pt x="493" y="376"/>
                </a:lnTo>
                <a:lnTo>
                  <a:pt x="480" y="370"/>
                </a:lnTo>
                <a:lnTo>
                  <a:pt x="473" y="363"/>
                </a:lnTo>
                <a:lnTo>
                  <a:pt x="467" y="359"/>
                </a:lnTo>
                <a:lnTo>
                  <a:pt x="473" y="363"/>
                </a:lnTo>
                <a:lnTo>
                  <a:pt x="475" y="367"/>
                </a:lnTo>
                <a:lnTo>
                  <a:pt x="469" y="363"/>
                </a:lnTo>
                <a:lnTo>
                  <a:pt x="456" y="337"/>
                </a:lnTo>
                <a:lnTo>
                  <a:pt x="452" y="335"/>
                </a:lnTo>
                <a:lnTo>
                  <a:pt x="456" y="341"/>
                </a:lnTo>
                <a:lnTo>
                  <a:pt x="450" y="335"/>
                </a:lnTo>
                <a:lnTo>
                  <a:pt x="452" y="331"/>
                </a:lnTo>
                <a:lnTo>
                  <a:pt x="450" y="326"/>
                </a:lnTo>
                <a:lnTo>
                  <a:pt x="437" y="318"/>
                </a:lnTo>
                <a:lnTo>
                  <a:pt x="443" y="316"/>
                </a:lnTo>
                <a:lnTo>
                  <a:pt x="441" y="316"/>
                </a:lnTo>
                <a:lnTo>
                  <a:pt x="437" y="313"/>
                </a:lnTo>
                <a:lnTo>
                  <a:pt x="456" y="316"/>
                </a:lnTo>
                <a:lnTo>
                  <a:pt x="452" y="313"/>
                </a:lnTo>
                <a:lnTo>
                  <a:pt x="460" y="311"/>
                </a:lnTo>
                <a:lnTo>
                  <a:pt x="447" y="313"/>
                </a:lnTo>
                <a:lnTo>
                  <a:pt x="441" y="313"/>
                </a:lnTo>
                <a:lnTo>
                  <a:pt x="447" y="311"/>
                </a:lnTo>
                <a:lnTo>
                  <a:pt x="447" y="309"/>
                </a:lnTo>
                <a:lnTo>
                  <a:pt x="443" y="311"/>
                </a:lnTo>
                <a:lnTo>
                  <a:pt x="447" y="303"/>
                </a:lnTo>
                <a:lnTo>
                  <a:pt x="447" y="300"/>
                </a:lnTo>
                <a:lnTo>
                  <a:pt x="458" y="285"/>
                </a:lnTo>
                <a:lnTo>
                  <a:pt x="456" y="277"/>
                </a:lnTo>
                <a:lnTo>
                  <a:pt x="450" y="275"/>
                </a:lnTo>
                <a:lnTo>
                  <a:pt x="450" y="283"/>
                </a:lnTo>
                <a:lnTo>
                  <a:pt x="447" y="283"/>
                </a:lnTo>
                <a:lnTo>
                  <a:pt x="445" y="275"/>
                </a:lnTo>
                <a:lnTo>
                  <a:pt x="434" y="266"/>
                </a:lnTo>
                <a:lnTo>
                  <a:pt x="434" y="268"/>
                </a:lnTo>
                <a:lnTo>
                  <a:pt x="430" y="266"/>
                </a:lnTo>
                <a:lnTo>
                  <a:pt x="432" y="268"/>
                </a:lnTo>
                <a:lnTo>
                  <a:pt x="430" y="275"/>
                </a:lnTo>
                <a:lnTo>
                  <a:pt x="434" y="275"/>
                </a:lnTo>
                <a:lnTo>
                  <a:pt x="428" y="277"/>
                </a:lnTo>
                <a:lnTo>
                  <a:pt x="443" y="281"/>
                </a:lnTo>
                <a:lnTo>
                  <a:pt x="437" y="283"/>
                </a:lnTo>
                <a:lnTo>
                  <a:pt x="437" y="296"/>
                </a:lnTo>
                <a:lnTo>
                  <a:pt x="434" y="298"/>
                </a:lnTo>
                <a:lnTo>
                  <a:pt x="426" y="285"/>
                </a:lnTo>
                <a:lnTo>
                  <a:pt x="432" y="296"/>
                </a:lnTo>
                <a:lnTo>
                  <a:pt x="430" y="300"/>
                </a:lnTo>
                <a:lnTo>
                  <a:pt x="419" y="285"/>
                </a:lnTo>
                <a:lnTo>
                  <a:pt x="419" y="255"/>
                </a:lnTo>
                <a:lnTo>
                  <a:pt x="428" y="231"/>
                </a:lnTo>
                <a:lnTo>
                  <a:pt x="426" y="205"/>
                </a:lnTo>
                <a:lnTo>
                  <a:pt x="419" y="197"/>
                </a:lnTo>
                <a:lnTo>
                  <a:pt x="426" y="195"/>
                </a:lnTo>
                <a:lnTo>
                  <a:pt x="424" y="188"/>
                </a:lnTo>
                <a:lnTo>
                  <a:pt x="413" y="177"/>
                </a:lnTo>
                <a:lnTo>
                  <a:pt x="409" y="164"/>
                </a:lnTo>
                <a:lnTo>
                  <a:pt x="387" y="164"/>
                </a:lnTo>
                <a:lnTo>
                  <a:pt x="383" y="156"/>
                </a:lnTo>
                <a:lnTo>
                  <a:pt x="378" y="154"/>
                </a:lnTo>
                <a:lnTo>
                  <a:pt x="380" y="151"/>
                </a:lnTo>
                <a:lnTo>
                  <a:pt x="372" y="151"/>
                </a:lnTo>
                <a:lnTo>
                  <a:pt x="367" y="145"/>
                </a:lnTo>
                <a:lnTo>
                  <a:pt x="355" y="136"/>
                </a:lnTo>
                <a:lnTo>
                  <a:pt x="350" y="123"/>
                </a:lnTo>
                <a:lnTo>
                  <a:pt x="337" y="119"/>
                </a:lnTo>
                <a:lnTo>
                  <a:pt x="329" y="104"/>
                </a:lnTo>
                <a:lnTo>
                  <a:pt x="301" y="91"/>
                </a:lnTo>
                <a:lnTo>
                  <a:pt x="290" y="91"/>
                </a:lnTo>
                <a:lnTo>
                  <a:pt x="285" y="95"/>
                </a:lnTo>
                <a:lnTo>
                  <a:pt x="279" y="91"/>
                </a:lnTo>
                <a:lnTo>
                  <a:pt x="270" y="98"/>
                </a:lnTo>
                <a:lnTo>
                  <a:pt x="270" y="104"/>
                </a:lnTo>
                <a:lnTo>
                  <a:pt x="264" y="104"/>
                </a:lnTo>
                <a:lnTo>
                  <a:pt x="266" y="106"/>
                </a:lnTo>
                <a:lnTo>
                  <a:pt x="272" y="106"/>
                </a:lnTo>
                <a:lnTo>
                  <a:pt x="272" y="113"/>
                </a:lnTo>
                <a:lnTo>
                  <a:pt x="264" y="113"/>
                </a:lnTo>
                <a:lnTo>
                  <a:pt x="234" y="132"/>
                </a:lnTo>
                <a:lnTo>
                  <a:pt x="227" y="130"/>
                </a:lnTo>
                <a:lnTo>
                  <a:pt x="223" y="134"/>
                </a:lnTo>
                <a:lnTo>
                  <a:pt x="203" y="139"/>
                </a:lnTo>
                <a:lnTo>
                  <a:pt x="190" y="141"/>
                </a:lnTo>
                <a:lnTo>
                  <a:pt x="188" y="134"/>
                </a:lnTo>
                <a:lnTo>
                  <a:pt x="186" y="128"/>
                </a:lnTo>
                <a:lnTo>
                  <a:pt x="188" y="123"/>
                </a:lnTo>
                <a:lnTo>
                  <a:pt x="188" y="132"/>
                </a:lnTo>
                <a:lnTo>
                  <a:pt x="195" y="141"/>
                </a:lnTo>
                <a:lnTo>
                  <a:pt x="197" y="139"/>
                </a:lnTo>
                <a:lnTo>
                  <a:pt x="197" y="130"/>
                </a:lnTo>
                <a:lnTo>
                  <a:pt x="188" y="119"/>
                </a:lnTo>
                <a:lnTo>
                  <a:pt x="167" y="106"/>
                </a:lnTo>
                <a:lnTo>
                  <a:pt x="171" y="104"/>
                </a:lnTo>
                <a:lnTo>
                  <a:pt x="182" y="113"/>
                </a:lnTo>
                <a:lnTo>
                  <a:pt x="184" y="110"/>
                </a:lnTo>
                <a:lnTo>
                  <a:pt x="186" y="113"/>
                </a:lnTo>
                <a:lnTo>
                  <a:pt x="186" y="110"/>
                </a:lnTo>
                <a:lnTo>
                  <a:pt x="186" y="106"/>
                </a:lnTo>
                <a:lnTo>
                  <a:pt x="182" y="110"/>
                </a:lnTo>
                <a:lnTo>
                  <a:pt x="173" y="102"/>
                </a:lnTo>
                <a:lnTo>
                  <a:pt x="158" y="100"/>
                </a:lnTo>
                <a:lnTo>
                  <a:pt x="162" y="91"/>
                </a:lnTo>
                <a:lnTo>
                  <a:pt x="167" y="91"/>
                </a:lnTo>
                <a:lnTo>
                  <a:pt x="169" y="85"/>
                </a:lnTo>
                <a:lnTo>
                  <a:pt x="158" y="91"/>
                </a:lnTo>
                <a:lnTo>
                  <a:pt x="154" y="89"/>
                </a:lnTo>
                <a:lnTo>
                  <a:pt x="147" y="91"/>
                </a:lnTo>
                <a:lnTo>
                  <a:pt x="149" y="95"/>
                </a:lnTo>
                <a:lnTo>
                  <a:pt x="154" y="95"/>
                </a:lnTo>
                <a:lnTo>
                  <a:pt x="158" y="104"/>
                </a:lnTo>
                <a:lnTo>
                  <a:pt x="136" y="91"/>
                </a:lnTo>
                <a:lnTo>
                  <a:pt x="102" y="85"/>
                </a:lnTo>
                <a:lnTo>
                  <a:pt x="93" y="85"/>
                </a:lnTo>
                <a:lnTo>
                  <a:pt x="102" y="85"/>
                </a:lnTo>
                <a:lnTo>
                  <a:pt x="115" y="82"/>
                </a:lnTo>
                <a:lnTo>
                  <a:pt x="115" y="80"/>
                </a:lnTo>
                <a:lnTo>
                  <a:pt x="124" y="85"/>
                </a:lnTo>
                <a:lnTo>
                  <a:pt x="124" y="80"/>
                </a:lnTo>
                <a:lnTo>
                  <a:pt x="117" y="74"/>
                </a:lnTo>
                <a:lnTo>
                  <a:pt x="102" y="80"/>
                </a:lnTo>
                <a:lnTo>
                  <a:pt x="98" y="74"/>
                </a:lnTo>
                <a:lnTo>
                  <a:pt x="85" y="85"/>
                </a:lnTo>
                <a:lnTo>
                  <a:pt x="70" y="87"/>
                </a:lnTo>
                <a:lnTo>
                  <a:pt x="39" y="95"/>
                </a:lnTo>
                <a:lnTo>
                  <a:pt x="59" y="82"/>
                </a:lnTo>
                <a:lnTo>
                  <a:pt x="52" y="80"/>
                </a:lnTo>
                <a:lnTo>
                  <a:pt x="52" y="72"/>
                </a:lnTo>
                <a:lnTo>
                  <a:pt x="50" y="72"/>
                </a:lnTo>
                <a:lnTo>
                  <a:pt x="48" y="85"/>
                </a:lnTo>
                <a:lnTo>
                  <a:pt x="41" y="74"/>
                </a:lnTo>
                <a:lnTo>
                  <a:pt x="39" y="78"/>
                </a:lnTo>
                <a:lnTo>
                  <a:pt x="39" y="85"/>
                </a:lnTo>
                <a:lnTo>
                  <a:pt x="33" y="95"/>
                </a:lnTo>
                <a:lnTo>
                  <a:pt x="20" y="100"/>
                </a:lnTo>
                <a:lnTo>
                  <a:pt x="20" y="91"/>
                </a:lnTo>
                <a:lnTo>
                  <a:pt x="24" y="89"/>
                </a:lnTo>
                <a:lnTo>
                  <a:pt x="24" y="87"/>
                </a:lnTo>
                <a:lnTo>
                  <a:pt x="20" y="85"/>
                </a:lnTo>
                <a:lnTo>
                  <a:pt x="18" y="80"/>
                </a:lnTo>
                <a:lnTo>
                  <a:pt x="18" y="78"/>
                </a:lnTo>
                <a:lnTo>
                  <a:pt x="20" y="72"/>
                </a:lnTo>
                <a:lnTo>
                  <a:pt x="20" y="67"/>
                </a:lnTo>
                <a:lnTo>
                  <a:pt x="18" y="65"/>
                </a:lnTo>
                <a:lnTo>
                  <a:pt x="16" y="65"/>
                </a:lnTo>
                <a:lnTo>
                  <a:pt x="7" y="59"/>
                </a:lnTo>
                <a:lnTo>
                  <a:pt x="7" y="56"/>
                </a:lnTo>
                <a:lnTo>
                  <a:pt x="0" y="52"/>
                </a:lnTo>
                <a:lnTo>
                  <a:pt x="0" y="50"/>
                </a:lnTo>
                <a:lnTo>
                  <a:pt x="3" y="41"/>
                </a:lnTo>
                <a:lnTo>
                  <a:pt x="0" y="37"/>
                </a:lnTo>
                <a:lnTo>
                  <a:pt x="35" y="35"/>
                </a:lnTo>
                <a:lnTo>
                  <a:pt x="67" y="33"/>
                </a:lnTo>
                <a:lnTo>
                  <a:pt x="72" y="33"/>
                </a:lnTo>
                <a:lnTo>
                  <a:pt x="98" y="31"/>
                </a:lnTo>
                <a:lnTo>
                  <a:pt x="115" y="26"/>
                </a:lnTo>
                <a:lnTo>
                  <a:pt x="126" y="26"/>
                </a:lnTo>
                <a:lnTo>
                  <a:pt x="169" y="20"/>
                </a:lnTo>
                <a:lnTo>
                  <a:pt x="208" y="18"/>
                </a:lnTo>
                <a:lnTo>
                  <a:pt x="212" y="20"/>
                </a:lnTo>
                <a:lnTo>
                  <a:pt x="212" y="22"/>
                </a:lnTo>
                <a:lnTo>
                  <a:pt x="214" y="24"/>
                </a:lnTo>
                <a:lnTo>
                  <a:pt x="216" y="31"/>
                </a:lnTo>
                <a:lnTo>
                  <a:pt x="216" y="35"/>
                </a:lnTo>
                <a:lnTo>
                  <a:pt x="216" y="37"/>
                </a:lnTo>
                <a:lnTo>
                  <a:pt x="216" y="39"/>
                </a:lnTo>
                <a:lnTo>
                  <a:pt x="219" y="39"/>
                </a:lnTo>
                <a:lnTo>
                  <a:pt x="221" y="41"/>
                </a:lnTo>
                <a:lnTo>
                  <a:pt x="262" y="39"/>
                </a:lnTo>
                <a:lnTo>
                  <a:pt x="268" y="37"/>
                </a:lnTo>
                <a:lnTo>
                  <a:pt x="285" y="37"/>
                </a:lnTo>
                <a:lnTo>
                  <a:pt x="290" y="37"/>
                </a:lnTo>
                <a:lnTo>
                  <a:pt x="314" y="35"/>
                </a:lnTo>
                <a:lnTo>
                  <a:pt x="322" y="35"/>
                </a:lnTo>
                <a:lnTo>
                  <a:pt x="346" y="33"/>
                </a:lnTo>
                <a:lnTo>
                  <a:pt x="348" y="33"/>
                </a:lnTo>
                <a:lnTo>
                  <a:pt x="361" y="33"/>
                </a:lnTo>
                <a:lnTo>
                  <a:pt x="396" y="31"/>
                </a:lnTo>
                <a:lnTo>
                  <a:pt x="404" y="31"/>
                </a:lnTo>
                <a:lnTo>
                  <a:pt x="415" y="31"/>
                </a:lnTo>
                <a:lnTo>
                  <a:pt x="419" y="31"/>
                </a:lnTo>
                <a:lnTo>
                  <a:pt x="434" y="26"/>
                </a:lnTo>
                <a:lnTo>
                  <a:pt x="432" y="31"/>
                </a:lnTo>
                <a:lnTo>
                  <a:pt x="434" y="33"/>
                </a:lnTo>
                <a:lnTo>
                  <a:pt x="437" y="35"/>
                </a:lnTo>
                <a:lnTo>
                  <a:pt x="437" y="39"/>
                </a:lnTo>
                <a:lnTo>
                  <a:pt x="441" y="46"/>
                </a:lnTo>
                <a:lnTo>
                  <a:pt x="443" y="46"/>
                </a:lnTo>
                <a:lnTo>
                  <a:pt x="450" y="46"/>
                </a:lnTo>
                <a:lnTo>
                  <a:pt x="452" y="41"/>
                </a:lnTo>
                <a:lnTo>
                  <a:pt x="450" y="37"/>
                </a:lnTo>
                <a:lnTo>
                  <a:pt x="452" y="33"/>
                </a:lnTo>
                <a:lnTo>
                  <a:pt x="452" y="24"/>
                </a:lnTo>
                <a:lnTo>
                  <a:pt x="450" y="22"/>
                </a:lnTo>
                <a:lnTo>
                  <a:pt x="447" y="18"/>
                </a:lnTo>
                <a:lnTo>
                  <a:pt x="447" y="7"/>
                </a:lnTo>
                <a:lnTo>
                  <a:pt x="447" y="5"/>
                </a:lnTo>
                <a:lnTo>
                  <a:pt x="450" y="5"/>
                </a:lnTo>
                <a:lnTo>
                  <a:pt x="452" y="3"/>
                </a:lnTo>
                <a:lnTo>
                  <a:pt x="452" y="0"/>
                </a:lnTo>
                <a:lnTo>
                  <a:pt x="456" y="0"/>
                </a:lnTo>
                <a:lnTo>
                  <a:pt x="458" y="0"/>
                </a:lnTo>
                <a:lnTo>
                  <a:pt x="460" y="3"/>
                </a:lnTo>
                <a:lnTo>
                  <a:pt x="465" y="3"/>
                </a:lnTo>
                <a:lnTo>
                  <a:pt x="467" y="5"/>
                </a:lnTo>
                <a:lnTo>
                  <a:pt x="469" y="3"/>
                </a:lnTo>
                <a:lnTo>
                  <a:pt x="473" y="5"/>
                </a:lnTo>
                <a:lnTo>
                  <a:pt x="478" y="5"/>
                </a:lnTo>
                <a:lnTo>
                  <a:pt x="480" y="5"/>
                </a:lnTo>
                <a:lnTo>
                  <a:pt x="482" y="7"/>
                </a:lnTo>
                <a:lnTo>
                  <a:pt x="482" y="5"/>
                </a:lnTo>
                <a:lnTo>
                  <a:pt x="486" y="7"/>
                </a:lnTo>
                <a:lnTo>
                  <a:pt x="486" y="5"/>
                </a:lnTo>
                <a:lnTo>
                  <a:pt x="493" y="15"/>
                </a:lnTo>
                <a:lnTo>
                  <a:pt x="491" y="20"/>
                </a:lnTo>
                <a:lnTo>
                  <a:pt x="497" y="31"/>
                </a:lnTo>
                <a:lnTo>
                  <a:pt x="497" y="35"/>
                </a:lnTo>
                <a:lnTo>
                  <a:pt x="499" y="37"/>
                </a:lnTo>
                <a:lnTo>
                  <a:pt x="501" y="48"/>
                </a:lnTo>
                <a:lnTo>
                  <a:pt x="516" y="78"/>
                </a:lnTo>
                <a:lnTo>
                  <a:pt x="516" y="85"/>
                </a:lnTo>
                <a:lnTo>
                  <a:pt x="525" y="91"/>
                </a:lnTo>
                <a:lnTo>
                  <a:pt x="527" y="100"/>
                </a:lnTo>
                <a:lnTo>
                  <a:pt x="540" y="119"/>
                </a:lnTo>
                <a:lnTo>
                  <a:pt x="542" y="128"/>
                </a:lnTo>
                <a:lnTo>
                  <a:pt x="577" y="173"/>
                </a:lnTo>
              </a:path>
            </a:pathLst>
          </a:custGeom>
          <a:solidFill>
            <a:srgbClr val="FFC000"/>
          </a:solidFill>
          <a:ln w="6350">
            <a:solidFill>
              <a:schemeClr val="tx1"/>
            </a:solidFill>
            <a:headEnd/>
            <a:tailEnd/>
          </a:ln>
        </p:spPr>
        <p:style>
          <a:lnRef idx="2">
            <a:schemeClr val="accent2"/>
          </a:lnRef>
          <a:fillRef idx="0">
            <a:schemeClr val="accent2"/>
          </a:fillRef>
          <a:effectRef idx="1">
            <a:schemeClr val="accent2"/>
          </a:effectRef>
          <a:fontRef idx="minor">
            <a:schemeClr val="tx1"/>
          </a:fontRef>
        </p:style>
        <p:txBody>
          <a:bodyPr/>
          <a:lstStyle/>
          <a:p>
            <a:endParaRPr lang="en-US" dirty="0">
              <a:solidFill>
                <a:prstClr val="black"/>
              </a:solidFill>
            </a:endParaRPr>
          </a:p>
        </p:txBody>
      </p:sp>
      <p:sp>
        <p:nvSpPr>
          <p:cNvPr id="286" name="Freeform 119">
            <a:extLst>
              <a:ext uri="{FF2B5EF4-FFF2-40B4-BE49-F238E27FC236}">
                <a16:creationId xmlns:a16="http://schemas.microsoft.com/office/drawing/2014/main" id="{F037384C-84DE-451E-97ED-25ED815F8698}"/>
              </a:ext>
            </a:extLst>
          </p:cNvPr>
          <p:cNvSpPr>
            <a:spLocks/>
          </p:cNvSpPr>
          <p:nvPr>
            <p:custDataLst>
              <p:tags r:id="rId110"/>
            </p:custDataLst>
          </p:nvPr>
        </p:nvSpPr>
        <p:spPr bwMode="auto">
          <a:xfrm>
            <a:off x="7527751" y="5519015"/>
            <a:ext cx="122753" cy="32425"/>
          </a:xfrm>
          <a:custGeom>
            <a:avLst/>
            <a:gdLst>
              <a:gd name="T0" fmla="*/ 2147483647 w 60"/>
              <a:gd name="T1" fmla="*/ 2147483647 h 15"/>
              <a:gd name="T2" fmla="*/ 2147483647 w 60"/>
              <a:gd name="T3" fmla="*/ 2147483647 h 15"/>
              <a:gd name="T4" fmla="*/ 2147483647 w 60"/>
              <a:gd name="T5" fmla="*/ 0 h 15"/>
              <a:gd name="T6" fmla="*/ 2147483647 w 60"/>
              <a:gd name="T7" fmla="*/ 0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0 w 60"/>
              <a:gd name="T21" fmla="*/ 2147483647 h 15"/>
              <a:gd name="T22" fmla="*/ 2147483647 w 60"/>
              <a:gd name="T23" fmla="*/ 2147483647 h 15"/>
              <a:gd name="T24" fmla="*/ 2147483647 w 60"/>
              <a:gd name="T25" fmla="*/ 2147483647 h 15"/>
              <a:gd name="T26" fmla="*/ 2147483647 w 60"/>
              <a:gd name="T27" fmla="*/ 2147483647 h 15"/>
              <a:gd name="T28" fmla="*/ 2147483647 w 60"/>
              <a:gd name="T29" fmla="*/ 2147483647 h 15"/>
              <a:gd name="T30" fmla="*/ 2147483647 w 60"/>
              <a:gd name="T31" fmla="*/ 2147483647 h 15"/>
              <a:gd name="T32" fmla="*/ 2147483647 w 60"/>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15"/>
              <a:gd name="T53" fmla="*/ 60 w 60"/>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15">
                <a:moveTo>
                  <a:pt x="36" y="2"/>
                </a:moveTo>
                <a:lnTo>
                  <a:pt x="39" y="2"/>
                </a:lnTo>
                <a:lnTo>
                  <a:pt x="54" y="0"/>
                </a:lnTo>
                <a:lnTo>
                  <a:pt x="60" y="0"/>
                </a:lnTo>
                <a:lnTo>
                  <a:pt x="60" y="2"/>
                </a:lnTo>
                <a:lnTo>
                  <a:pt x="43" y="2"/>
                </a:lnTo>
                <a:lnTo>
                  <a:pt x="39" y="4"/>
                </a:lnTo>
                <a:lnTo>
                  <a:pt x="36" y="4"/>
                </a:lnTo>
                <a:lnTo>
                  <a:pt x="4" y="15"/>
                </a:lnTo>
                <a:lnTo>
                  <a:pt x="2" y="15"/>
                </a:lnTo>
                <a:lnTo>
                  <a:pt x="0" y="13"/>
                </a:lnTo>
                <a:lnTo>
                  <a:pt x="2" y="13"/>
                </a:lnTo>
                <a:lnTo>
                  <a:pt x="6" y="13"/>
                </a:lnTo>
                <a:lnTo>
                  <a:pt x="10" y="10"/>
                </a:lnTo>
                <a:lnTo>
                  <a:pt x="19" y="6"/>
                </a:lnTo>
                <a:lnTo>
                  <a:pt x="28" y="4"/>
                </a:lnTo>
                <a:lnTo>
                  <a:pt x="36" y="2"/>
                </a:lnTo>
              </a:path>
            </a:pathLst>
          </a:custGeom>
          <a:noFill/>
          <a:ln w="6350">
            <a:solidFill>
              <a:srgbClr val="404040"/>
            </a:solidFill>
            <a:round/>
            <a:headEnd/>
            <a:tailEnd/>
          </a:ln>
        </p:spPr>
        <p:txBody>
          <a:bodyPr/>
          <a:lstStyle/>
          <a:p>
            <a:endParaRPr lang="en-US" dirty="0">
              <a:solidFill>
                <a:prstClr val="black"/>
              </a:solidFill>
            </a:endParaRPr>
          </a:p>
        </p:txBody>
      </p:sp>
      <p:sp>
        <p:nvSpPr>
          <p:cNvPr id="287" name="Freeform 120">
            <a:extLst>
              <a:ext uri="{FF2B5EF4-FFF2-40B4-BE49-F238E27FC236}">
                <a16:creationId xmlns:a16="http://schemas.microsoft.com/office/drawing/2014/main" id="{0DE30867-18BC-4E9D-A572-E5D9E9799ABC}"/>
              </a:ext>
            </a:extLst>
          </p:cNvPr>
          <p:cNvSpPr>
            <a:spLocks/>
          </p:cNvSpPr>
          <p:nvPr>
            <p:custDataLst>
              <p:tags r:id="rId111"/>
            </p:custDataLst>
          </p:nvPr>
        </p:nvSpPr>
        <p:spPr bwMode="auto">
          <a:xfrm>
            <a:off x="8604004" y="5657364"/>
            <a:ext cx="32880" cy="51881"/>
          </a:xfrm>
          <a:custGeom>
            <a:avLst/>
            <a:gdLst>
              <a:gd name="T0" fmla="*/ 2147483647 w 17"/>
              <a:gd name="T1" fmla="*/ 2147483647 h 24"/>
              <a:gd name="T2" fmla="*/ 2147483647 w 17"/>
              <a:gd name="T3" fmla="*/ 2147483647 h 24"/>
              <a:gd name="T4" fmla="*/ 2147483647 w 17"/>
              <a:gd name="T5" fmla="*/ 2147483647 h 24"/>
              <a:gd name="T6" fmla="*/ 2147483647 w 17"/>
              <a:gd name="T7" fmla="*/ 2147483647 h 24"/>
              <a:gd name="T8" fmla="*/ 0 w 17"/>
              <a:gd name="T9" fmla="*/ 0 h 24"/>
              <a:gd name="T10" fmla="*/ 2147483647 w 17"/>
              <a:gd name="T11" fmla="*/ 2147483647 h 24"/>
              <a:gd name="T12" fmla="*/ 2147483647 w 17"/>
              <a:gd name="T13" fmla="*/ 2147483647 h 24"/>
              <a:gd name="T14" fmla="*/ 0 60000 65536"/>
              <a:gd name="T15" fmla="*/ 0 60000 65536"/>
              <a:gd name="T16" fmla="*/ 0 60000 65536"/>
              <a:gd name="T17" fmla="*/ 0 60000 65536"/>
              <a:gd name="T18" fmla="*/ 0 60000 65536"/>
              <a:gd name="T19" fmla="*/ 0 60000 65536"/>
              <a:gd name="T20" fmla="*/ 0 60000 65536"/>
              <a:gd name="T21" fmla="*/ 0 w 17"/>
              <a:gd name="T22" fmla="*/ 0 h 24"/>
              <a:gd name="T23" fmla="*/ 17 w 17"/>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4">
                <a:moveTo>
                  <a:pt x="17" y="24"/>
                </a:moveTo>
                <a:lnTo>
                  <a:pt x="15" y="20"/>
                </a:lnTo>
                <a:lnTo>
                  <a:pt x="11" y="15"/>
                </a:lnTo>
                <a:lnTo>
                  <a:pt x="2" y="5"/>
                </a:lnTo>
                <a:lnTo>
                  <a:pt x="0" y="0"/>
                </a:lnTo>
                <a:lnTo>
                  <a:pt x="4" y="7"/>
                </a:lnTo>
                <a:lnTo>
                  <a:pt x="17" y="24"/>
                </a:lnTo>
              </a:path>
            </a:pathLst>
          </a:custGeom>
          <a:noFill/>
          <a:ln w="6350">
            <a:solidFill>
              <a:srgbClr val="404040"/>
            </a:solidFill>
            <a:round/>
            <a:headEnd/>
            <a:tailEnd/>
          </a:ln>
        </p:spPr>
        <p:txBody>
          <a:bodyPr/>
          <a:lstStyle/>
          <a:p>
            <a:endParaRPr lang="en-US" dirty="0">
              <a:solidFill>
                <a:prstClr val="black"/>
              </a:solidFill>
            </a:endParaRPr>
          </a:p>
        </p:txBody>
      </p:sp>
      <p:sp>
        <p:nvSpPr>
          <p:cNvPr id="288" name="Freeform 121">
            <a:extLst>
              <a:ext uri="{FF2B5EF4-FFF2-40B4-BE49-F238E27FC236}">
                <a16:creationId xmlns:a16="http://schemas.microsoft.com/office/drawing/2014/main" id="{ED5B1DB7-F248-4F92-9008-649C4ED5DE90}"/>
              </a:ext>
            </a:extLst>
          </p:cNvPr>
          <p:cNvSpPr>
            <a:spLocks/>
          </p:cNvSpPr>
          <p:nvPr>
            <p:custDataLst>
              <p:tags r:id="rId112"/>
            </p:custDataLst>
          </p:nvPr>
        </p:nvSpPr>
        <p:spPr bwMode="auto">
          <a:xfrm>
            <a:off x="8632501" y="5709231"/>
            <a:ext cx="50415" cy="69175"/>
          </a:xfrm>
          <a:custGeom>
            <a:avLst/>
            <a:gdLst>
              <a:gd name="T0" fmla="*/ 2147483647 w 24"/>
              <a:gd name="T1" fmla="*/ 0 h 32"/>
              <a:gd name="T2" fmla="*/ 2147483647 w 24"/>
              <a:gd name="T3" fmla="*/ 2147483647 h 32"/>
              <a:gd name="T4" fmla="*/ 2147483647 w 24"/>
              <a:gd name="T5" fmla="*/ 2147483647 h 32"/>
              <a:gd name="T6" fmla="*/ 2147483647 w 24"/>
              <a:gd name="T7" fmla="*/ 2147483647 h 32"/>
              <a:gd name="T8" fmla="*/ 2147483647 w 24"/>
              <a:gd name="T9" fmla="*/ 2147483647 h 32"/>
              <a:gd name="T10" fmla="*/ 2147483647 w 24"/>
              <a:gd name="T11" fmla="*/ 2147483647 h 32"/>
              <a:gd name="T12" fmla="*/ 2147483647 w 24"/>
              <a:gd name="T13" fmla="*/ 2147483647 h 32"/>
              <a:gd name="T14" fmla="*/ 2147483647 w 24"/>
              <a:gd name="T15" fmla="*/ 2147483647 h 32"/>
              <a:gd name="T16" fmla="*/ 2147483647 w 24"/>
              <a:gd name="T17" fmla="*/ 2147483647 h 32"/>
              <a:gd name="T18" fmla="*/ 2147483647 w 24"/>
              <a:gd name="T19" fmla="*/ 2147483647 h 32"/>
              <a:gd name="T20" fmla="*/ 0 w 24"/>
              <a:gd name="T21" fmla="*/ 2147483647 h 32"/>
              <a:gd name="T22" fmla="*/ 2147483647 w 24"/>
              <a:gd name="T23" fmla="*/ 2147483647 h 32"/>
              <a:gd name="T24" fmla="*/ 2147483647 w 24"/>
              <a:gd name="T25" fmla="*/ 2147483647 h 32"/>
              <a:gd name="T26" fmla="*/ 2147483647 w 24"/>
              <a:gd name="T27" fmla="*/ 2147483647 h 32"/>
              <a:gd name="T28" fmla="*/ 2147483647 w 24"/>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2"/>
              <a:gd name="T47" fmla="*/ 24 w 24"/>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2">
                <a:moveTo>
                  <a:pt x="2" y="0"/>
                </a:moveTo>
                <a:lnTo>
                  <a:pt x="17" y="15"/>
                </a:lnTo>
                <a:lnTo>
                  <a:pt x="24" y="26"/>
                </a:lnTo>
                <a:lnTo>
                  <a:pt x="19" y="32"/>
                </a:lnTo>
                <a:lnTo>
                  <a:pt x="17" y="32"/>
                </a:lnTo>
                <a:lnTo>
                  <a:pt x="19" y="22"/>
                </a:lnTo>
                <a:lnTo>
                  <a:pt x="17" y="15"/>
                </a:lnTo>
                <a:lnTo>
                  <a:pt x="13" y="13"/>
                </a:lnTo>
                <a:lnTo>
                  <a:pt x="11" y="19"/>
                </a:lnTo>
                <a:lnTo>
                  <a:pt x="2" y="15"/>
                </a:lnTo>
                <a:lnTo>
                  <a:pt x="0" y="11"/>
                </a:lnTo>
                <a:lnTo>
                  <a:pt x="4" y="9"/>
                </a:lnTo>
                <a:lnTo>
                  <a:pt x="2" y="7"/>
                </a:lnTo>
                <a:lnTo>
                  <a:pt x="13" y="11"/>
                </a:lnTo>
                <a:lnTo>
                  <a:pt x="2" y="0"/>
                </a:lnTo>
              </a:path>
            </a:pathLst>
          </a:custGeom>
          <a:noFill/>
          <a:ln w="6350">
            <a:solidFill>
              <a:srgbClr val="404040"/>
            </a:solidFill>
            <a:round/>
            <a:headEnd/>
            <a:tailEnd/>
          </a:ln>
        </p:spPr>
        <p:txBody>
          <a:bodyPr/>
          <a:lstStyle/>
          <a:p>
            <a:endParaRPr lang="en-US" dirty="0">
              <a:solidFill>
                <a:prstClr val="black"/>
              </a:solidFill>
            </a:endParaRPr>
          </a:p>
        </p:txBody>
      </p:sp>
      <p:sp>
        <p:nvSpPr>
          <p:cNvPr id="289" name="Freeform 122">
            <a:extLst>
              <a:ext uri="{FF2B5EF4-FFF2-40B4-BE49-F238E27FC236}">
                <a16:creationId xmlns:a16="http://schemas.microsoft.com/office/drawing/2014/main" id="{BE27D3A4-85DB-482D-B8D1-AA58C4FDBC38}"/>
              </a:ext>
            </a:extLst>
          </p:cNvPr>
          <p:cNvSpPr>
            <a:spLocks/>
          </p:cNvSpPr>
          <p:nvPr>
            <p:custDataLst>
              <p:tags r:id="rId113"/>
            </p:custDataLst>
          </p:nvPr>
        </p:nvSpPr>
        <p:spPr bwMode="auto">
          <a:xfrm>
            <a:off x="8656617" y="5741639"/>
            <a:ext cx="21920" cy="92955"/>
          </a:xfrm>
          <a:custGeom>
            <a:avLst/>
            <a:gdLst>
              <a:gd name="T0" fmla="*/ 0 w 11"/>
              <a:gd name="T1" fmla="*/ 2147483647 h 43"/>
              <a:gd name="T2" fmla="*/ 2147483647 w 11"/>
              <a:gd name="T3" fmla="*/ 0 h 43"/>
              <a:gd name="T4" fmla="*/ 2147483647 w 11"/>
              <a:gd name="T5" fmla="*/ 2147483647 h 43"/>
              <a:gd name="T6" fmla="*/ 2147483647 w 11"/>
              <a:gd name="T7" fmla="*/ 2147483647 h 43"/>
              <a:gd name="T8" fmla="*/ 2147483647 w 11"/>
              <a:gd name="T9" fmla="*/ 2147483647 h 43"/>
              <a:gd name="T10" fmla="*/ 2147483647 w 11"/>
              <a:gd name="T11" fmla="*/ 2147483647 h 43"/>
              <a:gd name="T12" fmla="*/ 0 w 11"/>
              <a:gd name="T13" fmla="*/ 2147483647 h 43"/>
              <a:gd name="T14" fmla="*/ 0 w 11"/>
              <a:gd name="T15" fmla="*/ 2147483647 h 43"/>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43"/>
              <a:gd name="T26" fmla="*/ 11 w 11"/>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43">
                <a:moveTo>
                  <a:pt x="0" y="4"/>
                </a:moveTo>
                <a:lnTo>
                  <a:pt x="2" y="0"/>
                </a:lnTo>
                <a:lnTo>
                  <a:pt x="6" y="4"/>
                </a:lnTo>
                <a:lnTo>
                  <a:pt x="4" y="17"/>
                </a:lnTo>
                <a:lnTo>
                  <a:pt x="4" y="28"/>
                </a:lnTo>
                <a:lnTo>
                  <a:pt x="11" y="43"/>
                </a:lnTo>
                <a:lnTo>
                  <a:pt x="0" y="22"/>
                </a:lnTo>
                <a:lnTo>
                  <a:pt x="0" y="4"/>
                </a:lnTo>
              </a:path>
            </a:pathLst>
          </a:custGeom>
          <a:noFill/>
          <a:ln w="6350">
            <a:solidFill>
              <a:srgbClr val="404040"/>
            </a:solidFill>
            <a:round/>
            <a:headEnd/>
            <a:tailEnd/>
          </a:ln>
        </p:spPr>
        <p:txBody>
          <a:bodyPr/>
          <a:lstStyle/>
          <a:p>
            <a:endParaRPr lang="en-US" dirty="0">
              <a:solidFill>
                <a:prstClr val="black"/>
              </a:solidFill>
            </a:endParaRPr>
          </a:p>
        </p:txBody>
      </p:sp>
      <p:sp>
        <p:nvSpPr>
          <p:cNvPr id="290" name="Freeform 123">
            <a:extLst>
              <a:ext uri="{FF2B5EF4-FFF2-40B4-BE49-F238E27FC236}">
                <a16:creationId xmlns:a16="http://schemas.microsoft.com/office/drawing/2014/main" id="{2A7AF42A-9CCB-430B-947D-91886965FD73}"/>
              </a:ext>
            </a:extLst>
          </p:cNvPr>
          <p:cNvSpPr>
            <a:spLocks/>
          </p:cNvSpPr>
          <p:nvPr>
            <p:custDataLst>
              <p:tags r:id="rId114"/>
            </p:custDataLst>
          </p:nvPr>
        </p:nvSpPr>
        <p:spPr bwMode="auto">
          <a:xfrm>
            <a:off x="8459360" y="6161007"/>
            <a:ext cx="19729" cy="43235"/>
          </a:xfrm>
          <a:custGeom>
            <a:avLst/>
            <a:gdLst>
              <a:gd name="T0" fmla="*/ 2147483647 w 10"/>
              <a:gd name="T1" fmla="*/ 2147483647 h 20"/>
              <a:gd name="T2" fmla="*/ 2147483647 w 10"/>
              <a:gd name="T3" fmla="*/ 2147483647 h 20"/>
              <a:gd name="T4" fmla="*/ 2147483647 w 10"/>
              <a:gd name="T5" fmla="*/ 2147483647 h 20"/>
              <a:gd name="T6" fmla="*/ 2147483647 w 10"/>
              <a:gd name="T7" fmla="*/ 2147483647 h 20"/>
              <a:gd name="T8" fmla="*/ 0 w 10"/>
              <a:gd name="T9" fmla="*/ 2147483647 h 20"/>
              <a:gd name="T10" fmla="*/ 2147483647 w 10"/>
              <a:gd name="T11" fmla="*/ 0 h 20"/>
              <a:gd name="T12" fmla="*/ 2147483647 w 10"/>
              <a:gd name="T13" fmla="*/ 2147483647 h 20"/>
              <a:gd name="T14" fmla="*/ 0 60000 65536"/>
              <a:gd name="T15" fmla="*/ 0 60000 65536"/>
              <a:gd name="T16" fmla="*/ 0 60000 65536"/>
              <a:gd name="T17" fmla="*/ 0 60000 65536"/>
              <a:gd name="T18" fmla="*/ 0 60000 65536"/>
              <a:gd name="T19" fmla="*/ 0 60000 65536"/>
              <a:gd name="T20" fmla="*/ 0 60000 65536"/>
              <a:gd name="T21" fmla="*/ 0 w 10"/>
              <a:gd name="T22" fmla="*/ 0 h 20"/>
              <a:gd name="T23" fmla="*/ 10 w 10"/>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20">
                <a:moveTo>
                  <a:pt x="8" y="11"/>
                </a:moveTo>
                <a:lnTo>
                  <a:pt x="10" y="18"/>
                </a:lnTo>
                <a:lnTo>
                  <a:pt x="8" y="20"/>
                </a:lnTo>
                <a:lnTo>
                  <a:pt x="4" y="7"/>
                </a:lnTo>
                <a:lnTo>
                  <a:pt x="0" y="3"/>
                </a:lnTo>
                <a:lnTo>
                  <a:pt x="4" y="0"/>
                </a:lnTo>
                <a:lnTo>
                  <a:pt x="8" y="11"/>
                </a:lnTo>
              </a:path>
            </a:pathLst>
          </a:custGeom>
          <a:noFill/>
          <a:ln w="6350">
            <a:solidFill>
              <a:srgbClr val="404040"/>
            </a:solidFill>
            <a:round/>
            <a:headEnd/>
            <a:tailEnd/>
          </a:ln>
        </p:spPr>
        <p:txBody>
          <a:bodyPr/>
          <a:lstStyle/>
          <a:p>
            <a:endParaRPr lang="en-US" dirty="0">
              <a:solidFill>
                <a:prstClr val="black"/>
              </a:solidFill>
            </a:endParaRPr>
          </a:p>
        </p:txBody>
      </p:sp>
      <p:sp>
        <p:nvSpPr>
          <p:cNvPr id="291" name="Freeform 124">
            <a:extLst>
              <a:ext uri="{FF2B5EF4-FFF2-40B4-BE49-F238E27FC236}">
                <a16:creationId xmlns:a16="http://schemas.microsoft.com/office/drawing/2014/main" id="{CC37D57D-4E11-49AE-B12F-26752BB90969}"/>
              </a:ext>
            </a:extLst>
          </p:cNvPr>
          <p:cNvSpPr>
            <a:spLocks noEditPoints="1"/>
          </p:cNvSpPr>
          <p:nvPr>
            <p:custDataLst>
              <p:tags r:id="rId115"/>
            </p:custDataLst>
          </p:nvPr>
        </p:nvSpPr>
        <p:spPr bwMode="auto">
          <a:xfrm>
            <a:off x="6839442" y="2101331"/>
            <a:ext cx="1137648" cy="1139219"/>
          </a:xfrm>
          <a:custGeom>
            <a:avLst/>
            <a:gdLst>
              <a:gd name="T0" fmla="*/ 2147483647 w 563"/>
              <a:gd name="T1" fmla="*/ 2147483647 h 527"/>
              <a:gd name="T2" fmla="*/ 2147483647 w 563"/>
              <a:gd name="T3" fmla="*/ 2147483647 h 527"/>
              <a:gd name="T4" fmla="*/ 2147483647 w 563"/>
              <a:gd name="T5" fmla="*/ 2147483647 h 527"/>
              <a:gd name="T6" fmla="*/ 2147483647 w 563"/>
              <a:gd name="T7" fmla="*/ 2147483647 h 527"/>
              <a:gd name="T8" fmla="*/ 2147483647 w 563"/>
              <a:gd name="T9" fmla="*/ 2147483647 h 527"/>
              <a:gd name="T10" fmla="*/ 2147483647 w 563"/>
              <a:gd name="T11" fmla="*/ 2147483647 h 527"/>
              <a:gd name="T12" fmla="*/ 2147483647 w 563"/>
              <a:gd name="T13" fmla="*/ 2147483647 h 527"/>
              <a:gd name="T14" fmla="*/ 2147483647 w 563"/>
              <a:gd name="T15" fmla="*/ 2147483647 h 527"/>
              <a:gd name="T16" fmla="*/ 2147483647 w 563"/>
              <a:gd name="T17" fmla="*/ 2147483647 h 527"/>
              <a:gd name="T18" fmla="*/ 2147483647 w 563"/>
              <a:gd name="T19" fmla="*/ 2147483647 h 527"/>
              <a:gd name="T20" fmla="*/ 2147483647 w 563"/>
              <a:gd name="T21" fmla="*/ 2147483647 h 527"/>
              <a:gd name="T22" fmla="*/ 2147483647 w 563"/>
              <a:gd name="T23" fmla="*/ 2147483647 h 527"/>
              <a:gd name="T24" fmla="*/ 2147483647 w 563"/>
              <a:gd name="T25" fmla="*/ 2147483647 h 527"/>
              <a:gd name="T26" fmla="*/ 2147483647 w 563"/>
              <a:gd name="T27" fmla="*/ 2147483647 h 527"/>
              <a:gd name="T28" fmla="*/ 2147483647 w 563"/>
              <a:gd name="T29" fmla="*/ 2147483647 h 527"/>
              <a:gd name="T30" fmla="*/ 2147483647 w 563"/>
              <a:gd name="T31" fmla="*/ 2147483647 h 527"/>
              <a:gd name="T32" fmla="*/ 2147483647 w 563"/>
              <a:gd name="T33" fmla="*/ 2147483647 h 527"/>
              <a:gd name="T34" fmla="*/ 2147483647 w 563"/>
              <a:gd name="T35" fmla="*/ 2147483647 h 527"/>
              <a:gd name="T36" fmla="*/ 2147483647 w 563"/>
              <a:gd name="T37" fmla="*/ 2147483647 h 527"/>
              <a:gd name="T38" fmla="*/ 2147483647 w 563"/>
              <a:gd name="T39" fmla="*/ 2147483647 h 527"/>
              <a:gd name="T40" fmla="*/ 0 w 563"/>
              <a:gd name="T41" fmla="*/ 2147483647 h 527"/>
              <a:gd name="T42" fmla="*/ 2147483647 w 563"/>
              <a:gd name="T43" fmla="*/ 2147483647 h 527"/>
              <a:gd name="T44" fmla="*/ 2147483647 w 563"/>
              <a:gd name="T45" fmla="*/ 2147483647 h 527"/>
              <a:gd name="T46" fmla="*/ 2147483647 w 563"/>
              <a:gd name="T47" fmla="*/ 2147483647 h 527"/>
              <a:gd name="T48" fmla="*/ 2147483647 w 563"/>
              <a:gd name="T49" fmla="*/ 2147483647 h 527"/>
              <a:gd name="T50" fmla="*/ 2147483647 w 563"/>
              <a:gd name="T51" fmla="*/ 2147483647 h 527"/>
              <a:gd name="T52" fmla="*/ 2147483647 w 563"/>
              <a:gd name="T53" fmla="*/ 2147483647 h 527"/>
              <a:gd name="T54" fmla="*/ 2147483647 w 563"/>
              <a:gd name="T55" fmla="*/ 2147483647 h 527"/>
              <a:gd name="T56" fmla="*/ 2147483647 w 563"/>
              <a:gd name="T57" fmla="*/ 2147483647 h 527"/>
              <a:gd name="T58" fmla="*/ 2147483647 w 563"/>
              <a:gd name="T59" fmla="*/ 2147483647 h 527"/>
              <a:gd name="T60" fmla="*/ 2147483647 w 563"/>
              <a:gd name="T61" fmla="*/ 2147483647 h 527"/>
              <a:gd name="T62" fmla="*/ 2147483647 w 563"/>
              <a:gd name="T63" fmla="*/ 2147483647 h 527"/>
              <a:gd name="T64" fmla="*/ 2147483647 w 563"/>
              <a:gd name="T65" fmla="*/ 2147483647 h 527"/>
              <a:gd name="T66" fmla="*/ 2147483647 w 563"/>
              <a:gd name="T67" fmla="*/ 2147483647 h 527"/>
              <a:gd name="T68" fmla="*/ 2147483647 w 563"/>
              <a:gd name="T69" fmla="*/ 2147483647 h 527"/>
              <a:gd name="T70" fmla="*/ 2147483647 w 563"/>
              <a:gd name="T71" fmla="*/ 2147483647 h 527"/>
              <a:gd name="T72" fmla="*/ 2147483647 w 563"/>
              <a:gd name="T73" fmla="*/ 2147483647 h 527"/>
              <a:gd name="T74" fmla="*/ 2147483647 w 563"/>
              <a:gd name="T75" fmla="*/ 2147483647 h 527"/>
              <a:gd name="T76" fmla="*/ 2147483647 w 563"/>
              <a:gd name="T77" fmla="*/ 2147483647 h 527"/>
              <a:gd name="T78" fmla="*/ 2147483647 w 563"/>
              <a:gd name="T79" fmla="*/ 2147483647 h 527"/>
              <a:gd name="T80" fmla="*/ 2147483647 w 563"/>
              <a:gd name="T81" fmla="*/ 2147483647 h 527"/>
              <a:gd name="T82" fmla="*/ 2147483647 w 563"/>
              <a:gd name="T83" fmla="*/ 2147483647 h 527"/>
              <a:gd name="T84" fmla="*/ 2147483647 w 563"/>
              <a:gd name="T85" fmla="*/ 2147483647 h 527"/>
              <a:gd name="T86" fmla="*/ 2147483647 w 563"/>
              <a:gd name="T87" fmla="*/ 2147483647 h 527"/>
              <a:gd name="T88" fmla="*/ 2147483647 w 563"/>
              <a:gd name="T89" fmla="*/ 2147483647 h 527"/>
              <a:gd name="T90" fmla="*/ 2147483647 w 563"/>
              <a:gd name="T91" fmla="*/ 2147483647 h 527"/>
              <a:gd name="T92" fmla="*/ 2147483647 w 563"/>
              <a:gd name="T93" fmla="*/ 2147483647 h 527"/>
              <a:gd name="T94" fmla="*/ 2147483647 w 563"/>
              <a:gd name="T95" fmla="*/ 2147483647 h 527"/>
              <a:gd name="T96" fmla="*/ 2147483647 w 563"/>
              <a:gd name="T97" fmla="*/ 2147483647 h 527"/>
              <a:gd name="T98" fmla="*/ 2147483647 w 563"/>
              <a:gd name="T99" fmla="*/ 2147483647 h 527"/>
              <a:gd name="T100" fmla="*/ 2147483647 w 563"/>
              <a:gd name="T101" fmla="*/ 2147483647 h 527"/>
              <a:gd name="T102" fmla="*/ 2147483647 w 563"/>
              <a:gd name="T103" fmla="*/ 2147483647 h 527"/>
              <a:gd name="T104" fmla="*/ 2147483647 w 563"/>
              <a:gd name="T105" fmla="*/ 2147483647 h 527"/>
              <a:gd name="T106" fmla="*/ 2147483647 w 563"/>
              <a:gd name="T107" fmla="*/ 2147483647 h 527"/>
              <a:gd name="T108" fmla="*/ 2147483647 w 563"/>
              <a:gd name="T109" fmla="*/ 2147483647 h 527"/>
              <a:gd name="T110" fmla="*/ 2147483647 w 563"/>
              <a:gd name="T111" fmla="*/ 2147483647 h 527"/>
              <a:gd name="T112" fmla="*/ 2147483647 w 563"/>
              <a:gd name="T113" fmla="*/ 2147483647 h 527"/>
              <a:gd name="T114" fmla="*/ 2147483647 w 563"/>
              <a:gd name="T115" fmla="*/ 2147483647 h 527"/>
              <a:gd name="T116" fmla="*/ 2147483647 w 563"/>
              <a:gd name="T117" fmla="*/ 2147483647 h 527"/>
              <a:gd name="T118" fmla="*/ 2147483647 w 563"/>
              <a:gd name="T119" fmla="*/ 2147483647 h 527"/>
              <a:gd name="T120" fmla="*/ 2147483647 w 563"/>
              <a:gd name="T121" fmla="*/ 2147483647 h 5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63"/>
              <a:gd name="T184" fmla="*/ 0 h 527"/>
              <a:gd name="T185" fmla="*/ 563 w 563"/>
              <a:gd name="T186" fmla="*/ 527 h 5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63" h="527">
                <a:moveTo>
                  <a:pt x="118" y="22"/>
                </a:moveTo>
                <a:lnTo>
                  <a:pt x="120" y="15"/>
                </a:lnTo>
                <a:lnTo>
                  <a:pt x="136" y="7"/>
                </a:lnTo>
                <a:lnTo>
                  <a:pt x="161" y="0"/>
                </a:lnTo>
                <a:lnTo>
                  <a:pt x="168" y="7"/>
                </a:lnTo>
                <a:lnTo>
                  <a:pt x="166" y="9"/>
                </a:lnTo>
                <a:lnTo>
                  <a:pt x="153" y="11"/>
                </a:lnTo>
                <a:lnTo>
                  <a:pt x="136" y="28"/>
                </a:lnTo>
                <a:lnTo>
                  <a:pt x="125" y="48"/>
                </a:lnTo>
                <a:lnTo>
                  <a:pt x="120" y="39"/>
                </a:lnTo>
                <a:lnTo>
                  <a:pt x="114" y="37"/>
                </a:lnTo>
                <a:lnTo>
                  <a:pt x="112" y="26"/>
                </a:lnTo>
                <a:lnTo>
                  <a:pt x="118" y="22"/>
                </a:lnTo>
                <a:close/>
                <a:moveTo>
                  <a:pt x="300" y="128"/>
                </a:moveTo>
                <a:lnTo>
                  <a:pt x="295" y="130"/>
                </a:lnTo>
                <a:lnTo>
                  <a:pt x="295" y="134"/>
                </a:lnTo>
                <a:lnTo>
                  <a:pt x="285" y="130"/>
                </a:lnTo>
                <a:lnTo>
                  <a:pt x="272" y="134"/>
                </a:lnTo>
                <a:lnTo>
                  <a:pt x="269" y="139"/>
                </a:lnTo>
                <a:lnTo>
                  <a:pt x="269" y="145"/>
                </a:lnTo>
                <a:lnTo>
                  <a:pt x="263" y="154"/>
                </a:lnTo>
                <a:lnTo>
                  <a:pt x="256" y="154"/>
                </a:lnTo>
                <a:lnTo>
                  <a:pt x="256" y="156"/>
                </a:lnTo>
                <a:lnTo>
                  <a:pt x="254" y="158"/>
                </a:lnTo>
                <a:lnTo>
                  <a:pt x="252" y="167"/>
                </a:lnTo>
                <a:lnTo>
                  <a:pt x="248" y="167"/>
                </a:lnTo>
                <a:lnTo>
                  <a:pt x="248" y="160"/>
                </a:lnTo>
                <a:lnTo>
                  <a:pt x="252" y="147"/>
                </a:lnTo>
                <a:lnTo>
                  <a:pt x="243" y="147"/>
                </a:lnTo>
                <a:lnTo>
                  <a:pt x="233" y="160"/>
                </a:lnTo>
                <a:lnTo>
                  <a:pt x="220" y="162"/>
                </a:lnTo>
                <a:lnTo>
                  <a:pt x="213" y="177"/>
                </a:lnTo>
                <a:lnTo>
                  <a:pt x="207" y="190"/>
                </a:lnTo>
                <a:lnTo>
                  <a:pt x="194" y="216"/>
                </a:lnTo>
                <a:lnTo>
                  <a:pt x="194" y="221"/>
                </a:lnTo>
                <a:lnTo>
                  <a:pt x="187" y="218"/>
                </a:lnTo>
                <a:lnTo>
                  <a:pt x="183" y="216"/>
                </a:lnTo>
                <a:lnTo>
                  <a:pt x="183" y="212"/>
                </a:lnTo>
                <a:lnTo>
                  <a:pt x="185" y="210"/>
                </a:lnTo>
                <a:lnTo>
                  <a:pt x="185" y="208"/>
                </a:lnTo>
                <a:lnTo>
                  <a:pt x="185" y="205"/>
                </a:lnTo>
                <a:lnTo>
                  <a:pt x="187" y="197"/>
                </a:lnTo>
                <a:lnTo>
                  <a:pt x="185" y="195"/>
                </a:lnTo>
                <a:lnTo>
                  <a:pt x="181" y="197"/>
                </a:lnTo>
                <a:lnTo>
                  <a:pt x="174" y="197"/>
                </a:lnTo>
                <a:lnTo>
                  <a:pt x="174" y="201"/>
                </a:lnTo>
                <a:lnTo>
                  <a:pt x="172" y="197"/>
                </a:lnTo>
                <a:lnTo>
                  <a:pt x="174" y="192"/>
                </a:lnTo>
                <a:lnTo>
                  <a:pt x="172" y="190"/>
                </a:lnTo>
                <a:lnTo>
                  <a:pt x="174" y="188"/>
                </a:lnTo>
                <a:lnTo>
                  <a:pt x="179" y="186"/>
                </a:lnTo>
                <a:lnTo>
                  <a:pt x="174" y="180"/>
                </a:lnTo>
                <a:lnTo>
                  <a:pt x="174" y="177"/>
                </a:lnTo>
                <a:lnTo>
                  <a:pt x="179" y="177"/>
                </a:lnTo>
                <a:lnTo>
                  <a:pt x="179" y="175"/>
                </a:lnTo>
                <a:lnTo>
                  <a:pt x="172" y="171"/>
                </a:lnTo>
                <a:lnTo>
                  <a:pt x="174" y="171"/>
                </a:lnTo>
                <a:lnTo>
                  <a:pt x="174" y="169"/>
                </a:lnTo>
                <a:lnTo>
                  <a:pt x="179" y="169"/>
                </a:lnTo>
                <a:lnTo>
                  <a:pt x="174" y="167"/>
                </a:lnTo>
                <a:lnTo>
                  <a:pt x="172" y="167"/>
                </a:lnTo>
                <a:lnTo>
                  <a:pt x="170" y="162"/>
                </a:lnTo>
                <a:lnTo>
                  <a:pt x="164" y="160"/>
                </a:lnTo>
                <a:lnTo>
                  <a:pt x="164" y="158"/>
                </a:lnTo>
                <a:lnTo>
                  <a:pt x="157" y="160"/>
                </a:lnTo>
                <a:lnTo>
                  <a:pt x="155" y="160"/>
                </a:lnTo>
                <a:lnTo>
                  <a:pt x="153" y="158"/>
                </a:lnTo>
                <a:lnTo>
                  <a:pt x="153" y="156"/>
                </a:lnTo>
                <a:lnTo>
                  <a:pt x="155" y="151"/>
                </a:lnTo>
                <a:lnTo>
                  <a:pt x="153" y="151"/>
                </a:lnTo>
                <a:lnTo>
                  <a:pt x="153" y="147"/>
                </a:lnTo>
                <a:lnTo>
                  <a:pt x="151" y="145"/>
                </a:lnTo>
                <a:lnTo>
                  <a:pt x="148" y="145"/>
                </a:lnTo>
                <a:lnTo>
                  <a:pt x="146" y="145"/>
                </a:lnTo>
                <a:lnTo>
                  <a:pt x="144" y="143"/>
                </a:lnTo>
                <a:lnTo>
                  <a:pt x="140" y="145"/>
                </a:lnTo>
                <a:lnTo>
                  <a:pt x="138" y="145"/>
                </a:lnTo>
                <a:lnTo>
                  <a:pt x="136" y="143"/>
                </a:lnTo>
                <a:lnTo>
                  <a:pt x="133" y="143"/>
                </a:lnTo>
                <a:lnTo>
                  <a:pt x="131" y="143"/>
                </a:lnTo>
                <a:lnTo>
                  <a:pt x="129" y="143"/>
                </a:lnTo>
                <a:lnTo>
                  <a:pt x="129" y="141"/>
                </a:lnTo>
                <a:lnTo>
                  <a:pt x="125" y="141"/>
                </a:lnTo>
                <a:lnTo>
                  <a:pt x="123" y="141"/>
                </a:lnTo>
                <a:lnTo>
                  <a:pt x="120" y="141"/>
                </a:lnTo>
                <a:lnTo>
                  <a:pt x="120" y="143"/>
                </a:lnTo>
                <a:lnTo>
                  <a:pt x="118" y="143"/>
                </a:lnTo>
                <a:lnTo>
                  <a:pt x="116" y="141"/>
                </a:lnTo>
                <a:lnTo>
                  <a:pt x="114" y="141"/>
                </a:lnTo>
                <a:lnTo>
                  <a:pt x="107" y="141"/>
                </a:lnTo>
                <a:lnTo>
                  <a:pt x="99" y="139"/>
                </a:lnTo>
                <a:lnTo>
                  <a:pt x="97" y="136"/>
                </a:lnTo>
                <a:lnTo>
                  <a:pt x="86" y="130"/>
                </a:lnTo>
                <a:lnTo>
                  <a:pt x="32" y="121"/>
                </a:lnTo>
                <a:lnTo>
                  <a:pt x="21" y="119"/>
                </a:lnTo>
                <a:lnTo>
                  <a:pt x="19" y="115"/>
                </a:lnTo>
                <a:lnTo>
                  <a:pt x="19" y="113"/>
                </a:lnTo>
                <a:lnTo>
                  <a:pt x="17" y="108"/>
                </a:lnTo>
                <a:lnTo>
                  <a:pt x="15" y="104"/>
                </a:lnTo>
                <a:lnTo>
                  <a:pt x="8" y="104"/>
                </a:lnTo>
                <a:lnTo>
                  <a:pt x="8" y="102"/>
                </a:lnTo>
                <a:lnTo>
                  <a:pt x="6" y="102"/>
                </a:lnTo>
                <a:lnTo>
                  <a:pt x="6" y="98"/>
                </a:lnTo>
                <a:lnTo>
                  <a:pt x="2" y="102"/>
                </a:lnTo>
                <a:lnTo>
                  <a:pt x="0" y="98"/>
                </a:lnTo>
                <a:lnTo>
                  <a:pt x="23" y="87"/>
                </a:lnTo>
                <a:lnTo>
                  <a:pt x="32" y="76"/>
                </a:lnTo>
                <a:lnTo>
                  <a:pt x="38" y="72"/>
                </a:lnTo>
                <a:lnTo>
                  <a:pt x="64" y="65"/>
                </a:lnTo>
                <a:lnTo>
                  <a:pt x="73" y="59"/>
                </a:lnTo>
                <a:lnTo>
                  <a:pt x="79" y="52"/>
                </a:lnTo>
                <a:lnTo>
                  <a:pt x="88" y="52"/>
                </a:lnTo>
                <a:lnTo>
                  <a:pt x="90" y="48"/>
                </a:lnTo>
                <a:lnTo>
                  <a:pt x="92" y="41"/>
                </a:lnTo>
                <a:lnTo>
                  <a:pt x="112" y="28"/>
                </a:lnTo>
                <a:lnTo>
                  <a:pt x="112" y="37"/>
                </a:lnTo>
                <a:lnTo>
                  <a:pt x="118" y="39"/>
                </a:lnTo>
                <a:lnTo>
                  <a:pt x="118" y="46"/>
                </a:lnTo>
                <a:lnTo>
                  <a:pt x="123" y="48"/>
                </a:lnTo>
                <a:lnTo>
                  <a:pt x="123" y="56"/>
                </a:lnTo>
                <a:lnTo>
                  <a:pt x="123" y="61"/>
                </a:lnTo>
                <a:lnTo>
                  <a:pt x="125" y="69"/>
                </a:lnTo>
                <a:lnTo>
                  <a:pt x="140" y="52"/>
                </a:lnTo>
                <a:lnTo>
                  <a:pt x="140" y="56"/>
                </a:lnTo>
                <a:lnTo>
                  <a:pt x="151" y="54"/>
                </a:lnTo>
                <a:lnTo>
                  <a:pt x="157" y="54"/>
                </a:lnTo>
                <a:lnTo>
                  <a:pt x="174" y="59"/>
                </a:lnTo>
                <a:lnTo>
                  <a:pt x="196" y="89"/>
                </a:lnTo>
                <a:lnTo>
                  <a:pt x="213" y="89"/>
                </a:lnTo>
                <a:lnTo>
                  <a:pt x="220" y="82"/>
                </a:lnTo>
                <a:lnTo>
                  <a:pt x="231" y="91"/>
                </a:lnTo>
                <a:lnTo>
                  <a:pt x="235" y="87"/>
                </a:lnTo>
                <a:lnTo>
                  <a:pt x="246" y="91"/>
                </a:lnTo>
                <a:lnTo>
                  <a:pt x="254" y="78"/>
                </a:lnTo>
                <a:lnTo>
                  <a:pt x="272" y="65"/>
                </a:lnTo>
                <a:lnTo>
                  <a:pt x="278" y="65"/>
                </a:lnTo>
                <a:lnTo>
                  <a:pt x="293" y="61"/>
                </a:lnTo>
                <a:lnTo>
                  <a:pt x="315" y="61"/>
                </a:lnTo>
                <a:lnTo>
                  <a:pt x="332" y="52"/>
                </a:lnTo>
                <a:lnTo>
                  <a:pt x="349" y="48"/>
                </a:lnTo>
                <a:lnTo>
                  <a:pt x="345" y="56"/>
                </a:lnTo>
                <a:lnTo>
                  <a:pt x="347" y="69"/>
                </a:lnTo>
                <a:lnTo>
                  <a:pt x="347" y="74"/>
                </a:lnTo>
                <a:lnTo>
                  <a:pt x="349" y="76"/>
                </a:lnTo>
                <a:lnTo>
                  <a:pt x="354" y="74"/>
                </a:lnTo>
                <a:lnTo>
                  <a:pt x="362" y="76"/>
                </a:lnTo>
                <a:lnTo>
                  <a:pt x="375" y="72"/>
                </a:lnTo>
                <a:lnTo>
                  <a:pt x="377" y="78"/>
                </a:lnTo>
                <a:lnTo>
                  <a:pt x="386" y="72"/>
                </a:lnTo>
                <a:lnTo>
                  <a:pt x="395" y="69"/>
                </a:lnTo>
                <a:lnTo>
                  <a:pt x="403" y="91"/>
                </a:lnTo>
                <a:lnTo>
                  <a:pt x="399" y="95"/>
                </a:lnTo>
                <a:lnTo>
                  <a:pt x="401" y="98"/>
                </a:lnTo>
                <a:lnTo>
                  <a:pt x="410" y="95"/>
                </a:lnTo>
                <a:lnTo>
                  <a:pt x="416" y="102"/>
                </a:lnTo>
                <a:lnTo>
                  <a:pt x="414" y="104"/>
                </a:lnTo>
                <a:lnTo>
                  <a:pt x="418" y="108"/>
                </a:lnTo>
                <a:lnTo>
                  <a:pt x="427" y="110"/>
                </a:lnTo>
                <a:lnTo>
                  <a:pt x="427" y="115"/>
                </a:lnTo>
                <a:lnTo>
                  <a:pt x="412" y="115"/>
                </a:lnTo>
                <a:lnTo>
                  <a:pt x="397" y="115"/>
                </a:lnTo>
                <a:lnTo>
                  <a:pt x="386" y="119"/>
                </a:lnTo>
                <a:lnTo>
                  <a:pt x="380" y="113"/>
                </a:lnTo>
                <a:lnTo>
                  <a:pt x="375" y="113"/>
                </a:lnTo>
                <a:lnTo>
                  <a:pt x="375" y="130"/>
                </a:lnTo>
                <a:lnTo>
                  <a:pt x="364" y="128"/>
                </a:lnTo>
                <a:lnTo>
                  <a:pt x="349" y="119"/>
                </a:lnTo>
                <a:lnTo>
                  <a:pt x="330" y="113"/>
                </a:lnTo>
                <a:lnTo>
                  <a:pt x="319" y="113"/>
                </a:lnTo>
                <a:lnTo>
                  <a:pt x="313" y="128"/>
                </a:lnTo>
                <a:lnTo>
                  <a:pt x="300" y="128"/>
                </a:lnTo>
                <a:close/>
                <a:moveTo>
                  <a:pt x="429" y="108"/>
                </a:moveTo>
                <a:lnTo>
                  <a:pt x="431" y="110"/>
                </a:lnTo>
                <a:lnTo>
                  <a:pt x="434" y="108"/>
                </a:lnTo>
                <a:lnTo>
                  <a:pt x="440" y="106"/>
                </a:lnTo>
                <a:lnTo>
                  <a:pt x="440" y="104"/>
                </a:lnTo>
                <a:lnTo>
                  <a:pt x="436" y="102"/>
                </a:lnTo>
                <a:lnTo>
                  <a:pt x="442" y="98"/>
                </a:lnTo>
                <a:lnTo>
                  <a:pt x="444" y="102"/>
                </a:lnTo>
                <a:lnTo>
                  <a:pt x="449" y="106"/>
                </a:lnTo>
                <a:lnTo>
                  <a:pt x="455" y="108"/>
                </a:lnTo>
                <a:lnTo>
                  <a:pt x="451" y="115"/>
                </a:lnTo>
                <a:lnTo>
                  <a:pt x="446" y="115"/>
                </a:lnTo>
                <a:lnTo>
                  <a:pt x="444" y="113"/>
                </a:lnTo>
                <a:lnTo>
                  <a:pt x="434" y="115"/>
                </a:lnTo>
                <a:lnTo>
                  <a:pt x="429" y="110"/>
                </a:lnTo>
                <a:lnTo>
                  <a:pt x="427" y="113"/>
                </a:lnTo>
                <a:lnTo>
                  <a:pt x="429" y="108"/>
                </a:lnTo>
                <a:close/>
                <a:moveTo>
                  <a:pt x="276" y="527"/>
                </a:moveTo>
                <a:lnTo>
                  <a:pt x="287" y="512"/>
                </a:lnTo>
                <a:lnTo>
                  <a:pt x="295" y="490"/>
                </a:lnTo>
                <a:lnTo>
                  <a:pt x="302" y="480"/>
                </a:lnTo>
                <a:lnTo>
                  <a:pt x="304" y="462"/>
                </a:lnTo>
                <a:lnTo>
                  <a:pt x="308" y="430"/>
                </a:lnTo>
                <a:lnTo>
                  <a:pt x="300" y="398"/>
                </a:lnTo>
                <a:lnTo>
                  <a:pt x="282" y="365"/>
                </a:lnTo>
                <a:lnTo>
                  <a:pt x="278" y="350"/>
                </a:lnTo>
                <a:lnTo>
                  <a:pt x="282" y="337"/>
                </a:lnTo>
                <a:lnTo>
                  <a:pt x="285" y="337"/>
                </a:lnTo>
                <a:lnTo>
                  <a:pt x="282" y="337"/>
                </a:lnTo>
                <a:lnTo>
                  <a:pt x="282" y="333"/>
                </a:lnTo>
                <a:lnTo>
                  <a:pt x="280" y="322"/>
                </a:lnTo>
                <a:lnTo>
                  <a:pt x="276" y="311"/>
                </a:lnTo>
                <a:lnTo>
                  <a:pt x="282" y="300"/>
                </a:lnTo>
                <a:lnTo>
                  <a:pt x="287" y="283"/>
                </a:lnTo>
                <a:lnTo>
                  <a:pt x="287" y="268"/>
                </a:lnTo>
                <a:lnTo>
                  <a:pt x="285" y="251"/>
                </a:lnTo>
                <a:lnTo>
                  <a:pt x="295" y="244"/>
                </a:lnTo>
                <a:lnTo>
                  <a:pt x="297" y="242"/>
                </a:lnTo>
                <a:lnTo>
                  <a:pt x="295" y="236"/>
                </a:lnTo>
                <a:lnTo>
                  <a:pt x="297" y="229"/>
                </a:lnTo>
                <a:lnTo>
                  <a:pt x="313" y="221"/>
                </a:lnTo>
                <a:lnTo>
                  <a:pt x="321" y="201"/>
                </a:lnTo>
                <a:lnTo>
                  <a:pt x="328" y="201"/>
                </a:lnTo>
                <a:lnTo>
                  <a:pt x="321" y="223"/>
                </a:lnTo>
                <a:lnTo>
                  <a:pt x="326" y="238"/>
                </a:lnTo>
                <a:lnTo>
                  <a:pt x="332" y="238"/>
                </a:lnTo>
                <a:lnTo>
                  <a:pt x="336" y="229"/>
                </a:lnTo>
                <a:lnTo>
                  <a:pt x="341" y="216"/>
                </a:lnTo>
                <a:lnTo>
                  <a:pt x="336" y="195"/>
                </a:lnTo>
                <a:lnTo>
                  <a:pt x="336" y="190"/>
                </a:lnTo>
                <a:lnTo>
                  <a:pt x="343" y="186"/>
                </a:lnTo>
                <a:lnTo>
                  <a:pt x="354" y="177"/>
                </a:lnTo>
                <a:lnTo>
                  <a:pt x="362" y="177"/>
                </a:lnTo>
                <a:lnTo>
                  <a:pt x="367" y="173"/>
                </a:lnTo>
                <a:lnTo>
                  <a:pt x="354" y="171"/>
                </a:lnTo>
                <a:lnTo>
                  <a:pt x="351" y="160"/>
                </a:lnTo>
                <a:lnTo>
                  <a:pt x="354" y="156"/>
                </a:lnTo>
                <a:lnTo>
                  <a:pt x="360" y="147"/>
                </a:lnTo>
                <a:lnTo>
                  <a:pt x="360" y="143"/>
                </a:lnTo>
                <a:lnTo>
                  <a:pt x="375" y="139"/>
                </a:lnTo>
                <a:lnTo>
                  <a:pt x="395" y="147"/>
                </a:lnTo>
                <a:lnTo>
                  <a:pt x="401" y="145"/>
                </a:lnTo>
                <a:lnTo>
                  <a:pt x="412" y="147"/>
                </a:lnTo>
                <a:lnTo>
                  <a:pt x="416" y="154"/>
                </a:lnTo>
                <a:lnTo>
                  <a:pt x="418" y="160"/>
                </a:lnTo>
                <a:lnTo>
                  <a:pt x="431" y="158"/>
                </a:lnTo>
                <a:lnTo>
                  <a:pt x="442" y="167"/>
                </a:lnTo>
                <a:lnTo>
                  <a:pt x="446" y="162"/>
                </a:lnTo>
                <a:lnTo>
                  <a:pt x="455" y="169"/>
                </a:lnTo>
                <a:lnTo>
                  <a:pt x="459" y="169"/>
                </a:lnTo>
                <a:lnTo>
                  <a:pt x="462" y="171"/>
                </a:lnTo>
                <a:lnTo>
                  <a:pt x="468" y="175"/>
                </a:lnTo>
                <a:lnTo>
                  <a:pt x="466" y="175"/>
                </a:lnTo>
                <a:lnTo>
                  <a:pt x="468" y="180"/>
                </a:lnTo>
                <a:lnTo>
                  <a:pt x="477" y="190"/>
                </a:lnTo>
                <a:lnTo>
                  <a:pt x="466" y="195"/>
                </a:lnTo>
                <a:lnTo>
                  <a:pt x="468" y="197"/>
                </a:lnTo>
                <a:lnTo>
                  <a:pt x="466" y="201"/>
                </a:lnTo>
                <a:lnTo>
                  <a:pt x="468" y="208"/>
                </a:lnTo>
                <a:lnTo>
                  <a:pt x="479" y="212"/>
                </a:lnTo>
                <a:lnTo>
                  <a:pt x="481" y="225"/>
                </a:lnTo>
                <a:lnTo>
                  <a:pt x="481" y="242"/>
                </a:lnTo>
                <a:lnTo>
                  <a:pt x="481" y="259"/>
                </a:lnTo>
                <a:lnTo>
                  <a:pt x="472" y="270"/>
                </a:lnTo>
                <a:lnTo>
                  <a:pt x="468" y="277"/>
                </a:lnTo>
                <a:lnTo>
                  <a:pt x="468" y="287"/>
                </a:lnTo>
                <a:lnTo>
                  <a:pt x="464" y="294"/>
                </a:lnTo>
                <a:lnTo>
                  <a:pt x="451" y="300"/>
                </a:lnTo>
                <a:lnTo>
                  <a:pt x="449" y="305"/>
                </a:lnTo>
                <a:lnTo>
                  <a:pt x="451" y="324"/>
                </a:lnTo>
                <a:lnTo>
                  <a:pt x="468" y="333"/>
                </a:lnTo>
                <a:lnTo>
                  <a:pt x="472" y="333"/>
                </a:lnTo>
                <a:lnTo>
                  <a:pt x="479" y="320"/>
                </a:lnTo>
                <a:lnTo>
                  <a:pt x="481" y="320"/>
                </a:lnTo>
                <a:lnTo>
                  <a:pt x="481" y="318"/>
                </a:lnTo>
                <a:lnTo>
                  <a:pt x="485" y="307"/>
                </a:lnTo>
                <a:lnTo>
                  <a:pt x="490" y="298"/>
                </a:lnTo>
                <a:lnTo>
                  <a:pt x="513" y="283"/>
                </a:lnTo>
                <a:lnTo>
                  <a:pt x="524" y="285"/>
                </a:lnTo>
                <a:lnTo>
                  <a:pt x="529" y="290"/>
                </a:lnTo>
                <a:lnTo>
                  <a:pt x="539" y="305"/>
                </a:lnTo>
                <a:lnTo>
                  <a:pt x="541" y="311"/>
                </a:lnTo>
                <a:lnTo>
                  <a:pt x="554" y="359"/>
                </a:lnTo>
                <a:lnTo>
                  <a:pt x="563" y="380"/>
                </a:lnTo>
                <a:lnTo>
                  <a:pt x="561" y="387"/>
                </a:lnTo>
                <a:lnTo>
                  <a:pt x="561" y="400"/>
                </a:lnTo>
                <a:lnTo>
                  <a:pt x="561" y="413"/>
                </a:lnTo>
                <a:lnTo>
                  <a:pt x="550" y="413"/>
                </a:lnTo>
                <a:lnTo>
                  <a:pt x="550" y="408"/>
                </a:lnTo>
                <a:lnTo>
                  <a:pt x="546" y="408"/>
                </a:lnTo>
                <a:lnTo>
                  <a:pt x="539" y="415"/>
                </a:lnTo>
                <a:lnTo>
                  <a:pt x="541" y="415"/>
                </a:lnTo>
                <a:lnTo>
                  <a:pt x="537" y="426"/>
                </a:lnTo>
                <a:lnTo>
                  <a:pt x="539" y="432"/>
                </a:lnTo>
                <a:lnTo>
                  <a:pt x="537" y="439"/>
                </a:lnTo>
                <a:lnTo>
                  <a:pt x="524" y="449"/>
                </a:lnTo>
                <a:lnTo>
                  <a:pt x="522" y="464"/>
                </a:lnTo>
                <a:lnTo>
                  <a:pt x="522" y="473"/>
                </a:lnTo>
                <a:lnTo>
                  <a:pt x="507" y="503"/>
                </a:lnTo>
                <a:lnTo>
                  <a:pt x="485" y="506"/>
                </a:lnTo>
                <a:lnTo>
                  <a:pt x="479" y="508"/>
                </a:lnTo>
                <a:lnTo>
                  <a:pt x="446" y="514"/>
                </a:lnTo>
                <a:lnTo>
                  <a:pt x="444" y="514"/>
                </a:lnTo>
                <a:lnTo>
                  <a:pt x="416" y="518"/>
                </a:lnTo>
                <a:lnTo>
                  <a:pt x="414" y="512"/>
                </a:lnTo>
                <a:lnTo>
                  <a:pt x="412" y="512"/>
                </a:lnTo>
                <a:lnTo>
                  <a:pt x="386" y="516"/>
                </a:lnTo>
                <a:lnTo>
                  <a:pt x="380" y="516"/>
                </a:lnTo>
                <a:lnTo>
                  <a:pt x="354" y="518"/>
                </a:lnTo>
                <a:lnTo>
                  <a:pt x="345" y="518"/>
                </a:lnTo>
                <a:lnTo>
                  <a:pt x="328" y="521"/>
                </a:lnTo>
                <a:lnTo>
                  <a:pt x="315" y="523"/>
                </a:lnTo>
                <a:lnTo>
                  <a:pt x="295" y="527"/>
                </a:lnTo>
                <a:lnTo>
                  <a:pt x="276" y="527"/>
                </a:lnTo>
                <a:close/>
              </a:path>
            </a:pathLst>
          </a:custGeom>
          <a:noFill/>
          <a:ln w="9525">
            <a:noFill/>
            <a:round/>
            <a:headEnd/>
            <a:tailEnd/>
          </a:ln>
        </p:spPr>
        <p:txBody>
          <a:bodyPr/>
          <a:lstStyle/>
          <a:p>
            <a:endParaRPr lang="en-US" dirty="0">
              <a:solidFill>
                <a:prstClr val="black"/>
              </a:solidFill>
            </a:endParaRPr>
          </a:p>
        </p:txBody>
      </p:sp>
      <p:sp>
        <p:nvSpPr>
          <p:cNvPr id="292" name="Freeform 125">
            <a:extLst>
              <a:ext uri="{FF2B5EF4-FFF2-40B4-BE49-F238E27FC236}">
                <a16:creationId xmlns:a16="http://schemas.microsoft.com/office/drawing/2014/main" id="{E52932B5-1910-4F97-A010-62CF55CA3DB1}"/>
              </a:ext>
            </a:extLst>
          </p:cNvPr>
          <p:cNvSpPr>
            <a:spLocks/>
          </p:cNvSpPr>
          <p:nvPr>
            <p:custDataLst>
              <p:tags r:id="rId116"/>
            </p:custDataLst>
          </p:nvPr>
        </p:nvSpPr>
        <p:spPr bwMode="auto">
          <a:xfrm>
            <a:off x="7065222" y="2101330"/>
            <a:ext cx="113984" cy="103763"/>
          </a:xfrm>
          <a:custGeom>
            <a:avLst/>
            <a:gdLst>
              <a:gd name="T0" fmla="*/ 2147483647 w 56"/>
              <a:gd name="T1" fmla="*/ 2147483647 h 48"/>
              <a:gd name="T2" fmla="*/ 2147483647 w 56"/>
              <a:gd name="T3" fmla="*/ 2147483647 h 48"/>
              <a:gd name="T4" fmla="*/ 2147483647 w 56"/>
              <a:gd name="T5" fmla="*/ 2147483647 h 48"/>
              <a:gd name="T6" fmla="*/ 2147483647 w 56"/>
              <a:gd name="T7" fmla="*/ 0 h 48"/>
              <a:gd name="T8" fmla="*/ 2147483647 w 56"/>
              <a:gd name="T9" fmla="*/ 2147483647 h 48"/>
              <a:gd name="T10" fmla="*/ 2147483647 w 56"/>
              <a:gd name="T11" fmla="*/ 2147483647 h 48"/>
              <a:gd name="T12" fmla="*/ 2147483647 w 56"/>
              <a:gd name="T13" fmla="*/ 2147483647 h 48"/>
              <a:gd name="T14" fmla="*/ 2147483647 w 56"/>
              <a:gd name="T15" fmla="*/ 2147483647 h 48"/>
              <a:gd name="T16" fmla="*/ 2147483647 w 56"/>
              <a:gd name="T17" fmla="*/ 2147483647 h 48"/>
              <a:gd name="T18" fmla="*/ 2147483647 w 56"/>
              <a:gd name="T19" fmla="*/ 2147483647 h 48"/>
              <a:gd name="T20" fmla="*/ 2147483647 w 56"/>
              <a:gd name="T21" fmla="*/ 2147483647 h 48"/>
              <a:gd name="T22" fmla="*/ 0 w 56"/>
              <a:gd name="T23" fmla="*/ 2147483647 h 48"/>
              <a:gd name="T24" fmla="*/ 2147483647 w 56"/>
              <a:gd name="T25" fmla="*/ 2147483647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48"/>
              <a:gd name="T41" fmla="*/ 56 w 56"/>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48">
                <a:moveTo>
                  <a:pt x="6" y="22"/>
                </a:moveTo>
                <a:lnTo>
                  <a:pt x="8" y="15"/>
                </a:lnTo>
                <a:lnTo>
                  <a:pt x="24" y="7"/>
                </a:lnTo>
                <a:lnTo>
                  <a:pt x="49" y="0"/>
                </a:lnTo>
                <a:lnTo>
                  <a:pt x="56" y="7"/>
                </a:lnTo>
                <a:lnTo>
                  <a:pt x="54" y="9"/>
                </a:lnTo>
                <a:lnTo>
                  <a:pt x="41" y="11"/>
                </a:lnTo>
                <a:lnTo>
                  <a:pt x="24" y="28"/>
                </a:lnTo>
                <a:lnTo>
                  <a:pt x="13" y="48"/>
                </a:lnTo>
                <a:lnTo>
                  <a:pt x="8" y="39"/>
                </a:lnTo>
                <a:lnTo>
                  <a:pt x="2" y="37"/>
                </a:lnTo>
                <a:lnTo>
                  <a:pt x="0" y="26"/>
                </a:lnTo>
                <a:lnTo>
                  <a:pt x="6" y="22"/>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293" name="Freeform 126">
            <a:extLst>
              <a:ext uri="{FF2B5EF4-FFF2-40B4-BE49-F238E27FC236}">
                <a16:creationId xmlns:a16="http://schemas.microsoft.com/office/drawing/2014/main" id="{342DC50D-3E34-4EF9-B576-C158543961A9}"/>
              </a:ext>
            </a:extLst>
          </p:cNvPr>
          <p:cNvSpPr>
            <a:spLocks/>
          </p:cNvSpPr>
          <p:nvPr>
            <p:custDataLst>
              <p:tags r:id="rId117"/>
            </p:custDataLst>
          </p:nvPr>
        </p:nvSpPr>
        <p:spPr bwMode="auto">
          <a:xfrm>
            <a:off x="6839470" y="2161881"/>
            <a:ext cx="863649" cy="417209"/>
          </a:xfrm>
          <a:custGeom>
            <a:avLst/>
            <a:gdLst>
              <a:gd name="T0" fmla="*/ 2147483647 w 427"/>
              <a:gd name="T1" fmla="*/ 2147483647 h 193"/>
              <a:gd name="T2" fmla="*/ 2147483647 w 427"/>
              <a:gd name="T3" fmla="*/ 2147483647 h 193"/>
              <a:gd name="T4" fmla="*/ 2147483647 w 427"/>
              <a:gd name="T5" fmla="*/ 2147483647 h 193"/>
              <a:gd name="T6" fmla="*/ 2147483647 w 427"/>
              <a:gd name="T7" fmla="*/ 2147483647 h 193"/>
              <a:gd name="T8" fmla="*/ 2147483647 w 427"/>
              <a:gd name="T9" fmla="*/ 2147483647 h 193"/>
              <a:gd name="T10" fmla="*/ 2147483647 w 427"/>
              <a:gd name="T11" fmla="*/ 2147483647 h 193"/>
              <a:gd name="T12" fmla="*/ 2147483647 w 427"/>
              <a:gd name="T13" fmla="*/ 2147483647 h 193"/>
              <a:gd name="T14" fmla="*/ 2147483647 w 427"/>
              <a:gd name="T15" fmla="*/ 2147483647 h 193"/>
              <a:gd name="T16" fmla="*/ 2147483647 w 427"/>
              <a:gd name="T17" fmla="*/ 2147483647 h 193"/>
              <a:gd name="T18" fmla="*/ 2147483647 w 427"/>
              <a:gd name="T19" fmla="*/ 2147483647 h 193"/>
              <a:gd name="T20" fmla="*/ 2147483647 w 427"/>
              <a:gd name="T21" fmla="*/ 2147483647 h 193"/>
              <a:gd name="T22" fmla="*/ 2147483647 w 427"/>
              <a:gd name="T23" fmla="*/ 2147483647 h 193"/>
              <a:gd name="T24" fmla="*/ 2147483647 w 427"/>
              <a:gd name="T25" fmla="*/ 2147483647 h 193"/>
              <a:gd name="T26" fmla="*/ 2147483647 w 427"/>
              <a:gd name="T27" fmla="*/ 2147483647 h 193"/>
              <a:gd name="T28" fmla="*/ 2147483647 w 427"/>
              <a:gd name="T29" fmla="*/ 2147483647 h 193"/>
              <a:gd name="T30" fmla="*/ 2147483647 w 427"/>
              <a:gd name="T31" fmla="*/ 2147483647 h 193"/>
              <a:gd name="T32" fmla="*/ 2147483647 w 427"/>
              <a:gd name="T33" fmla="*/ 2147483647 h 193"/>
              <a:gd name="T34" fmla="*/ 2147483647 w 427"/>
              <a:gd name="T35" fmla="*/ 2147483647 h 193"/>
              <a:gd name="T36" fmla="*/ 2147483647 w 427"/>
              <a:gd name="T37" fmla="*/ 2147483647 h 193"/>
              <a:gd name="T38" fmla="*/ 2147483647 w 427"/>
              <a:gd name="T39" fmla="*/ 2147483647 h 193"/>
              <a:gd name="T40" fmla="*/ 2147483647 w 427"/>
              <a:gd name="T41" fmla="*/ 2147483647 h 193"/>
              <a:gd name="T42" fmla="*/ 2147483647 w 427"/>
              <a:gd name="T43" fmla="*/ 2147483647 h 193"/>
              <a:gd name="T44" fmla="*/ 2147483647 w 427"/>
              <a:gd name="T45" fmla="*/ 2147483647 h 193"/>
              <a:gd name="T46" fmla="*/ 2147483647 w 427"/>
              <a:gd name="T47" fmla="*/ 2147483647 h 193"/>
              <a:gd name="T48" fmla="*/ 2147483647 w 427"/>
              <a:gd name="T49" fmla="*/ 2147483647 h 193"/>
              <a:gd name="T50" fmla="*/ 2147483647 w 427"/>
              <a:gd name="T51" fmla="*/ 2147483647 h 193"/>
              <a:gd name="T52" fmla="*/ 2147483647 w 427"/>
              <a:gd name="T53" fmla="*/ 2147483647 h 193"/>
              <a:gd name="T54" fmla="*/ 2147483647 w 427"/>
              <a:gd name="T55" fmla="*/ 2147483647 h 193"/>
              <a:gd name="T56" fmla="*/ 2147483647 w 427"/>
              <a:gd name="T57" fmla="*/ 2147483647 h 193"/>
              <a:gd name="T58" fmla="*/ 2147483647 w 427"/>
              <a:gd name="T59" fmla="*/ 2147483647 h 193"/>
              <a:gd name="T60" fmla="*/ 2147483647 w 427"/>
              <a:gd name="T61" fmla="*/ 2147483647 h 193"/>
              <a:gd name="T62" fmla="*/ 2147483647 w 427"/>
              <a:gd name="T63" fmla="*/ 2147483647 h 193"/>
              <a:gd name="T64" fmla="*/ 2147483647 w 427"/>
              <a:gd name="T65" fmla="*/ 2147483647 h 193"/>
              <a:gd name="T66" fmla="*/ 2147483647 w 427"/>
              <a:gd name="T67" fmla="*/ 0 h 193"/>
              <a:gd name="T68" fmla="*/ 2147483647 w 427"/>
              <a:gd name="T69" fmla="*/ 2147483647 h 193"/>
              <a:gd name="T70" fmla="*/ 2147483647 w 427"/>
              <a:gd name="T71" fmla="*/ 2147483647 h 193"/>
              <a:gd name="T72" fmla="*/ 2147483647 w 427"/>
              <a:gd name="T73" fmla="*/ 2147483647 h 193"/>
              <a:gd name="T74" fmla="*/ 2147483647 w 427"/>
              <a:gd name="T75" fmla="*/ 2147483647 h 193"/>
              <a:gd name="T76" fmla="*/ 2147483647 w 427"/>
              <a:gd name="T77" fmla="*/ 2147483647 h 193"/>
              <a:gd name="T78" fmla="*/ 2147483647 w 427"/>
              <a:gd name="T79" fmla="*/ 2147483647 h 193"/>
              <a:gd name="T80" fmla="*/ 2147483647 w 427"/>
              <a:gd name="T81" fmla="*/ 2147483647 h 193"/>
              <a:gd name="T82" fmla="*/ 2147483647 w 427"/>
              <a:gd name="T83" fmla="*/ 2147483647 h 193"/>
              <a:gd name="T84" fmla="*/ 2147483647 w 427"/>
              <a:gd name="T85" fmla="*/ 2147483647 h 193"/>
              <a:gd name="T86" fmla="*/ 2147483647 w 427"/>
              <a:gd name="T87" fmla="*/ 2147483647 h 193"/>
              <a:gd name="T88" fmla="*/ 2147483647 w 427"/>
              <a:gd name="T89" fmla="*/ 2147483647 h 193"/>
              <a:gd name="T90" fmla="*/ 2147483647 w 427"/>
              <a:gd name="T91" fmla="*/ 2147483647 h 193"/>
              <a:gd name="T92" fmla="*/ 2147483647 w 427"/>
              <a:gd name="T93" fmla="*/ 2147483647 h 193"/>
              <a:gd name="T94" fmla="*/ 2147483647 w 427"/>
              <a:gd name="T95" fmla="*/ 2147483647 h 193"/>
              <a:gd name="T96" fmla="*/ 2147483647 w 427"/>
              <a:gd name="T97" fmla="*/ 2147483647 h 193"/>
              <a:gd name="T98" fmla="*/ 2147483647 w 427"/>
              <a:gd name="T99" fmla="*/ 2147483647 h 193"/>
              <a:gd name="T100" fmla="*/ 2147483647 w 427"/>
              <a:gd name="T101" fmla="*/ 2147483647 h 193"/>
              <a:gd name="T102" fmla="*/ 2147483647 w 427"/>
              <a:gd name="T103" fmla="*/ 2147483647 h 1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27"/>
              <a:gd name="T157" fmla="*/ 0 h 193"/>
              <a:gd name="T158" fmla="*/ 427 w 427"/>
              <a:gd name="T159" fmla="*/ 193 h 1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27" h="193">
                <a:moveTo>
                  <a:pt x="300" y="100"/>
                </a:moveTo>
                <a:lnTo>
                  <a:pt x="295" y="102"/>
                </a:lnTo>
                <a:lnTo>
                  <a:pt x="295" y="106"/>
                </a:lnTo>
                <a:lnTo>
                  <a:pt x="285" y="102"/>
                </a:lnTo>
                <a:lnTo>
                  <a:pt x="272" y="106"/>
                </a:lnTo>
                <a:lnTo>
                  <a:pt x="269" y="111"/>
                </a:lnTo>
                <a:lnTo>
                  <a:pt x="269" y="117"/>
                </a:lnTo>
                <a:lnTo>
                  <a:pt x="263" y="126"/>
                </a:lnTo>
                <a:lnTo>
                  <a:pt x="256" y="126"/>
                </a:lnTo>
                <a:lnTo>
                  <a:pt x="256" y="128"/>
                </a:lnTo>
                <a:lnTo>
                  <a:pt x="254" y="130"/>
                </a:lnTo>
                <a:lnTo>
                  <a:pt x="252" y="139"/>
                </a:lnTo>
                <a:lnTo>
                  <a:pt x="248" y="139"/>
                </a:lnTo>
                <a:lnTo>
                  <a:pt x="248" y="132"/>
                </a:lnTo>
                <a:lnTo>
                  <a:pt x="252" y="119"/>
                </a:lnTo>
                <a:lnTo>
                  <a:pt x="243" y="119"/>
                </a:lnTo>
                <a:lnTo>
                  <a:pt x="233" y="132"/>
                </a:lnTo>
                <a:lnTo>
                  <a:pt x="220" y="134"/>
                </a:lnTo>
                <a:lnTo>
                  <a:pt x="213" y="149"/>
                </a:lnTo>
                <a:lnTo>
                  <a:pt x="207" y="162"/>
                </a:lnTo>
                <a:lnTo>
                  <a:pt x="194" y="188"/>
                </a:lnTo>
                <a:lnTo>
                  <a:pt x="194" y="193"/>
                </a:lnTo>
                <a:lnTo>
                  <a:pt x="187" y="190"/>
                </a:lnTo>
                <a:lnTo>
                  <a:pt x="183" y="188"/>
                </a:lnTo>
                <a:lnTo>
                  <a:pt x="183" y="184"/>
                </a:lnTo>
                <a:lnTo>
                  <a:pt x="185" y="182"/>
                </a:lnTo>
                <a:lnTo>
                  <a:pt x="185" y="180"/>
                </a:lnTo>
                <a:lnTo>
                  <a:pt x="185" y="177"/>
                </a:lnTo>
                <a:lnTo>
                  <a:pt x="187" y="169"/>
                </a:lnTo>
                <a:lnTo>
                  <a:pt x="185" y="167"/>
                </a:lnTo>
                <a:lnTo>
                  <a:pt x="181" y="169"/>
                </a:lnTo>
                <a:lnTo>
                  <a:pt x="174" y="169"/>
                </a:lnTo>
                <a:lnTo>
                  <a:pt x="174" y="173"/>
                </a:lnTo>
                <a:lnTo>
                  <a:pt x="172" y="169"/>
                </a:lnTo>
                <a:lnTo>
                  <a:pt x="174" y="164"/>
                </a:lnTo>
                <a:lnTo>
                  <a:pt x="172" y="162"/>
                </a:lnTo>
                <a:lnTo>
                  <a:pt x="174" y="160"/>
                </a:lnTo>
                <a:lnTo>
                  <a:pt x="179" y="158"/>
                </a:lnTo>
                <a:lnTo>
                  <a:pt x="174" y="152"/>
                </a:lnTo>
                <a:lnTo>
                  <a:pt x="174" y="149"/>
                </a:lnTo>
                <a:lnTo>
                  <a:pt x="179" y="149"/>
                </a:lnTo>
                <a:lnTo>
                  <a:pt x="179" y="147"/>
                </a:lnTo>
                <a:lnTo>
                  <a:pt x="172" y="143"/>
                </a:lnTo>
                <a:lnTo>
                  <a:pt x="174" y="143"/>
                </a:lnTo>
                <a:lnTo>
                  <a:pt x="174" y="141"/>
                </a:lnTo>
                <a:lnTo>
                  <a:pt x="179" y="141"/>
                </a:lnTo>
                <a:lnTo>
                  <a:pt x="174" y="139"/>
                </a:lnTo>
                <a:lnTo>
                  <a:pt x="172" y="139"/>
                </a:lnTo>
                <a:lnTo>
                  <a:pt x="170" y="134"/>
                </a:lnTo>
                <a:lnTo>
                  <a:pt x="164" y="132"/>
                </a:lnTo>
                <a:lnTo>
                  <a:pt x="164" y="130"/>
                </a:lnTo>
                <a:lnTo>
                  <a:pt x="157" y="132"/>
                </a:lnTo>
                <a:lnTo>
                  <a:pt x="155" y="132"/>
                </a:lnTo>
                <a:lnTo>
                  <a:pt x="153" y="130"/>
                </a:lnTo>
                <a:lnTo>
                  <a:pt x="153" y="128"/>
                </a:lnTo>
                <a:lnTo>
                  <a:pt x="155" y="123"/>
                </a:lnTo>
                <a:lnTo>
                  <a:pt x="153" y="123"/>
                </a:lnTo>
                <a:lnTo>
                  <a:pt x="153" y="119"/>
                </a:lnTo>
                <a:lnTo>
                  <a:pt x="151" y="117"/>
                </a:lnTo>
                <a:lnTo>
                  <a:pt x="148" y="117"/>
                </a:lnTo>
                <a:lnTo>
                  <a:pt x="146" y="117"/>
                </a:lnTo>
                <a:lnTo>
                  <a:pt x="144" y="115"/>
                </a:lnTo>
                <a:lnTo>
                  <a:pt x="140" y="117"/>
                </a:lnTo>
                <a:lnTo>
                  <a:pt x="138" y="117"/>
                </a:lnTo>
                <a:lnTo>
                  <a:pt x="136" y="115"/>
                </a:lnTo>
                <a:lnTo>
                  <a:pt x="133" y="115"/>
                </a:lnTo>
                <a:lnTo>
                  <a:pt x="131" y="115"/>
                </a:lnTo>
                <a:lnTo>
                  <a:pt x="129" y="115"/>
                </a:lnTo>
                <a:lnTo>
                  <a:pt x="129" y="113"/>
                </a:lnTo>
                <a:lnTo>
                  <a:pt x="125" y="113"/>
                </a:lnTo>
                <a:lnTo>
                  <a:pt x="123" y="113"/>
                </a:lnTo>
                <a:lnTo>
                  <a:pt x="120" y="113"/>
                </a:lnTo>
                <a:lnTo>
                  <a:pt x="120" y="115"/>
                </a:lnTo>
                <a:lnTo>
                  <a:pt x="118" y="115"/>
                </a:lnTo>
                <a:lnTo>
                  <a:pt x="116" y="113"/>
                </a:lnTo>
                <a:lnTo>
                  <a:pt x="114" y="113"/>
                </a:lnTo>
                <a:lnTo>
                  <a:pt x="107" y="113"/>
                </a:lnTo>
                <a:lnTo>
                  <a:pt x="99" y="111"/>
                </a:lnTo>
                <a:lnTo>
                  <a:pt x="97" y="108"/>
                </a:lnTo>
                <a:lnTo>
                  <a:pt x="86" y="102"/>
                </a:lnTo>
                <a:lnTo>
                  <a:pt x="32" y="93"/>
                </a:lnTo>
                <a:lnTo>
                  <a:pt x="21" y="91"/>
                </a:lnTo>
                <a:lnTo>
                  <a:pt x="19" y="87"/>
                </a:lnTo>
                <a:lnTo>
                  <a:pt x="19" y="85"/>
                </a:lnTo>
                <a:lnTo>
                  <a:pt x="17" y="80"/>
                </a:lnTo>
                <a:lnTo>
                  <a:pt x="15" y="76"/>
                </a:lnTo>
                <a:lnTo>
                  <a:pt x="8" y="76"/>
                </a:lnTo>
                <a:lnTo>
                  <a:pt x="8" y="74"/>
                </a:lnTo>
                <a:lnTo>
                  <a:pt x="6" y="74"/>
                </a:lnTo>
                <a:lnTo>
                  <a:pt x="6" y="70"/>
                </a:lnTo>
                <a:lnTo>
                  <a:pt x="2" y="74"/>
                </a:lnTo>
                <a:lnTo>
                  <a:pt x="0" y="70"/>
                </a:lnTo>
                <a:lnTo>
                  <a:pt x="23" y="59"/>
                </a:lnTo>
                <a:lnTo>
                  <a:pt x="32" y="48"/>
                </a:lnTo>
                <a:lnTo>
                  <a:pt x="38" y="44"/>
                </a:lnTo>
                <a:lnTo>
                  <a:pt x="64" y="37"/>
                </a:lnTo>
                <a:lnTo>
                  <a:pt x="73" y="31"/>
                </a:lnTo>
                <a:lnTo>
                  <a:pt x="79" y="24"/>
                </a:lnTo>
                <a:lnTo>
                  <a:pt x="88" y="24"/>
                </a:lnTo>
                <a:lnTo>
                  <a:pt x="90" y="20"/>
                </a:lnTo>
                <a:lnTo>
                  <a:pt x="92" y="13"/>
                </a:lnTo>
                <a:lnTo>
                  <a:pt x="112" y="0"/>
                </a:lnTo>
                <a:lnTo>
                  <a:pt x="112" y="9"/>
                </a:lnTo>
                <a:lnTo>
                  <a:pt x="118" y="11"/>
                </a:lnTo>
                <a:lnTo>
                  <a:pt x="118" y="18"/>
                </a:lnTo>
                <a:lnTo>
                  <a:pt x="123" y="20"/>
                </a:lnTo>
                <a:lnTo>
                  <a:pt x="123" y="28"/>
                </a:lnTo>
                <a:lnTo>
                  <a:pt x="123" y="33"/>
                </a:lnTo>
                <a:lnTo>
                  <a:pt x="125" y="41"/>
                </a:lnTo>
                <a:lnTo>
                  <a:pt x="140" y="24"/>
                </a:lnTo>
                <a:lnTo>
                  <a:pt x="140" y="28"/>
                </a:lnTo>
                <a:lnTo>
                  <a:pt x="151" y="26"/>
                </a:lnTo>
                <a:lnTo>
                  <a:pt x="157" y="26"/>
                </a:lnTo>
                <a:lnTo>
                  <a:pt x="174" y="31"/>
                </a:lnTo>
                <a:lnTo>
                  <a:pt x="196" y="61"/>
                </a:lnTo>
                <a:lnTo>
                  <a:pt x="213" y="61"/>
                </a:lnTo>
                <a:lnTo>
                  <a:pt x="220" y="54"/>
                </a:lnTo>
                <a:lnTo>
                  <a:pt x="231" y="63"/>
                </a:lnTo>
                <a:lnTo>
                  <a:pt x="235" y="59"/>
                </a:lnTo>
                <a:lnTo>
                  <a:pt x="246" y="63"/>
                </a:lnTo>
                <a:lnTo>
                  <a:pt x="254" y="50"/>
                </a:lnTo>
                <a:lnTo>
                  <a:pt x="272" y="37"/>
                </a:lnTo>
                <a:lnTo>
                  <a:pt x="278" y="37"/>
                </a:lnTo>
                <a:lnTo>
                  <a:pt x="293" y="33"/>
                </a:lnTo>
                <a:lnTo>
                  <a:pt x="315" y="33"/>
                </a:lnTo>
                <a:lnTo>
                  <a:pt x="332" y="24"/>
                </a:lnTo>
                <a:lnTo>
                  <a:pt x="349" y="20"/>
                </a:lnTo>
                <a:lnTo>
                  <a:pt x="345" y="28"/>
                </a:lnTo>
                <a:lnTo>
                  <a:pt x="347" y="41"/>
                </a:lnTo>
                <a:lnTo>
                  <a:pt x="347" y="46"/>
                </a:lnTo>
                <a:lnTo>
                  <a:pt x="349" y="48"/>
                </a:lnTo>
                <a:lnTo>
                  <a:pt x="354" y="46"/>
                </a:lnTo>
                <a:lnTo>
                  <a:pt x="362" y="48"/>
                </a:lnTo>
                <a:lnTo>
                  <a:pt x="375" y="44"/>
                </a:lnTo>
                <a:lnTo>
                  <a:pt x="377" y="50"/>
                </a:lnTo>
                <a:lnTo>
                  <a:pt x="386" y="44"/>
                </a:lnTo>
                <a:lnTo>
                  <a:pt x="395" y="41"/>
                </a:lnTo>
                <a:lnTo>
                  <a:pt x="403" y="63"/>
                </a:lnTo>
                <a:lnTo>
                  <a:pt x="399" y="67"/>
                </a:lnTo>
                <a:lnTo>
                  <a:pt x="401" y="70"/>
                </a:lnTo>
                <a:lnTo>
                  <a:pt x="410" y="67"/>
                </a:lnTo>
                <a:lnTo>
                  <a:pt x="416" y="74"/>
                </a:lnTo>
                <a:lnTo>
                  <a:pt x="414" y="76"/>
                </a:lnTo>
                <a:lnTo>
                  <a:pt x="418" y="80"/>
                </a:lnTo>
                <a:lnTo>
                  <a:pt x="427" y="82"/>
                </a:lnTo>
                <a:lnTo>
                  <a:pt x="427" y="87"/>
                </a:lnTo>
                <a:lnTo>
                  <a:pt x="412" y="87"/>
                </a:lnTo>
                <a:lnTo>
                  <a:pt x="397" y="87"/>
                </a:lnTo>
                <a:lnTo>
                  <a:pt x="386" y="91"/>
                </a:lnTo>
                <a:lnTo>
                  <a:pt x="380" y="85"/>
                </a:lnTo>
                <a:lnTo>
                  <a:pt x="375" y="85"/>
                </a:lnTo>
                <a:lnTo>
                  <a:pt x="375" y="102"/>
                </a:lnTo>
                <a:lnTo>
                  <a:pt x="364" y="100"/>
                </a:lnTo>
                <a:lnTo>
                  <a:pt x="349" y="91"/>
                </a:lnTo>
                <a:lnTo>
                  <a:pt x="330" y="85"/>
                </a:lnTo>
                <a:lnTo>
                  <a:pt x="319" y="85"/>
                </a:lnTo>
                <a:lnTo>
                  <a:pt x="313" y="100"/>
                </a:lnTo>
                <a:lnTo>
                  <a:pt x="300" y="100"/>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294" name="Freeform 127">
            <a:extLst>
              <a:ext uri="{FF2B5EF4-FFF2-40B4-BE49-F238E27FC236}">
                <a16:creationId xmlns:a16="http://schemas.microsoft.com/office/drawing/2014/main" id="{B34B86C3-C4A3-4620-869C-2D0160D23AF4}"/>
              </a:ext>
            </a:extLst>
          </p:cNvPr>
          <p:cNvSpPr>
            <a:spLocks/>
          </p:cNvSpPr>
          <p:nvPr>
            <p:custDataLst>
              <p:tags r:id="rId118"/>
            </p:custDataLst>
          </p:nvPr>
        </p:nvSpPr>
        <p:spPr bwMode="auto">
          <a:xfrm>
            <a:off x="7703093" y="2313190"/>
            <a:ext cx="56992" cy="36751"/>
          </a:xfrm>
          <a:custGeom>
            <a:avLst/>
            <a:gdLst>
              <a:gd name="T0" fmla="*/ 2147483647 w 28"/>
              <a:gd name="T1" fmla="*/ 2147483647 h 17"/>
              <a:gd name="T2" fmla="*/ 2147483647 w 28"/>
              <a:gd name="T3" fmla="*/ 2147483647 h 17"/>
              <a:gd name="T4" fmla="*/ 2147483647 w 28"/>
              <a:gd name="T5" fmla="*/ 2147483647 h 17"/>
              <a:gd name="T6" fmla="*/ 2147483647 w 28"/>
              <a:gd name="T7" fmla="*/ 2147483647 h 17"/>
              <a:gd name="T8" fmla="*/ 2147483647 w 28"/>
              <a:gd name="T9" fmla="*/ 2147483647 h 17"/>
              <a:gd name="T10" fmla="*/ 2147483647 w 28"/>
              <a:gd name="T11" fmla="*/ 2147483647 h 17"/>
              <a:gd name="T12" fmla="*/ 2147483647 w 28"/>
              <a:gd name="T13" fmla="*/ 0 h 17"/>
              <a:gd name="T14" fmla="*/ 2147483647 w 28"/>
              <a:gd name="T15" fmla="*/ 2147483647 h 17"/>
              <a:gd name="T16" fmla="*/ 2147483647 w 28"/>
              <a:gd name="T17" fmla="*/ 2147483647 h 17"/>
              <a:gd name="T18" fmla="*/ 2147483647 w 28"/>
              <a:gd name="T19" fmla="*/ 2147483647 h 17"/>
              <a:gd name="T20" fmla="*/ 2147483647 w 28"/>
              <a:gd name="T21" fmla="*/ 2147483647 h 17"/>
              <a:gd name="T22" fmla="*/ 2147483647 w 28"/>
              <a:gd name="T23" fmla="*/ 2147483647 h 17"/>
              <a:gd name="T24" fmla="*/ 2147483647 w 28"/>
              <a:gd name="T25" fmla="*/ 2147483647 h 17"/>
              <a:gd name="T26" fmla="*/ 2147483647 w 28"/>
              <a:gd name="T27" fmla="*/ 2147483647 h 17"/>
              <a:gd name="T28" fmla="*/ 2147483647 w 28"/>
              <a:gd name="T29" fmla="*/ 2147483647 h 17"/>
              <a:gd name="T30" fmla="*/ 0 w 28"/>
              <a:gd name="T31" fmla="*/ 2147483647 h 17"/>
              <a:gd name="T32" fmla="*/ 2147483647 w 28"/>
              <a:gd name="T33" fmla="*/ 2147483647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17"/>
              <a:gd name="T53" fmla="*/ 28 w 28"/>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17">
                <a:moveTo>
                  <a:pt x="2" y="10"/>
                </a:moveTo>
                <a:lnTo>
                  <a:pt x="4" y="12"/>
                </a:lnTo>
                <a:lnTo>
                  <a:pt x="7" y="10"/>
                </a:lnTo>
                <a:lnTo>
                  <a:pt x="13" y="8"/>
                </a:lnTo>
                <a:lnTo>
                  <a:pt x="13" y="6"/>
                </a:lnTo>
                <a:lnTo>
                  <a:pt x="9" y="4"/>
                </a:lnTo>
                <a:lnTo>
                  <a:pt x="15" y="0"/>
                </a:lnTo>
                <a:lnTo>
                  <a:pt x="17" y="4"/>
                </a:lnTo>
                <a:lnTo>
                  <a:pt x="22" y="8"/>
                </a:lnTo>
                <a:lnTo>
                  <a:pt x="28" y="10"/>
                </a:lnTo>
                <a:lnTo>
                  <a:pt x="24" y="17"/>
                </a:lnTo>
                <a:lnTo>
                  <a:pt x="19" y="17"/>
                </a:lnTo>
                <a:lnTo>
                  <a:pt x="17" y="15"/>
                </a:lnTo>
                <a:lnTo>
                  <a:pt x="7" y="17"/>
                </a:lnTo>
                <a:lnTo>
                  <a:pt x="2" y="12"/>
                </a:lnTo>
                <a:lnTo>
                  <a:pt x="0" y="15"/>
                </a:lnTo>
                <a:lnTo>
                  <a:pt x="2" y="10"/>
                </a:lnTo>
              </a:path>
            </a:pathLst>
          </a:custGeom>
          <a:noFill/>
          <a:ln w="6350">
            <a:solidFill>
              <a:srgbClr val="404040"/>
            </a:solidFill>
            <a:round/>
            <a:headEnd/>
            <a:tailEnd/>
          </a:ln>
        </p:spPr>
        <p:txBody>
          <a:bodyPr/>
          <a:lstStyle/>
          <a:p>
            <a:endParaRPr lang="en-US" dirty="0">
              <a:solidFill>
                <a:prstClr val="black"/>
              </a:solidFill>
            </a:endParaRPr>
          </a:p>
        </p:txBody>
      </p:sp>
      <p:sp>
        <p:nvSpPr>
          <p:cNvPr id="295" name="Freeform 128">
            <a:extLst>
              <a:ext uri="{FF2B5EF4-FFF2-40B4-BE49-F238E27FC236}">
                <a16:creationId xmlns:a16="http://schemas.microsoft.com/office/drawing/2014/main" id="{AFB75B23-BFE9-4E76-A268-700FA863F7D3}"/>
              </a:ext>
            </a:extLst>
          </p:cNvPr>
          <p:cNvSpPr>
            <a:spLocks/>
          </p:cNvSpPr>
          <p:nvPr>
            <p:custDataLst>
              <p:tags r:id="rId119"/>
            </p:custDataLst>
          </p:nvPr>
        </p:nvSpPr>
        <p:spPr bwMode="auto">
          <a:xfrm>
            <a:off x="7396223" y="2401809"/>
            <a:ext cx="580879" cy="838740"/>
          </a:xfrm>
          <a:custGeom>
            <a:avLst/>
            <a:gdLst>
              <a:gd name="T0" fmla="*/ 2147483647 w 287"/>
              <a:gd name="T1" fmla="*/ 2147483647 h 388"/>
              <a:gd name="T2" fmla="*/ 2147483647 w 287"/>
              <a:gd name="T3" fmla="*/ 2147483647 h 388"/>
              <a:gd name="T4" fmla="*/ 2147483647 w 287"/>
              <a:gd name="T5" fmla="*/ 2147483647 h 388"/>
              <a:gd name="T6" fmla="*/ 2147483647 w 287"/>
              <a:gd name="T7" fmla="*/ 2147483647 h 388"/>
              <a:gd name="T8" fmla="*/ 2147483647 w 287"/>
              <a:gd name="T9" fmla="*/ 2147483647 h 388"/>
              <a:gd name="T10" fmla="*/ 2147483647 w 287"/>
              <a:gd name="T11" fmla="*/ 2147483647 h 388"/>
              <a:gd name="T12" fmla="*/ 2147483647 w 287"/>
              <a:gd name="T13" fmla="*/ 2147483647 h 388"/>
              <a:gd name="T14" fmla="*/ 2147483647 w 287"/>
              <a:gd name="T15" fmla="*/ 2147483647 h 388"/>
              <a:gd name="T16" fmla="*/ 2147483647 w 287"/>
              <a:gd name="T17" fmla="*/ 2147483647 h 388"/>
              <a:gd name="T18" fmla="*/ 2147483647 w 287"/>
              <a:gd name="T19" fmla="*/ 2147483647 h 388"/>
              <a:gd name="T20" fmla="*/ 2147483647 w 287"/>
              <a:gd name="T21" fmla="*/ 2147483647 h 388"/>
              <a:gd name="T22" fmla="*/ 2147483647 w 287"/>
              <a:gd name="T23" fmla="*/ 2147483647 h 388"/>
              <a:gd name="T24" fmla="*/ 2147483647 w 287"/>
              <a:gd name="T25" fmla="*/ 2147483647 h 388"/>
              <a:gd name="T26" fmla="*/ 2147483647 w 287"/>
              <a:gd name="T27" fmla="*/ 2147483647 h 388"/>
              <a:gd name="T28" fmla="*/ 2147483647 w 287"/>
              <a:gd name="T29" fmla="*/ 2147483647 h 388"/>
              <a:gd name="T30" fmla="*/ 2147483647 w 287"/>
              <a:gd name="T31" fmla="*/ 2147483647 h 388"/>
              <a:gd name="T32" fmla="*/ 2147483647 w 287"/>
              <a:gd name="T33" fmla="*/ 2147483647 h 388"/>
              <a:gd name="T34" fmla="*/ 2147483647 w 287"/>
              <a:gd name="T35" fmla="*/ 2147483647 h 388"/>
              <a:gd name="T36" fmla="*/ 2147483647 w 287"/>
              <a:gd name="T37" fmla="*/ 2147483647 h 388"/>
              <a:gd name="T38" fmla="*/ 2147483647 w 287"/>
              <a:gd name="T39" fmla="*/ 2147483647 h 388"/>
              <a:gd name="T40" fmla="*/ 2147483647 w 287"/>
              <a:gd name="T41" fmla="*/ 2147483647 h 388"/>
              <a:gd name="T42" fmla="*/ 2147483647 w 287"/>
              <a:gd name="T43" fmla="*/ 2147483647 h 388"/>
              <a:gd name="T44" fmla="*/ 2147483647 w 287"/>
              <a:gd name="T45" fmla="*/ 2147483647 h 388"/>
              <a:gd name="T46" fmla="*/ 2147483647 w 287"/>
              <a:gd name="T47" fmla="*/ 2147483647 h 388"/>
              <a:gd name="T48" fmla="*/ 2147483647 w 287"/>
              <a:gd name="T49" fmla="*/ 2147483647 h 388"/>
              <a:gd name="T50" fmla="*/ 2147483647 w 287"/>
              <a:gd name="T51" fmla="*/ 2147483647 h 388"/>
              <a:gd name="T52" fmla="*/ 2147483647 w 287"/>
              <a:gd name="T53" fmla="*/ 2147483647 h 388"/>
              <a:gd name="T54" fmla="*/ 2147483647 w 287"/>
              <a:gd name="T55" fmla="*/ 2147483647 h 388"/>
              <a:gd name="T56" fmla="*/ 2147483647 w 287"/>
              <a:gd name="T57" fmla="*/ 2147483647 h 388"/>
              <a:gd name="T58" fmla="*/ 2147483647 w 287"/>
              <a:gd name="T59" fmla="*/ 2147483647 h 388"/>
              <a:gd name="T60" fmla="*/ 2147483647 w 287"/>
              <a:gd name="T61" fmla="*/ 2147483647 h 388"/>
              <a:gd name="T62" fmla="*/ 2147483647 w 287"/>
              <a:gd name="T63" fmla="*/ 2147483647 h 388"/>
              <a:gd name="T64" fmla="*/ 2147483647 w 287"/>
              <a:gd name="T65" fmla="*/ 2147483647 h 388"/>
              <a:gd name="T66" fmla="*/ 2147483647 w 287"/>
              <a:gd name="T67" fmla="*/ 2147483647 h 388"/>
              <a:gd name="T68" fmla="*/ 2147483647 w 287"/>
              <a:gd name="T69" fmla="*/ 2147483647 h 388"/>
              <a:gd name="T70" fmla="*/ 2147483647 w 287"/>
              <a:gd name="T71" fmla="*/ 2147483647 h 388"/>
              <a:gd name="T72" fmla="*/ 2147483647 w 287"/>
              <a:gd name="T73" fmla="*/ 2147483647 h 388"/>
              <a:gd name="T74" fmla="*/ 2147483647 w 287"/>
              <a:gd name="T75" fmla="*/ 2147483647 h 388"/>
              <a:gd name="T76" fmla="*/ 2147483647 w 287"/>
              <a:gd name="T77" fmla="*/ 2147483647 h 388"/>
              <a:gd name="T78" fmla="*/ 2147483647 w 287"/>
              <a:gd name="T79" fmla="*/ 2147483647 h 388"/>
              <a:gd name="T80" fmla="*/ 2147483647 w 287"/>
              <a:gd name="T81" fmla="*/ 2147483647 h 388"/>
              <a:gd name="T82" fmla="*/ 2147483647 w 287"/>
              <a:gd name="T83" fmla="*/ 2147483647 h 388"/>
              <a:gd name="T84" fmla="*/ 2147483647 w 287"/>
              <a:gd name="T85" fmla="*/ 2147483647 h 388"/>
              <a:gd name="T86" fmla="*/ 2147483647 w 287"/>
              <a:gd name="T87" fmla="*/ 2147483647 h 388"/>
              <a:gd name="T88" fmla="*/ 2147483647 w 287"/>
              <a:gd name="T89" fmla="*/ 2147483647 h 388"/>
              <a:gd name="T90" fmla="*/ 2147483647 w 287"/>
              <a:gd name="T91" fmla="*/ 2147483647 h 388"/>
              <a:gd name="T92" fmla="*/ 2147483647 w 287"/>
              <a:gd name="T93" fmla="*/ 2147483647 h 388"/>
              <a:gd name="T94" fmla="*/ 2147483647 w 287"/>
              <a:gd name="T95" fmla="*/ 2147483647 h 388"/>
              <a:gd name="T96" fmla="*/ 2147483647 w 287"/>
              <a:gd name="T97" fmla="*/ 2147483647 h 388"/>
              <a:gd name="T98" fmla="*/ 2147483647 w 287"/>
              <a:gd name="T99" fmla="*/ 2147483647 h 388"/>
              <a:gd name="T100" fmla="*/ 2147483647 w 287"/>
              <a:gd name="T101" fmla="*/ 2147483647 h 388"/>
              <a:gd name="T102" fmla="*/ 2147483647 w 287"/>
              <a:gd name="T103" fmla="*/ 2147483647 h 388"/>
              <a:gd name="T104" fmla="*/ 2147483647 w 287"/>
              <a:gd name="T105" fmla="*/ 2147483647 h 388"/>
              <a:gd name="T106" fmla="*/ 2147483647 w 287"/>
              <a:gd name="T107" fmla="*/ 2147483647 h 388"/>
              <a:gd name="T108" fmla="*/ 2147483647 w 287"/>
              <a:gd name="T109" fmla="*/ 2147483647 h 388"/>
              <a:gd name="T110" fmla="*/ 2147483647 w 287"/>
              <a:gd name="T111" fmla="*/ 2147483647 h 388"/>
              <a:gd name="T112" fmla="*/ 2147483647 w 287"/>
              <a:gd name="T113" fmla="*/ 2147483647 h 388"/>
              <a:gd name="T114" fmla="*/ 2147483647 w 287"/>
              <a:gd name="T115" fmla="*/ 2147483647 h 3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7"/>
              <a:gd name="T175" fmla="*/ 0 h 388"/>
              <a:gd name="T176" fmla="*/ 287 w 287"/>
              <a:gd name="T177" fmla="*/ 388 h 3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7" h="388">
                <a:moveTo>
                  <a:pt x="0" y="388"/>
                </a:moveTo>
                <a:lnTo>
                  <a:pt x="11" y="373"/>
                </a:lnTo>
                <a:lnTo>
                  <a:pt x="19" y="351"/>
                </a:lnTo>
                <a:lnTo>
                  <a:pt x="26" y="341"/>
                </a:lnTo>
                <a:lnTo>
                  <a:pt x="28" y="323"/>
                </a:lnTo>
                <a:lnTo>
                  <a:pt x="32" y="291"/>
                </a:lnTo>
                <a:lnTo>
                  <a:pt x="24" y="259"/>
                </a:lnTo>
                <a:lnTo>
                  <a:pt x="6" y="226"/>
                </a:lnTo>
                <a:lnTo>
                  <a:pt x="2" y="211"/>
                </a:lnTo>
                <a:lnTo>
                  <a:pt x="6" y="198"/>
                </a:lnTo>
                <a:lnTo>
                  <a:pt x="9" y="198"/>
                </a:lnTo>
                <a:lnTo>
                  <a:pt x="6" y="198"/>
                </a:lnTo>
                <a:lnTo>
                  <a:pt x="6" y="194"/>
                </a:lnTo>
                <a:lnTo>
                  <a:pt x="4" y="183"/>
                </a:lnTo>
                <a:lnTo>
                  <a:pt x="0" y="172"/>
                </a:lnTo>
                <a:lnTo>
                  <a:pt x="6" y="161"/>
                </a:lnTo>
                <a:lnTo>
                  <a:pt x="11" y="144"/>
                </a:lnTo>
                <a:lnTo>
                  <a:pt x="11" y="129"/>
                </a:lnTo>
                <a:lnTo>
                  <a:pt x="9" y="112"/>
                </a:lnTo>
                <a:lnTo>
                  <a:pt x="19" y="105"/>
                </a:lnTo>
                <a:lnTo>
                  <a:pt x="21" y="103"/>
                </a:lnTo>
                <a:lnTo>
                  <a:pt x="19" y="97"/>
                </a:lnTo>
                <a:lnTo>
                  <a:pt x="21" y="90"/>
                </a:lnTo>
                <a:lnTo>
                  <a:pt x="37" y="82"/>
                </a:lnTo>
                <a:lnTo>
                  <a:pt x="45" y="62"/>
                </a:lnTo>
                <a:lnTo>
                  <a:pt x="52" y="62"/>
                </a:lnTo>
                <a:lnTo>
                  <a:pt x="45" y="84"/>
                </a:lnTo>
                <a:lnTo>
                  <a:pt x="50" y="99"/>
                </a:lnTo>
                <a:lnTo>
                  <a:pt x="56" y="99"/>
                </a:lnTo>
                <a:lnTo>
                  <a:pt x="60" y="90"/>
                </a:lnTo>
                <a:lnTo>
                  <a:pt x="65" y="77"/>
                </a:lnTo>
                <a:lnTo>
                  <a:pt x="60" y="56"/>
                </a:lnTo>
                <a:lnTo>
                  <a:pt x="60" y="51"/>
                </a:lnTo>
                <a:lnTo>
                  <a:pt x="67" y="47"/>
                </a:lnTo>
                <a:lnTo>
                  <a:pt x="78" y="38"/>
                </a:lnTo>
                <a:lnTo>
                  <a:pt x="86" y="38"/>
                </a:lnTo>
                <a:lnTo>
                  <a:pt x="91" y="34"/>
                </a:lnTo>
                <a:lnTo>
                  <a:pt x="78" y="32"/>
                </a:lnTo>
                <a:lnTo>
                  <a:pt x="75" y="21"/>
                </a:lnTo>
                <a:lnTo>
                  <a:pt x="78" y="17"/>
                </a:lnTo>
                <a:lnTo>
                  <a:pt x="84" y="8"/>
                </a:lnTo>
                <a:lnTo>
                  <a:pt x="84" y="4"/>
                </a:lnTo>
                <a:lnTo>
                  <a:pt x="99" y="0"/>
                </a:lnTo>
                <a:lnTo>
                  <a:pt x="119" y="8"/>
                </a:lnTo>
                <a:lnTo>
                  <a:pt x="125" y="6"/>
                </a:lnTo>
                <a:lnTo>
                  <a:pt x="136" y="8"/>
                </a:lnTo>
                <a:lnTo>
                  <a:pt x="140" y="15"/>
                </a:lnTo>
                <a:lnTo>
                  <a:pt x="142" y="21"/>
                </a:lnTo>
                <a:lnTo>
                  <a:pt x="155" y="19"/>
                </a:lnTo>
                <a:lnTo>
                  <a:pt x="166" y="28"/>
                </a:lnTo>
                <a:lnTo>
                  <a:pt x="170" y="23"/>
                </a:lnTo>
                <a:lnTo>
                  <a:pt x="179" y="30"/>
                </a:lnTo>
                <a:lnTo>
                  <a:pt x="183" y="30"/>
                </a:lnTo>
                <a:lnTo>
                  <a:pt x="186" y="32"/>
                </a:lnTo>
                <a:lnTo>
                  <a:pt x="192" y="36"/>
                </a:lnTo>
                <a:lnTo>
                  <a:pt x="190" y="36"/>
                </a:lnTo>
                <a:lnTo>
                  <a:pt x="192" y="41"/>
                </a:lnTo>
                <a:lnTo>
                  <a:pt x="201" y="51"/>
                </a:lnTo>
                <a:lnTo>
                  <a:pt x="190" y="56"/>
                </a:lnTo>
                <a:lnTo>
                  <a:pt x="192" y="58"/>
                </a:lnTo>
                <a:lnTo>
                  <a:pt x="190" y="62"/>
                </a:lnTo>
                <a:lnTo>
                  <a:pt x="192" y="69"/>
                </a:lnTo>
                <a:lnTo>
                  <a:pt x="203" y="73"/>
                </a:lnTo>
                <a:lnTo>
                  <a:pt x="205" y="86"/>
                </a:lnTo>
                <a:lnTo>
                  <a:pt x="205" y="103"/>
                </a:lnTo>
                <a:lnTo>
                  <a:pt x="205" y="120"/>
                </a:lnTo>
                <a:lnTo>
                  <a:pt x="196" y="131"/>
                </a:lnTo>
                <a:lnTo>
                  <a:pt x="192" y="138"/>
                </a:lnTo>
                <a:lnTo>
                  <a:pt x="192" y="148"/>
                </a:lnTo>
                <a:lnTo>
                  <a:pt x="188" y="155"/>
                </a:lnTo>
                <a:lnTo>
                  <a:pt x="175" y="161"/>
                </a:lnTo>
                <a:lnTo>
                  <a:pt x="173" y="166"/>
                </a:lnTo>
                <a:lnTo>
                  <a:pt x="175" y="185"/>
                </a:lnTo>
                <a:lnTo>
                  <a:pt x="192" y="194"/>
                </a:lnTo>
                <a:lnTo>
                  <a:pt x="196" y="194"/>
                </a:lnTo>
                <a:lnTo>
                  <a:pt x="203" y="181"/>
                </a:lnTo>
                <a:lnTo>
                  <a:pt x="205" y="181"/>
                </a:lnTo>
                <a:lnTo>
                  <a:pt x="205" y="179"/>
                </a:lnTo>
                <a:lnTo>
                  <a:pt x="209" y="168"/>
                </a:lnTo>
                <a:lnTo>
                  <a:pt x="214" y="159"/>
                </a:lnTo>
                <a:lnTo>
                  <a:pt x="237" y="144"/>
                </a:lnTo>
                <a:lnTo>
                  <a:pt x="248" y="146"/>
                </a:lnTo>
                <a:lnTo>
                  <a:pt x="253" y="151"/>
                </a:lnTo>
                <a:lnTo>
                  <a:pt x="263" y="166"/>
                </a:lnTo>
                <a:lnTo>
                  <a:pt x="265" y="172"/>
                </a:lnTo>
                <a:lnTo>
                  <a:pt x="278" y="220"/>
                </a:lnTo>
                <a:lnTo>
                  <a:pt x="287" y="241"/>
                </a:lnTo>
                <a:lnTo>
                  <a:pt x="285" y="248"/>
                </a:lnTo>
                <a:lnTo>
                  <a:pt x="285" y="261"/>
                </a:lnTo>
                <a:lnTo>
                  <a:pt x="285" y="274"/>
                </a:lnTo>
                <a:lnTo>
                  <a:pt x="274" y="274"/>
                </a:lnTo>
                <a:lnTo>
                  <a:pt x="274" y="269"/>
                </a:lnTo>
                <a:lnTo>
                  <a:pt x="270" y="269"/>
                </a:lnTo>
                <a:lnTo>
                  <a:pt x="263" y="276"/>
                </a:lnTo>
                <a:lnTo>
                  <a:pt x="265" y="276"/>
                </a:lnTo>
                <a:lnTo>
                  <a:pt x="261" y="287"/>
                </a:lnTo>
                <a:lnTo>
                  <a:pt x="263" y="293"/>
                </a:lnTo>
                <a:lnTo>
                  <a:pt x="261" y="300"/>
                </a:lnTo>
                <a:lnTo>
                  <a:pt x="248" y="310"/>
                </a:lnTo>
                <a:lnTo>
                  <a:pt x="246" y="325"/>
                </a:lnTo>
                <a:lnTo>
                  <a:pt x="246" y="334"/>
                </a:lnTo>
                <a:lnTo>
                  <a:pt x="231" y="364"/>
                </a:lnTo>
                <a:lnTo>
                  <a:pt x="209" y="367"/>
                </a:lnTo>
                <a:lnTo>
                  <a:pt x="203" y="369"/>
                </a:lnTo>
                <a:lnTo>
                  <a:pt x="170" y="375"/>
                </a:lnTo>
                <a:lnTo>
                  <a:pt x="168" y="375"/>
                </a:lnTo>
                <a:lnTo>
                  <a:pt x="140" y="379"/>
                </a:lnTo>
                <a:lnTo>
                  <a:pt x="138" y="373"/>
                </a:lnTo>
                <a:lnTo>
                  <a:pt x="136" y="373"/>
                </a:lnTo>
                <a:lnTo>
                  <a:pt x="110" y="377"/>
                </a:lnTo>
                <a:lnTo>
                  <a:pt x="104" y="377"/>
                </a:lnTo>
                <a:lnTo>
                  <a:pt x="78" y="379"/>
                </a:lnTo>
                <a:lnTo>
                  <a:pt x="69" y="379"/>
                </a:lnTo>
                <a:lnTo>
                  <a:pt x="52" y="382"/>
                </a:lnTo>
                <a:lnTo>
                  <a:pt x="39" y="384"/>
                </a:lnTo>
                <a:lnTo>
                  <a:pt x="19" y="388"/>
                </a:lnTo>
                <a:lnTo>
                  <a:pt x="0" y="388"/>
                </a:lnTo>
              </a:path>
            </a:pathLst>
          </a:custGeom>
          <a:solidFill>
            <a:srgbClr val="00B050"/>
          </a:solidFill>
          <a:ln w="6350">
            <a:solidFill>
              <a:srgbClr val="404040"/>
            </a:solidFill>
            <a:round/>
            <a:headEnd/>
            <a:tailEnd/>
          </a:ln>
        </p:spPr>
        <p:txBody>
          <a:bodyPr/>
          <a:lstStyle/>
          <a:p>
            <a:endParaRPr lang="en-US" dirty="0">
              <a:solidFill>
                <a:prstClr val="black"/>
              </a:solidFill>
            </a:endParaRPr>
          </a:p>
        </p:txBody>
      </p:sp>
      <p:sp>
        <p:nvSpPr>
          <p:cNvPr id="296" name="Rectangle 169">
            <a:extLst>
              <a:ext uri="{FF2B5EF4-FFF2-40B4-BE49-F238E27FC236}">
                <a16:creationId xmlns:a16="http://schemas.microsoft.com/office/drawing/2014/main" id="{6A611ED0-9CE4-4D15-9E4A-D0EBAD32D7A7}"/>
              </a:ext>
            </a:extLst>
          </p:cNvPr>
          <p:cNvSpPr>
            <a:spLocks noChangeArrowheads="1"/>
          </p:cNvSpPr>
          <p:nvPr>
            <p:custDataLst>
              <p:tags r:id="rId120"/>
            </p:custDataLst>
          </p:nvPr>
        </p:nvSpPr>
        <p:spPr bwMode="auto">
          <a:xfrm>
            <a:off x="5583426" y="5391484"/>
            <a:ext cx="259686"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Texas</a:t>
            </a:r>
            <a:endParaRPr lang="en-US" sz="1000" dirty="0">
              <a:solidFill>
                <a:prstClr val="black"/>
              </a:solidFill>
            </a:endParaRPr>
          </a:p>
        </p:txBody>
      </p:sp>
      <p:sp>
        <p:nvSpPr>
          <p:cNvPr id="297" name="Rectangle 170">
            <a:extLst>
              <a:ext uri="{FF2B5EF4-FFF2-40B4-BE49-F238E27FC236}">
                <a16:creationId xmlns:a16="http://schemas.microsoft.com/office/drawing/2014/main" id="{549F0913-F53E-482A-A8A6-0CDF5BD882E1}"/>
              </a:ext>
            </a:extLst>
          </p:cNvPr>
          <p:cNvSpPr>
            <a:spLocks noChangeArrowheads="1"/>
          </p:cNvSpPr>
          <p:nvPr>
            <p:custDataLst>
              <p:tags r:id="rId121"/>
            </p:custDataLst>
          </p:nvPr>
        </p:nvSpPr>
        <p:spPr bwMode="auto">
          <a:xfrm>
            <a:off x="3753105" y="3558360"/>
            <a:ext cx="200376" cy="138499"/>
          </a:xfrm>
          <a:prstGeom prst="rect">
            <a:avLst/>
          </a:prstGeom>
          <a:solidFill>
            <a:srgbClr val="00B05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Utah</a:t>
            </a:r>
            <a:endParaRPr lang="en-US" sz="1000" dirty="0">
              <a:solidFill>
                <a:prstClr val="black"/>
              </a:solidFill>
            </a:endParaRPr>
          </a:p>
        </p:txBody>
      </p:sp>
      <p:sp>
        <p:nvSpPr>
          <p:cNvPr id="298" name="Rectangle 171">
            <a:extLst>
              <a:ext uri="{FF2B5EF4-FFF2-40B4-BE49-F238E27FC236}">
                <a16:creationId xmlns:a16="http://schemas.microsoft.com/office/drawing/2014/main" id="{0CCEB613-56C7-4FF8-9FB4-A7DC02EE2013}"/>
              </a:ext>
            </a:extLst>
          </p:cNvPr>
          <p:cNvSpPr>
            <a:spLocks noChangeArrowheads="1"/>
          </p:cNvSpPr>
          <p:nvPr>
            <p:custDataLst>
              <p:tags r:id="rId122"/>
            </p:custDataLst>
          </p:nvPr>
        </p:nvSpPr>
        <p:spPr bwMode="auto">
          <a:xfrm>
            <a:off x="4213460" y="2040843"/>
            <a:ext cx="368691" cy="138499"/>
          </a:xfrm>
          <a:prstGeom prst="rect">
            <a:avLst/>
          </a:prstGeom>
          <a:solidFill>
            <a:srgbClr val="00B05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Montana</a:t>
            </a:r>
            <a:endParaRPr lang="en-US" sz="1000" dirty="0">
              <a:solidFill>
                <a:prstClr val="black"/>
              </a:solidFill>
            </a:endParaRPr>
          </a:p>
        </p:txBody>
      </p:sp>
      <p:sp>
        <p:nvSpPr>
          <p:cNvPr id="299" name="Rectangle 172">
            <a:extLst>
              <a:ext uri="{FF2B5EF4-FFF2-40B4-BE49-F238E27FC236}">
                <a16:creationId xmlns:a16="http://schemas.microsoft.com/office/drawing/2014/main" id="{77FC9F62-535C-4254-BF6D-188A54A3E868}"/>
              </a:ext>
            </a:extLst>
          </p:cNvPr>
          <p:cNvSpPr>
            <a:spLocks noChangeArrowheads="1"/>
          </p:cNvSpPr>
          <p:nvPr>
            <p:custDataLst>
              <p:tags r:id="rId123"/>
            </p:custDataLst>
          </p:nvPr>
        </p:nvSpPr>
        <p:spPr bwMode="auto">
          <a:xfrm>
            <a:off x="2332696" y="3763720"/>
            <a:ext cx="400751" cy="138499"/>
          </a:xfrm>
          <a:prstGeom prst="rect">
            <a:avLst/>
          </a:prstGeom>
          <a:solidFill>
            <a:srgbClr val="FFC00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California</a:t>
            </a:r>
            <a:endParaRPr lang="en-US" sz="1000" dirty="0">
              <a:solidFill>
                <a:prstClr val="black"/>
              </a:solidFill>
            </a:endParaRPr>
          </a:p>
        </p:txBody>
      </p:sp>
      <p:sp>
        <p:nvSpPr>
          <p:cNvPr id="300" name="Rectangle 173">
            <a:extLst>
              <a:ext uri="{FF2B5EF4-FFF2-40B4-BE49-F238E27FC236}">
                <a16:creationId xmlns:a16="http://schemas.microsoft.com/office/drawing/2014/main" id="{875EB95C-876F-4F07-8661-3D24BCF1F3F1}"/>
              </a:ext>
            </a:extLst>
          </p:cNvPr>
          <p:cNvSpPr>
            <a:spLocks noChangeArrowheads="1"/>
          </p:cNvSpPr>
          <p:nvPr>
            <p:custDataLst>
              <p:tags r:id="rId124"/>
            </p:custDataLst>
          </p:nvPr>
        </p:nvSpPr>
        <p:spPr bwMode="auto">
          <a:xfrm>
            <a:off x="3472565" y="4537608"/>
            <a:ext cx="322945" cy="138499"/>
          </a:xfrm>
          <a:prstGeom prst="rect">
            <a:avLst/>
          </a:prstGeom>
          <a:solidFill>
            <a:srgbClr val="FFC00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Arizona</a:t>
            </a:r>
            <a:endParaRPr lang="en-US" sz="1000" dirty="0">
              <a:solidFill>
                <a:prstClr val="black"/>
              </a:solidFill>
            </a:endParaRPr>
          </a:p>
        </p:txBody>
      </p:sp>
      <p:sp>
        <p:nvSpPr>
          <p:cNvPr id="301" name="Rectangle 174">
            <a:extLst>
              <a:ext uri="{FF2B5EF4-FFF2-40B4-BE49-F238E27FC236}">
                <a16:creationId xmlns:a16="http://schemas.microsoft.com/office/drawing/2014/main" id="{8D5D2FF3-2773-443B-BABE-8615B7E59751}"/>
              </a:ext>
            </a:extLst>
          </p:cNvPr>
          <p:cNvSpPr>
            <a:spLocks noChangeArrowheads="1"/>
          </p:cNvSpPr>
          <p:nvPr>
            <p:custDataLst>
              <p:tags r:id="rId125"/>
            </p:custDataLst>
          </p:nvPr>
        </p:nvSpPr>
        <p:spPr bwMode="auto">
          <a:xfrm>
            <a:off x="3415537" y="2507772"/>
            <a:ext cx="237244" cy="138499"/>
          </a:xfrm>
          <a:prstGeom prst="rect">
            <a:avLst/>
          </a:prstGeom>
          <a:solidFill>
            <a:srgbClr val="00B05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Idaho</a:t>
            </a:r>
            <a:endParaRPr lang="en-US" sz="1000" dirty="0">
              <a:solidFill>
                <a:prstClr val="black"/>
              </a:solidFill>
            </a:endParaRPr>
          </a:p>
        </p:txBody>
      </p:sp>
      <p:sp>
        <p:nvSpPr>
          <p:cNvPr id="302" name="Rectangle 175">
            <a:extLst>
              <a:ext uri="{FF2B5EF4-FFF2-40B4-BE49-F238E27FC236}">
                <a16:creationId xmlns:a16="http://schemas.microsoft.com/office/drawing/2014/main" id="{6B13F7A4-6F56-438C-8302-71C8EE8CF610}"/>
              </a:ext>
            </a:extLst>
          </p:cNvPr>
          <p:cNvSpPr>
            <a:spLocks noChangeArrowheads="1"/>
          </p:cNvSpPr>
          <p:nvPr>
            <p:custDataLst>
              <p:tags r:id="rId126"/>
            </p:custDataLst>
          </p:nvPr>
        </p:nvSpPr>
        <p:spPr bwMode="auto">
          <a:xfrm>
            <a:off x="2869726" y="3314088"/>
            <a:ext cx="328616" cy="138499"/>
          </a:xfrm>
          <a:prstGeom prst="rect">
            <a:avLst/>
          </a:prstGeom>
          <a:solidFill>
            <a:srgbClr val="FFC00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Nevada</a:t>
            </a:r>
            <a:endParaRPr lang="en-US" sz="1000" dirty="0">
              <a:solidFill>
                <a:prstClr val="black"/>
              </a:solidFill>
            </a:endParaRPr>
          </a:p>
        </p:txBody>
      </p:sp>
      <p:sp>
        <p:nvSpPr>
          <p:cNvPr id="303" name="Rectangle 176">
            <a:extLst>
              <a:ext uri="{FF2B5EF4-FFF2-40B4-BE49-F238E27FC236}">
                <a16:creationId xmlns:a16="http://schemas.microsoft.com/office/drawing/2014/main" id="{6672B429-8FF4-4AE1-9B47-C3996CDC3A40}"/>
              </a:ext>
            </a:extLst>
          </p:cNvPr>
          <p:cNvSpPr>
            <a:spLocks noChangeArrowheads="1"/>
          </p:cNvSpPr>
          <p:nvPr>
            <p:custDataLst>
              <p:tags r:id="rId127"/>
            </p:custDataLst>
          </p:nvPr>
        </p:nvSpPr>
        <p:spPr bwMode="auto">
          <a:xfrm>
            <a:off x="2611085" y="2293750"/>
            <a:ext cx="317395" cy="138499"/>
          </a:xfrm>
          <a:prstGeom prst="rect">
            <a:avLst/>
          </a:prstGeom>
          <a:solidFill>
            <a:srgbClr val="00B05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Oregon</a:t>
            </a:r>
            <a:endParaRPr lang="en-US" sz="1000" dirty="0">
              <a:solidFill>
                <a:prstClr val="black"/>
              </a:solidFill>
            </a:endParaRPr>
          </a:p>
        </p:txBody>
      </p:sp>
      <p:sp>
        <p:nvSpPr>
          <p:cNvPr id="304" name="Rectangle 177">
            <a:extLst>
              <a:ext uri="{FF2B5EF4-FFF2-40B4-BE49-F238E27FC236}">
                <a16:creationId xmlns:a16="http://schemas.microsoft.com/office/drawing/2014/main" id="{DFDB4B1A-1B24-485E-8859-E8590C9696E7}"/>
              </a:ext>
            </a:extLst>
          </p:cNvPr>
          <p:cNvSpPr>
            <a:spLocks noChangeArrowheads="1"/>
          </p:cNvSpPr>
          <p:nvPr>
            <p:custDataLst>
              <p:tags r:id="rId128"/>
            </p:custDataLst>
          </p:nvPr>
        </p:nvSpPr>
        <p:spPr bwMode="auto">
          <a:xfrm>
            <a:off x="6341858" y="3132506"/>
            <a:ext cx="200376"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Iowa</a:t>
            </a:r>
            <a:endParaRPr lang="en-US" sz="1000" dirty="0">
              <a:solidFill>
                <a:prstClr val="black"/>
              </a:solidFill>
            </a:endParaRPr>
          </a:p>
        </p:txBody>
      </p:sp>
      <p:sp>
        <p:nvSpPr>
          <p:cNvPr id="305" name="Rectangle 178">
            <a:extLst>
              <a:ext uri="{FF2B5EF4-FFF2-40B4-BE49-F238E27FC236}">
                <a16:creationId xmlns:a16="http://schemas.microsoft.com/office/drawing/2014/main" id="{BB16FEF2-BB95-4ABC-9C44-E05EB411D7B4}"/>
              </a:ext>
            </a:extLst>
          </p:cNvPr>
          <p:cNvSpPr>
            <a:spLocks noChangeArrowheads="1"/>
          </p:cNvSpPr>
          <p:nvPr>
            <p:custDataLst>
              <p:tags r:id="rId129"/>
            </p:custDataLst>
          </p:nvPr>
        </p:nvSpPr>
        <p:spPr bwMode="auto">
          <a:xfrm>
            <a:off x="4485267" y="3716166"/>
            <a:ext cx="453239" cy="138499"/>
          </a:xfrm>
          <a:prstGeom prst="rect">
            <a:avLst/>
          </a:prstGeom>
          <a:solidFill>
            <a:srgbClr val="FFC00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Colorado</a:t>
            </a:r>
            <a:endParaRPr lang="en-US" sz="1000" dirty="0">
              <a:solidFill>
                <a:prstClr val="black"/>
              </a:solidFill>
            </a:endParaRPr>
          </a:p>
        </p:txBody>
      </p:sp>
      <p:sp>
        <p:nvSpPr>
          <p:cNvPr id="306" name="Rectangle 179">
            <a:extLst>
              <a:ext uri="{FF2B5EF4-FFF2-40B4-BE49-F238E27FC236}">
                <a16:creationId xmlns:a16="http://schemas.microsoft.com/office/drawing/2014/main" id="{862CF786-0468-4E64-BB67-1796C888207A}"/>
              </a:ext>
            </a:extLst>
          </p:cNvPr>
          <p:cNvSpPr>
            <a:spLocks noChangeArrowheads="1"/>
          </p:cNvSpPr>
          <p:nvPr>
            <p:custDataLst>
              <p:tags r:id="rId130"/>
            </p:custDataLst>
          </p:nvPr>
        </p:nvSpPr>
        <p:spPr bwMode="auto">
          <a:xfrm>
            <a:off x="5609764" y="3897740"/>
            <a:ext cx="317395"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Kansas</a:t>
            </a:r>
            <a:endParaRPr lang="en-US" sz="1000" dirty="0">
              <a:solidFill>
                <a:prstClr val="black"/>
              </a:solidFill>
            </a:endParaRPr>
          </a:p>
        </p:txBody>
      </p:sp>
      <p:sp>
        <p:nvSpPr>
          <p:cNvPr id="307" name="Rectangle 180">
            <a:extLst>
              <a:ext uri="{FF2B5EF4-FFF2-40B4-BE49-F238E27FC236}">
                <a16:creationId xmlns:a16="http://schemas.microsoft.com/office/drawing/2014/main" id="{926C7835-823C-4F5A-B545-D3E948EACFE5}"/>
              </a:ext>
            </a:extLst>
          </p:cNvPr>
          <p:cNvSpPr>
            <a:spLocks noChangeArrowheads="1"/>
          </p:cNvSpPr>
          <p:nvPr>
            <p:custDataLst>
              <p:tags r:id="rId131"/>
            </p:custDataLst>
          </p:nvPr>
        </p:nvSpPr>
        <p:spPr bwMode="auto">
          <a:xfrm>
            <a:off x="4285760" y="2866616"/>
            <a:ext cx="395942" cy="138499"/>
          </a:xfrm>
          <a:prstGeom prst="rect">
            <a:avLst/>
          </a:prstGeom>
          <a:solidFill>
            <a:srgbClr val="00B05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Wyoming</a:t>
            </a:r>
            <a:endParaRPr lang="en-US" sz="1000" dirty="0">
              <a:solidFill>
                <a:prstClr val="black"/>
              </a:solidFill>
            </a:endParaRPr>
          </a:p>
        </p:txBody>
      </p:sp>
      <p:sp>
        <p:nvSpPr>
          <p:cNvPr id="308" name="Rectangle 181">
            <a:extLst>
              <a:ext uri="{FF2B5EF4-FFF2-40B4-BE49-F238E27FC236}">
                <a16:creationId xmlns:a16="http://schemas.microsoft.com/office/drawing/2014/main" id="{C4DDD107-043B-4DA5-8715-92312218310E}"/>
              </a:ext>
            </a:extLst>
          </p:cNvPr>
          <p:cNvSpPr>
            <a:spLocks noChangeArrowheads="1"/>
          </p:cNvSpPr>
          <p:nvPr>
            <p:custDataLst>
              <p:tags r:id="rId132"/>
            </p:custDataLst>
          </p:nvPr>
        </p:nvSpPr>
        <p:spPr bwMode="auto">
          <a:xfrm>
            <a:off x="4224382" y="4626242"/>
            <a:ext cx="517770" cy="138499"/>
          </a:xfrm>
          <a:prstGeom prst="rect">
            <a:avLst/>
          </a:prstGeom>
          <a:solidFill>
            <a:srgbClr val="FFC00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New Mexico</a:t>
            </a:r>
            <a:endParaRPr lang="en-US" sz="1000" dirty="0">
              <a:solidFill>
                <a:prstClr val="black"/>
              </a:solidFill>
            </a:endParaRPr>
          </a:p>
        </p:txBody>
      </p:sp>
      <p:sp>
        <p:nvSpPr>
          <p:cNvPr id="309" name="Rectangle 182">
            <a:extLst>
              <a:ext uri="{FF2B5EF4-FFF2-40B4-BE49-F238E27FC236}">
                <a16:creationId xmlns:a16="http://schemas.microsoft.com/office/drawing/2014/main" id="{3E104E3F-4C83-4F68-8989-D95171210E35}"/>
              </a:ext>
            </a:extLst>
          </p:cNvPr>
          <p:cNvSpPr>
            <a:spLocks noChangeArrowheads="1"/>
          </p:cNvSpPr>
          <p:nvPr>
            <p:custDataLst>
              <p:tags r:id="rId133"/>
            </p:custDataLst>
          </p:nvPr>
        </p:nvSpPr>
        <p:spPr bwMode="auto">
          <a:xfrm>
            <a:off x="6429539" y="3930162"/>
            <a:ext cx="354264"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Missouri</a:t>
            </a:r>
            <a:endParaRPr lang="en-US" sz="1000" dirty="0">
              <a:solidFill>
                <a:prstClr val="black"/>
              </a:solidFill>
            </a:endParaRPr>
          </a:p>
        </p:txBody>
      </p:sp>
      <p:sp>
        <p:nvSpPr>
          <p:cNvPr id="310" name="Rectangle 183">
            <a:extLst>
              <a:ext uri="{FF2B5EF4-FFF2-40B4-BE49-F238E27FC236}">
                <a16:creationId xmlns:a16="http://schemas.microsoft.com/office/drawing/2014/main" id="{295BA1C9-2131-4252-A7C5-6273ACEFC0F2}"/>
              </a:ext>
            </a:extLst>
          </p:cNvPr>
          <p:cNvSpPr>
            <a:spLocks noChangeArrowheads="1"/>
          </p:cNvSpPr>
          <p:nvPr>
            <p:custDataLst>
              <p:tags r:id="rId134"/>
            </p:custDataLst>
          </p:nvPr>
        </p:nvSpPr>
        <p:spPr bwMode="auto">
          <a:xfrm>
            <a:off x="6056898" y="2250514"/>
            <a:ext cx="437620"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Minnesota</a:t>
            </a:r>
            <a:endParaRPr lang="en-US" sz="1000" dirty="0">
              <a:solidFill>
                <a:prstClr val="black"/>
              </a:solidFill>
            </a:endParaRPr>
          </a:p>
        </p:txBody>
      </p:sp>
      <p:sp>
        <p:nvSpPr>
          <p:cNvPr id="311" name="Rectangle 184">
            <a:extLst>
              <a:ext uri="{FF2B5EF4-FFF2-40B4-BE49-F238E27FC236}">
                <a16:creationId xmlns:a16="http://schemas.microsoft.com/office/drawing/2014/main" id="{E47A2110-BDD6-4B3B-8F5B-0481866030D8}"/>
              </a:ext>
            </a:extLst>
          </p:cNvPr>
          <p:cNvSpPr>
            <a:spLocks noChangeArrowheads="1"/>
          </p:cNvSpPr>
          <p:nvPr>
            <p:custDataLst>
              <p:tags r:id="rId135"/>
            </p:custDataLst>
          </p:nvPr>
        </p:nvSpPr>
        <p:spPr bwMode="auto">
          <a:xfrm>
            <a:off x="5333538" y="3285986"/>
            <a:ext cx="472706" cy="138499"/>
          </a:xfrm>
          <a:prstGeom prst="rect">
            <a:avLst/>
          </a:prstGeom>
          <a:solidFill>
            <a:srgbClr val="FFC00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Nebraska</a:t>
            </a:r>
            <a:endParaRPr lang="en-US" sz="1000" dirty="0">
              <a:solidFill>
                <a:prstClr val="black"/>
              </a:solidFill>
            </a:endParaRPr>
          </a:p>
        </p:txBody>
      </p:sp>
      <p:sp>
        <p:nvSpPr>
          <p:cNvPr id="312" name="Rectangle 185">
            <a:extLst>
              <a:ext uri="{FF2B5EF4-FFF2-40B4-BE49-F238E27FC236}">
                <a16:creationId xmlns:a16="http://schemas.microsoft.com/office/drawing/2014/main" id="{8B4C6CD2-95DB-4524-A57A-6BC33C5E7417}"/>
              </a:ext>
            </a:extLst>
          </p:cNvPr>
          <p:cNvSpPr>
            <a:spLocks noChangeArrowheads="1"/>
          </p:cNvSpPr>
          <p:nvPr>
            <p:custDataLst>
              <p:tags r:id="rId136"/>
            </p:custDataLst>
          </p:nvPr>
        </p:nvSpPr>
        <p:spPr bwMode="auto">
          <a:xfrm>
            <a:off x="5690872" y="4500848"/>
            <a:ext cx="432811"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Oklahoma</a:t>
            </a:r>
            <a:endParaRPr lang="en-US" sz="1000" dirty="0">
              <a:solidFill>
                <a:prstClr val="black"/>
              </a:solidFill>
            </a:endParaRPr>
          </a:p>
        </p:txBody>
      </p:sp>
      <p:sp>
        <p:nvSpPr>
          <p:cNvPr id="313" name="Rectangle 186">
            <a:extLst>
              <a:ext uri="{FF2B5EF4-FFF2-40B4-BE49-F238E27FC236}">
                <a16:creationId xmlns:a16="http://schemas.microsoft.com/office/drawing/2014/main" id="{73105193-5C7E-4214-9715-96BE59D1010D}"/>
              </a:ext>
            </a:extLst>
          </p:cNvPr>
          <p:cNvSpPr>
            <a:spLocks noChangeArrowheads="1"/>
          </p:cNvSpPr>
          <p:nvPr>
            <p:custDataLst>
              <p:tags r:id="rId137"/>
            </p:custDataLst>
          </p:nvPr>
        </p:nvSpPr>
        <p:spPr bwMode="auto">
          <a:xfrm>
            <a:off x="5166965" y="2685032"/>
            <a:ext cx="652947" cy="138499"/>
          </a:xfrm>
          <a:prstGeom prst="rect">
            <a:avLst/>
          </a:prstGeom>
          <a:solidFill>
            <a:srgbClr val="FFC00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South Dakota</a:t>
            </a:r>
            <a:endParaRPr lang="en-US" sz="1000" dirty="0">
              <a:solidFill>
                <a:prstClr val="black"/>
              </a:solidFill>
            </a:endParaRPr>
          </a:p>
        </p:txBody>
      </p:sp>
      <p:sp>
        <p:nvSpPr>
          <p:cNvPr id="314" name="Rectangle 187">
            <a:extLst>
              <a:ext uri="{FF2B5EF4-FFF2-40B4-BE49-F238E27FC236}">
                <a16:creationId xmlns:a16="http://schemas.microsoft.com/office/drawing/2014/main" id="{5CE5FFD0-A805-46D2-8226-3C787C8B3545}"/>
              </a:ext>
            </a:extLst>
          </p:cNvPr>
          <p:cNvSpPr>
            <a:spLocks noChangeArrowheads="1"/>
          </p:cNvSpPr>
          <p:nvPr>
            <p:custDataLst>
              <p:tags r:id="rId138"/>
            </p:custDataLst>
          </p:nvPr>
        </p:nvSpPr>
        <p:spPr bwMode="auto">
          <a:xfrm>
            <a:off x="2687792" y="1734932"/>
            <a:ext cx="604948" cy="138499"/>
          </a:xfrm>
          <a:prstGeom prst="rect">
            <a:avLst/>
          </a:prstGeom>
          <a:solidFill>
            <a:srgbClr val="00B0F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Washington</a:t>
            </a:r>
            <a:endParaRPr lang="en-US" sz="1000" dirty="0">
              <a:solidFill>
                <a:prstClr val="black"/>
              </a:solidFill>
            </a:endParaRPr>
          </a:p>
        </p:txBody>
      </p:sp>
      <p:sp>
        <p:nvSpPr>
          <p:cNvPr id="315" name="Rectangle 188">
            <a:extLst>
              <a:ext uri="{FF2B5EF4-FFF2-40B4-BE49-F238E27FC236}">
                <a16:creationId xmlns:a16="http://schemas.microsoft.com/office/drawing/2014/main" id="{2ACB1DEE-2AF7-423C-9899-7BDBE4AB6EE0}"/>
              </a:ext>
            </a:extLst>
          </p:cNvPr>
          <p:cNvSpPr>
            <a:spLocks noChangeArrowheads="1"/>
          </p:cNvSpPr>
          <p:nvPr>
            <p:custDataLst>
              <p:tags r:id="rId139"/>
            </p:custDataLst>
          </p:nvPr>
        </p:nvSpPr>
        <p:spPr bwMode="auto">
          <a:xfrm>
            <a:off x="6425173" y="4565710"/>
            <a:ext cx="397545"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Arkansas</a:t>
            </a:r>
            <a:endParaRPr lang="en-US" sz="1000" dirty="0">
              <a:solidFill>
                <a:prstClr val="black"/>
              </a:solidFill>
            </a:endParaRPr>
          </a:p>
        </p:txBody>
      </p:sp>
      <p:sp>
        <p:nvSpPr>
          <p:cNvPr id="316" name="Rectangle 189">
            <a:extLst>
              <a:ext uri="{FF2B5EF4-FFF2-40B4-BE49-F238E27FC236}">
                <a16:creationId xmlns:a16="http://schemas.microsoft.com/office/drawing/2014/main" id="{B4ACB6ED-E0E3-4985-9013-739D4AC7B4AA}"/>
              </a:ext>
            </a:extLst>
          </p:cNvPr>
          <p:cNvSpPr>
            <a:spLocks noChangeArrowheads="1"/>
          </p:cNvSpPr>
          <p:nvPr>
            <p:custDataLst>
              <p:tags r:id="rId140"/>
            </p:custDataLst>
          </p:nvPr>
        </p:nvSpPr>
        <p:spPr bwMode="auto">
          <a:xfrm>
            <a:off x="5171363" y="2077580"/>
            <a:ext cx="634915" cy="138499"/>
          </a:xfrm>
          <a:prstGeom prst="rect">
            <a:avLst/>
          </a:prstGeom>
          <a:solidFill>
            <a:srgbClr val="FFC00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North Dakota</a:t>
            </a:r>
            <a:endParaRPr lang="en-US" sz="1000" dirty="0">
              <a:solidFill>
                <a:prstClr val="black"/>
              </a:solidFill>
            </a:endParaRPr>
          </a:p>
        </p:txBody>
      </p:sp>
      <p:sp>
        <p:nvSpPr>
          <p:cNvPr id="317" name="Rectangle 190">
            <a:extLst>
              <a:ext uri="{FF2B5EF4-FFF2-40B4-BE49-F238E27FC236}">
                <a16:creationId xmlns:a16="http://schemas.microsoft.com/office/drawing/2014/main" id="{29E06E00-F23C-46F7-9667-74E4F3C8187A}"/>
              </a:ext>
            </a:extLst>
          </p:cNvPr>
          <p:cNvSpPr>
            <a:spLocks noChangeArrowheads="1"/>
          </p:cNvSpPr>
          <p:nvPr>
            <p:custDataLst>
              <p:tags r:id="rId141"/>
            </p:custDataLst>
          </p:nvPr>
        </p:nvSpPr>
        <p:spPr bwMode="auto">
          <a:xfrm>
            <a:off x="6517243" y="5503890"/>
            <a:ext cx="407163"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Louisiana</a:t>
            </a:r>
            <a:endParaRPr lang="en-US" sz="1000" dirty="0">
              <a:solidFill>
                <a:prstClr val="black"/>
              </a:solidFill>
            </a:endParaRPr>
          </a:p>
        </p:txBody>
      </p:sp>
      <p:sp>
        <p:nvSpPr>
          <p:cNvPr id="318" name="Rectangle 192">
            <a:extLst>
              <a:ext uri="{FF2B5EF4-FFF2-40B4-BE49-F238E27FC236}">
                <a16:creationId xmlns:a16="http://schemas.microsoft.com/office/drawing/2014/main" id="{CA9D30FD-9348-4E8A-A0E4-52A2E85C494C}"/>
              </a:ext>
            </a:extLst>
          </p:cNvPr>
          <p:cNvSpPr>
            <a:spLocks noChangeArrowheads="1"/>
          </p:cNvSpPr>
          <p:nvPr>
            <p:custDataLst>
              <p:tags r:id="rId142"/>
            </p:custDataLst>
          </p:nvPr>
        </p:nvSpPr>
        <p:spPr bwMode="auto">
          <a:xfrm>
            <a:off x="6859169" y="3510802"/>
            <a:ext cx="262892"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Illinois</a:t>
            </a:r>
            <a:endParaRPr lang="en-US" sz="1000" dirty="0">
              <a:solidFill>
                <a:prstClr val="black"/>
              </a:solidFill>
            </a:endParaRPr>
          </a:p>
        </p:txBody>
      </p:sp>
      <p:sp>
        <p:nvSpPr>
          <p:cNvPr id="319" name="Rectangle 193">
            <a:extLst>
              <a:ext uri="{FF2B5EF4-FFF2-40B4-BE49-F238E27FC236}">
                <a16:creationId xmlns:a16="http://schemas.microsoft.com/office/drawing/2014/main" id="{F7143B3E-D714-4A7A-A29D-EFD80DF887AE}"/>
              </a:ext>
            </a:extLst>
          </p:cNvPr>
          <p:cNvSpPr>
            <a:spLocks noChangeArrowheads="1"/>
          </p:cNvSpPr>
          <p:nvPr>
            <p:custDataLst>
              <p:tags r:id="rId143"/>
            </p:custDataLst>
          </p:nvPr>
        </p:nvSpPr>
        <p:spPr bwMode="auto">
          <a:xfrm>
            <a:off x="7900372" y="3402716"/>
            <a:ext cx="200376"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Ohio</a:t>
            </a:r>
            <a:endParaRPr lang="en-US" sz="1000" dirty="0">
              <a:solidFill>
                <a:prstClr val="black"/>
              </a:solidFill>
            </a:endParaRPr>
          </a:p>
        </p:txBody>
      </p:sp>
      <p:sp>
        <p:nvSpPr>
          <p:cNvPr id="320" name="Rectangle 194">
            <a:extLst>
              <a:ext uri="{FF2B5EF4-FFF2-40B4-BE49-F238E27FC236}">
                <a16:creationId xmlns:a16="http://schemas.microsoft.com/office/drawing/2014/main" id="{7BC89BC5-F8E2-4A2B-AA08-E9E92FCF8635}"/>
              </a:ext>
            </a:extLst>
          </p:cNvPr>
          <p:cNvSpPr>
            <a:spLocks noChangeArrowheads="1"/>
          </p:cNvSpPr>
          <p:nvPr>
            <p:custDataLst>
              <p:tags r:id="rId144"/>
            </p:custDataLst>
          </p:nvPr>
        </p:nvSpPr>
        <p:spPr bwMode="auto">
          <a:xfrm>
            <a:off x="8371651" y="5774096"/>
            <a:ext cx="256480" cy="123111"/>
          </a:xfrm>
          <a:prstGeom prst="rect">
            <a:avLst/>
          </a:prstGeom>
          <a:noFill/>
          <a:ln w="9525">
            <a:noFill/>
            <a:miter lim="800000"/>
            <a:headEnd/>
            <a:tailEnd/>
          </a:ln>
        </p:spPr>
        <p:txBody>
          <a:bodyPr wrap="none" lIns="0" tIns="0" rIns="0" bIns="0">
            <a:spAutoFit/>
          </a:bodyPr>
          <a:lstStyle/>
          <a:p>
            <a:r>
              <a:rPr lang="en-US" sz="800" dirty="0">
                <a:solidFill>
                  <a:srgbClr val="000000"/>
                </a:solidFill>
                <a:latin typeface="Arial Narrow" pitchFamily="34" charset="0"/>
              </a:rPr>
              <a:t>Florida</a:t>
            </a:r>
            <a:endParaRPr lang="en-US" sz="1000" dirty="0">
              <a:solidFill>
                <a:prstClr val="black"/>
              </a:solidFill>
            </a:endParaRPr>
          </a:p>
        </p:txBody>
      </p:sp>
      <p:sp>
        <p:nvSpPr>
          <p:cNvPr id="321" name="Rectangle 195">
            <a:extLst>
              <a:ext uri="{FF2B5EF4-FFF2-40B4-BE49-F238E27FC236}">
                <a16:creationId xmlns:a16="http://schemas.microsoft.com/office/drawing/2014/main" id="{9B5E5BF0-9413-42A7-AF69-EBBA8D85AE3C}"/>
              </a:ext>
            </a:extLst>
          </p:cNvPr>
          <p:cNvSpPr>
            <a:spLocks noChangeArrowheads="1"/>
          </p:cNvSpPr>
          <p:nvPr>
            <p:custDataLst>
              <p:tags r:id="rId145"/>
            </p:custDataLst>
          </p:nvPr>
        </p:nvSpPr>
        <p:spPr bwMode="auto">
          <a:xfrm>
            <a:off x="7970515" y="5004538"/>
            <a:ext cx="338234"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Georgia</a:t>
            </a:r>
            <a:endParaRPr lang="en-US" sz="1000" dirty="0">
              <a:solidFill>
                <a:prstClr val="black"/>
              </a:solidFill>
            </a:endParaRPr>
          </a:p>
        </p:txBody>
      </p:sp>
      <p:sp>
        <p:nvSpPr>
          <p:cNvPr id="322" name="Rectangle 196">
            <a:extLst>
              <a:ext uri="{FF2B5EF4-FFF2-40B4-BE49-F238E27FC236}">
                <a16:creationId xmlns:a16="http://schemas.microsoft.com/office/drawing/2014/main" id="{16F90D91-9A99-44FA-B394-A521F8FB5F7D}"/>
              </a:ext>
            </a:extLst>
          </p:cNvPr>
          <p:cNvSpPr>
            <a:spLocks noChangeArrowheads="1"/>
          </p:cNvSpPr>
          <p:nvPr>
            <p:custDataLst>
              <p:tags r:id="rId146"/>
            </p:custDataLst>
          </p:nvPr>
        </p:nvSpPr>
        <p:spPr bwMode="auto">
          <a:xfrm>
            <a:off x="7376482" y="5017508"/>
            <a:ext cx="373500"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Alabama</a:t>
            </a:r>
            <a:endParaRPr lang="en-US" sz="1000" dirty="0">
              <a:solidFill>
                <a:prstClr val="black"/>
              </a:solidFill>
            </a:endParaRPr>
          </a:p>
        </p:txBody>
      </p:sp>
      <p:sp>
        <p:nvSpPr>
          <p:cNvPr id="323" name="Rectangle 197">
            <a:extLst>
              <a:ext uri="{FF2B5EF4-FFF2-40B4-BE49-F238E27FC236}">
                <a16:creationId xmlns:a16="http://schemas.microsoft.com/office/drawing/2014/main" id="{3B51E33E-528C-4DD0-954E-E1F03171E534}"/>
              </a:ext>
            </a:extLst>
          </p:cNvPr>
          <p:cNvSpPr>
            <a:spLocks noChangeArrowheads="1"/>
          </p:cNvSpPr>
          <p:nvPr>
            <p:custDataLst>
              <p:tags r:id="rId147"/>
            </p:custDataLst>
          </p:nvPr>
        </p:nvSpPr>
        <p:spPr bwMode="auto">
          <a:xfrm>
            <a:off x="6694770" y="2652604"/>
            <a:ext cx="434414"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Wisconsin</a:t>
            </a:r>
            <a:endParaRPr lang="en-US" sz="1000" dirty="0">
              <a:solidFill>
                <a:prstClr val="black"/>
              </a:solidFill>
            </a:endParaRPr>
          </a:p>
        </p:txBody>
      </p:sp>
      <p:sp>
        <p:nvSpPr>
          <p:cNvPr id="324" name="Rectangle 198">
            <a:extLst>
              <a:ext uri="{FF2B5EF4-FFF2-40B4-BE49-F238E27FC236}">
                <a16:creationId xmlns:a16="http://schemas.microsoft.com/office/drawing/2014/main" id="{4F744DD8-10E6-4849-BC08-CE28435E132E}"/>
              </a:ext>
            </a:extLst>
          </p:cNvPr>
          <p:cNvSpPr>
            <a:spLocks noChangeArrowheads="1"/>
          </p:cNvSpPr>
          <p:nvPr>
            <p:custDataLst>
              <p:tags r:id="rId148"/>
            </p:custDataLst>
          </p:nvPr>
        </p:nvSpPr>
        <p:spPr bwMode="auto">
          <a:xfrm>
            <a:off x="8527286" y="3852342"/>
            <a:ext cx="373588" cy="138499"/>
          </a:xfrm>
          <a:prstGeom prst="rect">
            <a:avLst/>
          </a:prstGeom>
          <a:solidFill>
            <a:srgbClr val="00B05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Virginia</a:t>
            </a:r>
            <a:endParaRPr lang="en-US" sz="1000" dirty="0">
              <a:solidFill>
                <a:prstClr val="black"/>
              </a:solidFill>
            </a:endParaRPr>
          </a:p>
        </p:txBody>
      </p:sp>
      <p:sp>
        <p:nvSpPr>
          <p:cNvPr id="325" name="Rectangle 199">
            <a:extLst>
              <a:ext uri="{FF2B5EF4-FFF2-40B4-BE49-F238E27FC236}">
                <a16:creationId xmlns:a16="http://schemas.microsoft.com/office/drawing/2014/main" id="{B8F8A12C-2666-454F-89F3-14D5B9CD5A81}"/>
              </a:ext>
            </a:extLst>
          </p:cNvPr>
          <p:cNvSpPr>
            <a:spLocks noChangeArrowheads="1"/>
          </p:cNvSpPr>
          <p:nvPr>
            <p:custDataLst>
              <p:tags r:id="rId149"/>
            </p:custDataLst>
          </p:nvPr>
        </p:nvSpPr>
        <p:spPr bwMode="auto">
          <a:xfrm>
            <a:off x="7345809" y="3482702"/>
            <a:ext cx="310983"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Indiana</a:t>
            </a:r>
            <a:endParaRPr lang="en-US" sz="1000" dirty="0">
              <a:solidFill>
                <a:prstClr val="black"/>
              </a:solidFill>
            </a:endParaRPr>
          </a:p>
        </p:txBody>
      </p:sp>
      <p:sp>
        <p:nvSpPr>
          <p:cNvPr id="326" name="Rectangle 200">
            <a:extLst>
              <a:ext uri="{FF2B5EF4-FFF2-40B4-BE49-F238E27FC236}">
                <a16:creationId xmlns:a16="http://schemas.microsoft.com/office/drawing/2014/main" id="{DFBD7DEF-46C7-4E88-B93C-934D1639FBF9}"/>
              </a:ext>
            </a:extLst>
          </p:cNvPr>
          <p:cNvSpPr>
            <a:spLocks noChangeArrowheads="1"/>
          </p:cNvSpPr>
          <p:nvPr>
            <p:custDataLst>
              <p:tags r:id="rId150"/>
            </p:custDataLst>
          </p:nvPr>
        </p:nvSpPr>
        <p:spPr bwMode="auto">
          <a:xfrm>
            <a:off x="7479508" y="2821220"/>
            <a:ext cx="379912"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Michigan</a:t>
            </a:r>
            <a:endParaRPr lang="en-US" sz="1000" dirty="0">
              <a:solidFill>
                <a:prstClr val="black"/>
              </a:solidFill>
            </a:endParaRPr>
          </a:p>
        </p:txBody>
      </p:sp>
      <p:sp>
        <p:nvSpPr>
          <p:cNvPr id="327" name="Rectangle 201">
            <a:extLst>
              <a:ext uri="{FF2B5EF4-FFF2-40B4-BE49-F238E27FC236}">
                <a16:creationId xmlns:a16="http://schemas.microsoft.com/office/drawing/2014/main" id="{89C11AE8-8924-4D6D-8B4C-9FDF6BA65129}"/>
              </a:ext>
            </a:extLst>
          </p:cNvPr>
          <p:cNvSpPr>
            <a:spLocks noChangeArrowheads="1"/>
          </p:cNvSpPr>
          <p:nvPr>
            <p:custDataLst>
              <p:tags r:id="rId151"/>
            </p:custDataLst>
          </p:nvPr>
        </p:nvSpPr>
        <p:spPr bwMode="auto">
          <a:xfrm>
            <a:off x="6966173" y="4993728"/>
            <a:ext cx="381000" cy="138499"/>
          </a:xfrm>
          <a:prstGeom prst="rect">
            <a:avLst/>
          </a:prstGeom>
          <a:no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MS</a:t>
            </a:r>
            <a:endParaRPr lang="en-US" sz="1100" dirty="0">
              <a:solidFill>
                <a:prstClr val="black"/>
              </a:solidFill>
            </a:endParaRPr>
          </a:p>
        </p:txBody>
      </p:sp>
      <p:sp>
        <p:nvSpPr>
          <p:cNvPr id="328" name="Rectangle 202">
            <a:extLst>
              <a:ext uri="{FF2B5EF4-FFF2-40B4-BE49-F238E27FC236}">
                <a16:creationId xmlns:a16="http://schemas.microsoft.com/office/drawing/2014/main" id="{2E05EE02-E1F3-469B-8609-AF3EFFD87826}"/>
              </a:ext>
            </a:extLst>
          </p:cNvPr>
          <p:cNvSpPr>
            <a:spLocks noChangeArrowheads="1"/>
          </p:cNvSpPr>
          <p:nvPr>
            <p:custDataLst>
              <p:tags r:id="rId152"/>
            </p:custDataLst>
          </p:nvPr>
        </p:nvSpPr>
        <p:spPr bwMode="auto">
          <a:xfrm>
            <a:off x="7505842" y="4001498"/>
            <a:ext cx="391133"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Kentucky</a:t>
            </a:r>
            <a:endParaRPr lang="en-US" sz="1000" dirty="0">
              <a:solidFill>
                <a:prstClr val="black"/>
              </a:solidFill>
            </a:endParaRPr>
          </a:p>
        </p:txBody>
      </p:sp>
      <p:sp>
        <p:nvSpPr>
          <p:cNvPr id="329" name="Rectangle 203">
            <a:extLst>
              <a:ext uri="{FF2B5EF4-FFF2-40B4-BE49-F238E27FC236}">
                <a16:creationId xmlns:a16="http://schemas.microsoft.com/office/drawing/2014/main" id="{1136D906-1E59-4943-B395-AAFA8A5E79A6}"/>
              </a:ext>
            </a:extLst>
          </p:cNvPr>
          <p:cNvSpPr>
            <a:spLocks noChangeArrowheads="1"/>
          </p:cNvSpPr>
          <p:nvPr>
            <p:custDataLst>
              <p:tags r:id="rId153"/>
            </p:custDataLst>
          </p:nvPr>
        </p:nvSpPr>
        <p:spPr bwMode="auto">
          <a:xfrm>
            <a:off x="7277873" y="4345208"/>
            <a:ext cx="471283"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Tennessee</a:t>
            </a:r>
            <a:endParaRPr lang="en-US" sz="1000" dirty="0">
              <a:solidFill>
                <a:prstClr val="black"/>
              </a:solidFill>
            </a:endParaRPr>
          </a:p>
        </p:txBody>
      </p:sp>
      <p:sp>
        <p:nvSpPr>
          <p:cNvPr id="330" name="Rectangle 204">
            <a:extLst>
              <a:ext uri="{FF2B5EF4-FFF2-40B4-BE49-F238E27FC236}">
                <a16:creationId xmlns:a16="http://schemas.microsoft.com/office/drawing/2014/main" id="{C9A1BC64-7B30-44E8-8F3A-B427062469FF}"/>
              </a:ext>
            </a:extLst>
          </p:cNvPr>
          <p:cNvSpPr>
            <a:spLocks noChangeArrowheads="1"/>
          </p:cNvSpPr>
          <p:nvPr>
            <p:custDataLst>
              <p:tags r:id="rId154"/>
            </p:custDataLst>
          </p:nvPr>
        </p:nvSpPr>
        <p:spPr bwMode="auto">
          <a:xfrm>
            <a:off x="8378235" y="3164928"/>
            <a:ext cx="565861"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Pennsylvania</a:t>
            </a:r>
            <a:endParaRPr lang="en-US" sz="1000" dirty="0">
              <a:solidFill>
                <a:prstClr val="black"/>
              </a:solidFill>
            </a:endParaRPr>
          </a:p>
        </p:txBody>
      </p:sp>
      <p:sp>
        <p:nvSpPr>
          <p:cNvPr id="331" name="Rectangle 205">
            <a:extLst>
              <a:ext uri="{FF2B5EF4-FFF2-40B4-BE49-F238E27FC236}">
                <a16:creationId xmlns:a16="http://schemas.microsoft.com/office/drawing/2014/main" id="{DC011560-0B00-4B51-8B68-BFFE1320B304}"/>
              </a:ext>
            </a:extLst>
          </p:cNvPr>
          <p:cNvSpPr>
            <a:spLocks noChangeArrowheads="1"/>
          </p:cNvSpPr>
          <p:nvPr>
            <p:custDataLst>
              <p:tags r:id="rId155"/>
            </p:custDataLst>
          </p:nvPr>
        </p:nvSpPr>
        <p:spPr bwMode="auto">
          <a:xfrm>
            <a:off x="8540434" y="4187396"/>
            <a:ext cx="205184" cy="123111"/>
          </a:xfrm>
          <a:prstGeom prst="rect">
            <a:avLst/>
          </a:prstGeom>
          <a:noFill/>
          <a:ln w="9525">
            <a:noFill/>
            <a:miter lim="800000"/>
            <a:headEnd/>
            <a:tailEnd/>
          </a:ln>
        </p:spPr>
        <p:txBody>
          <a:bodyPr wrap="none" lIns="0" tIns="0" rIns="0" bIns="0">
            <a:spAutoFit/>
          </a:bodyPr>
          <a:lstStyle/>
          <a:p>
            <a:r>
              <a:rPr lang="en-US" sz="800" dirty="0">
                <a:solidFill>
                  <a:srgbClr val="000000"/>
                </a:solidFill>
                <a:latin typeface="Arial Narrow" pitchFamily="34" charset="0"/>
              </a:rPr>
              <a:t>North</a:t>
            </a:r>
            <a:endParaRPr lang="en-US" sz="1000" dirty="0">
              <a:solidFill>
                <a:prstClr val="black"/>
              </a:solidFill>
            </a:endParaRPr>
          </a:p>
        </p:txBody>
      </p:sp>
      <p:sp>
        <p:nvSpPr>
          <p:cNvPr id="332" name="Rectangle 206">
            <a:extLst>
              <a:ext uri="{FF2B5EF4-FFF2-40B4-BE49-F238E27FC236}">
                <a16:creationId xmlns:a16="http://schemas.microsoft.com/office/drawing/2014/main" id="{FFD0FD67-F182-47AE-888F-027D673ED686}"/>
              </a:ext>
            </a:extLst>
          </p:cNvPr>
          <p:cNvSpPr>
            <a:spLocks noChangeArrowheads="1"/>
          </p:cNvSpPr>
          <p:nvPr>
            <p:custDataLst>
              <p:tags r:id="rId156"/>
            </p:custDataLst>
          </p:nvPr>
        </p:nvSpPr>
        <p:spPr bwMode="auto">
          <a:xfrm>
            <a:off x="8470292" y="4299801"/>
            <a:ext cx="312586" cy="123111"/>
          </a:xfrm>
          <a:prstGeom prst="rect">
            <a:avLst/>
          </a:prstGeom>
          <a:noFill/>
          <a:ln w="9525">
            <a:noFill/>
            <a:miter lim="800000"/>
            <a:headEnd/>
            <a:tailEnd/>
          </a:ln>
        </p:spPr>
        <p:txBody>
          <a:bodyPr wrap="none" lIns="0" tIns="0" rIns="0" bIns="0">
            <a:spAutoFit/>
          </a:bodyPr>
          <a:lstStyle/>
          <a:p>
            <a:r>
              <a:rPr lang="en-US" sz="800" dirty="0">
                <a:solidFill>
                  <a:srgbClr val="000000"/>
                </a:solidFill>
                <a:latin typeface="Arial Narrow" pitchFamily="34" charset="0"/>
              </a:rPr>
              <a:t>Carolina</a:t>
            </a:r>
            <a:endParaRPr lang="en-US" sz="1000" dirty="0">
              <a:solidFill>
                <a:prstClr val="black"/>
              </a:solidFill>
            </a:endParaRPr>
          </a:p>
        </p:txBody>
      </p:sp>
      <p:sp>
        <p:nvSpPr>
          <p:cNvPr id="333" name="Rectangle 207">
            <a:extLst>
              <a:ext uri="{FF2B5EF4-FFF2-40B4-BE49-F238E27FC236}">
                <a16:creationId xmlns:a16="http://schemas.microsoft.com/office/drawing/2014/main" id="{4B372C0C-3F59-41D3-8C1A-8442C6DBEEDC}"/>
              </a:ext>
            </a:extLst>
          </p:cNvPr>
          <p:cNvSpPr>
            <a:spLocks noChangeArrowheads="1"/>
          </p:cNvSpPr>
          <p:nvPr>
            <p:custDataLst>
              <p:tags r:id="rId157"/>
            </p:custDataLst>
          </p:nvPr>
        </p:nvSpPr>
        <p:spPr bwMode="auto">
          <a:xfrm>
            <a:off x="8378229" y="4544085"/>
            <a:ext cx="219612" cy="123111"/>
          </a:xfrm>
          <a:prstGeom prst="rect">
            <a:avLst/>
          </a:prstGeom>
          <a:noFill/>
          <a:ln w="9525">
            <a:noFill/>
            <a:miter lim="800000"/>
            <a:headEnd/>
            <a:tailEnd/>
          </a:ln>
        </p:spPr>
        <p:txBody>
          <a:bodyPr wrap="none" lIns="0" tIns="0" rIns="0" bIns="0">
            <a:spAutoFit/>
          </a:bodyPr>
          <a:lstStyle/>
          <a:p>
            <a:r>
              <a:rPr lang="en-US" sz="800" dirty="0">
                <a:solidFill>
                  <a:srgbClr val="000000"/>
                </a:solidFill>
                <a:latin typeface="Arial Narrow" pitchFamily="34" charset="0"/>
              </a:rPr>
              <a:t>South</a:t>
            </a:r>
            <a:endParaRPr lang="en-US" sz="1000" dirty="0">
              <a:solidFill>
                <a:prstClr val="black"/>
              </a:solidFill>
            </a:endParaRPr>
          </a:p>
        </p:txBody>
      </p:sp>
      <p:sp>
        <p:nvSpPr>
          <p:cNvPr id="334" name="Rectangle 208">
            <a:extLst>
              <a:ext uri="{FF2B5EF4-FFF2-40B4-BE49-F238E27FC236}">
                <a16:creationId xmlns:a16="http://schemas.microsoft.com/office/drawing/2014/main" id="{00D93019-5B0B-4C9C-9DF1-7079BE602639}"/>
              </a:ext>
            </a:extLst>
          </p:cNvPr>
          <p:cNvSpPr>
            <a:spLocks noChangeArrowheads="1"/>
          </p:cNvSpPr>
          <p:nvPr>
            <p:custDataLst>
              <p:tags r:id="rId158"/>
            </p:custDataLst>
          </p:nvPr>
        </p:nvSpPr>
        <p:spPr bwMode="auto">
          <a:xfrm>
            <a:off x="8316851" y="4654335"/>
            <a:ext cx="312586" cy="123111"/>
          </a:xfrm>
          <a:prstGeom prst="rect">
            <a:avLst/>
          </a:prstGeom>
          <a:noFill/>
          <a:ln w="9525">
            <a:noFill/>
            <a:miter lim="800000"/>
            <a:headEnd/>
            <a:tailEnd/>
          </a:ln>
        </p:spPr>
        <p:txBody>
          <a:bodyPr wrap="none" lIns="0" tIns="0" rIns="0" bIns="0">
            <a:spAutoFit/>
          </a:bodyPr>
          <a:lstStyle/>
          <a:p>
            <a:r>
              <a:rPr lang="en-US" sz="800" dirty="0">
                <a:solidFill>
                  <a:srgbClr val="000000"/>
                </a:solidFill>
                <a:latin typeface="Arial Narrow" pitchFamily="34" charset="0"/>
              </a:rPr>
              <a:t>Carolina</a:t>
            </a:r>
            <a:endParaRPr lang="en-US" sz="1000" dirty="0">
              <a:solidFill>
                <a:prstClr val="black"/>
              </a:solidFill>
            </a:endParaRPr>
          </a:p>
        </p:txBody>
      </p:sp>
      <p:sp>
        <p:nvSpPr>
          <p:cNvPr id="335" name="Rectangle 209">
            <a:extLst>
              <a:ext uri="{FF2B5EF4-FFF2-40B4-BE49-F238E27FC236}">
                <a16:creationId xmlns:a16="http://schemas.microsoft.com/office/drawing/2014/main" id="{E9FC5EB3-E2AE-48AA-9DD5-62A9020CB61A}"/>
              </a:ext>
            </a:extLst>
          </p:cNvPr>
          <p:cNvSpPr>
            <a:spLocks noChangeArrowheads="1"/>
          </p:cNvSpPr>
          <p:nvPr>
            <p:custDataLst>
              <p:tags r:id="rId159"/>
            </p:custDataLst>
          </p:nvPr>
        </p:nvSpPr>
        <p:spPr bwMode="auto">
          <a:xfrm>
            <a:off x="8216020" y="3627524"/>
            <a:ext cx="192360" cy="123111"/>
          </a:xfrm>
          <a:prstGeom prst="rect">
            <a:avLst/>
          </a:prstGeom>
          <a:noFill/>
          <a:ln w="9525">
            <a:noFill/>
            <a:miter lim="800000"/>
            <a:headEnd/>
            <a:tailEnd/>
          </a:ln>
        </p:spPr>
        <p:txBody>
          <a:bodyPr wrap="none" lIns="0" tIns="0" rIns="0" bIns="0">
            <a:spAutoFit/>
          </a:bodyPr>
          <a:lstStyle/>
          <a:p>
            <a:r>
              <a:rPr lang="en-US" sz="800" dirty="0">
                <a:solidFill>
                  <a:srgbClr val="000000"/>
                </a:solidFill>
                <a:latin typeface="Arial Narrow" pitchFamily="34" charset="0"/>
              </a:rPr>
              <a:t>West</a:t>
            </a:r>
            <a:endParaRPr lang="en-US" sz="1000" dirty="0">
              <a:solidFill>
                <a:prstClr val="black"/>
              </a:solidFill>
            </a:endParaRPr>
          </a:p>
        </p:txBody>
      </p:sp>
      <p:sp>
        <p:nvSpPr>
          <p:cNvPr id="336" name="Rectangle 210">
            <a:extLst>
              <a:ext uri="{FF2B5EF4-FFF2-40B4-BE49-F238E27FC236}">
                <a16:creationId xmlns:a16="http://schemas.microsoft.com/office/drawing/2014/main" id="{CD35338A-3887-4CAF-A1A1-475F060A8F64}"/>
              </a:ext>
            </a:extLst>
          </p:cNvPr>
          <p:cNvSpPr>
            <a:spLocks noChangeArrowheads="1"/>
          </p:cNvSpPr>
          <p:nvPr>
            <p:custDataLst>
              <p:tags r:id="rId160"/>
            </p:custDataLst>
          </p:nvPr>
        </p:nvSpPr>
        <p:spPr bwMode="auto">
          <a:xfrm>
            <a:off x="8161219" y="3731287"/>
            <a:ext cx="280526" cy="123111"/>
          </a:xfrm>
          <a:prstGeom prst="rect">
            <a:avLst/>
          </a:prstGeom>
          <a:noFill/>
          <a:ln w="9525">
            <a:noFill/>
            <a:miter lim="800000"/>
            <a:headEnd/>
            <a:tailEnd/>
          </a:ln>
        </p:spPr>
        <p:txBody>
          <a:bodyPr wrap="none" lIns="0" tIns="0" rIns="0" bIns="0">
            <a:spAutoFit/>
          </a:bodyPr>
          <a:lstStyle/>
          <a:p>
            <a:r>
              <a:rPr lang="en-US" sz="800" dirty="0">
                <a:solidFill>
                  <a:srgbClr val="000000"/>
                </a:solidFill>
                <a:latin typeface="Arial Narrow" pitchFamily="34" charset="0"/>
              </a:rPr>
              <a:t>Virginia</a:t>
            </a:r>
            <a:endParaRPr lang="en-US" sz="1000" dirty="0">
              <a:solidFill>
                <a:prstClr val="black"/>
              </a:solidFill>
            </a:endParaRPr>
          </a:p>
        </p:txBody>
      </p:sp>
      <p:sp>
        <p:nvSpPr>
          <p:cNvPr id="337" name="Rectangle 211">
            <a:extLst>
              <a:ext uri="{FF2B5EF4-FFF2-40B4-BE49-F238E27FC236}">
                <a16:creationId xmlns:a16="http://schemas.microsoft.com/office/drawing/2014/main" id="{D8F2E386-FCDD-4FFA-ABDF-F8A0499B2C1E}"/>
              </a:ext>
            </a:extLst>
          </p:cNvPr>
          <p:cNvSpPr>
            <a:spLocks noChangeArrowheads="1"/>
          </p:cNvSpPr>
          <p:nvPr>
            <p:custDataLst>
              <p:tags r:id="rId161"/>
            </p:custDataLst>
          </p:nvPr>
        </p:nvSpPr>
        <p:spPr bwMode="auto">
          <a:xfrm>
            <a:off x="9248453" y="3236268"/>
            <a:ext cx="498534"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New Jersey</a:t>
            </a:r>
            <a:endParaRPr lang="en-US" sz="1000" dirty="0">
              <a:solidFill>
                <a:prstClr val="black"/>
              </a:solidFill>
            </a:endParaRPr>
          </a:p>
        </p:txBody>
      </p:sp>
      <p:sp>
        <p:nvSpPr>
          <p:cNvPr id="338" name="Rectangle 212">
            <a:extLst>
              <a:ext uri="{FF2B5EF4-FFF2-40B4-BE49-F238E27FC236}">
                <a16:creationId xmlns:a16="http://schemas.microsoft.com/office/drawing/2014/main" id="{E03EB62F-7953-4952-ACA9-3F8626D7D2CE}"/>
              </a:ext>
            </a:extLst>
          </p:cNvPr>
          <p:cNvSpPr>
            <a:spLocks noChangeArrowheads="1"/>
          </p:cNvSpPr>
          <p:nvPr>
            <p:custDataLst>
              <p:tags r:id="rId162"/>
            </p:custDataLst>
          </p:nvPr>
        </p:nvSpPr>
        <p:spPr bwMode="auto">
          <a:xfrm>
            <a:off x="9526866" y="1913064"/>
            <a:ext cx="297331" cy="138499"/>
          </a:xfrm>
          <a:prstGeom prst="rect">
            <a:avLst/>
          </a:prstGeom>
          <a:solidFill>
            <a:srgbClr val="00B050"/>
          </a:solidFill>
          <a:ln w="9525">
            <a:noFill/>
            <a:miter lim="800000"/>
            <a:headEnd/>
            <a:tailEnd/>
          </a:ln>
        </p:spPr>
        <p:txBody>
          <a:bodyPr wrap="square" lIns="0" tIns="0" rIns="0" bIns="0">
            <a:spAutoFit/>
          </a:bodyPr>
          <a:lstStyle/>
          <a:p>
            <a:r>
              <a:rPr lang="en-US" sz="900" dirty="0">
                <a:solidFill>
                  <a:srgbClr val="000000"/>
                </a:solidFill>
                <a:latin typeface="Arial Narrow" pitchFamily="34" charset="0"/>
              </a:rPr>
              <a:t>Maine</a:t>
            </a:r>
            <a:endParaRPr lang="en-US" sz="1000" dirty="0">
              <a:solidFill>
                <a:prstClr val="black"/>
              </a:solidFill>
            </a:endParaRPr>
          </a:p>
        </p:txBody>
      </p:sp>
      <p:sp>
        <p:nvSpPr>
          <p:cNvPr id="339" name="Rectangle 213">
            <a:extLst>
              <a:ext uri="{FF2B5EF4-FFF2-40B4-BE49-F238E27FC236}">
                <a16:creationId xmlns:a16="http://schemas.microsoft.com/office/drawing/2014/main" id="{975D43E8-FCDA-40AB-B374-754DD2A0C992}"/>
              </a:ext>
            </a:extLst>
          </p:cNvPr>
          <p:cNvSpPr>
            <a:spLocks noChangeArrowheads="1"/>
          </p:cNvSpPr>
          <p:nvPr>
            <p:custDataLst>
              <p:tags r:id="rId163"/>
            </p:custDataLst>
          </p:nvPr>
        </p:nvSpPr>
        <p:spPr bwMode="auto">
          <a:xfrm>
            <a:off x="8698261" y="2708810"/>
            <a:ext cx="411972"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New York</a:t>
            </a:r>
            <a:endParaRPr lang="en-US" sz="1000" dirty="0">
              <a:solidFill>
                <a:prstClr val="black"/>
              </a:solidFill>
            </a:endParaRPr>
          </a:p>
        </p:txBody>
      </p:sp>
      <p:sp>
        <p:nvSpPr>
          <p:cNvPr id="340" name="Rectangle 214">
            <a:extLst>
              <a:ext uri="{FF2B5EF4-FFF2-40B4-BE49-F238E27FC236}">
                <a16:creationId xmlns:a16="http://schemas.microsoft.com/office/drawing/2014/main" id="{5259FA76-A3A3-4711-8D6A-DD32D21B64A0}"/>
              </a:ext>
            </a:extLst>
          </p:cNvPr>
          <p:cNvSpPr>
            <a:spLocks noChangeArrowheads="1"/>
          </p:cNvSpPr>
          <p:nvPr>
            <p:custDataLst>
              <p:tags r:id="rId164"/>
            </p:custDataLst>
          </p:nvPr>
        </p:nvSpPr>
        <p:spPr bwMode="auto">
          <a:xfrm>
            <a:off x="8858277" y="2004098"/>
            <a:ext cx="357470" cy="138499"/>
          </a:xfrm>
          <a:prstGeom prst="rect">
            <a:avLst/>
          </a:prstGeom>
          <a:solidFill>
            <a:schemeClr val="bg1"/>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Vermont</a:t>
            </a:r>
            <a:endParaRPr lang="en-US" sz="1000" dirty="0">
              <a:solidFill>
                <a:prstClr val="black"/>
              </a:solidFill>
            </a:endParaRPr>
          </a:p>
        </p:txBody>
      </p:sp>
      <p:sp>
        <p:nvSpPr>
          <p:cNvPr id="341" name="Rectangle 215">
            <a:extLst>
              <a:ext uri="{FF2B5EF4-FFF2-40B4-BE49-F238E27FC236}">
                <a16:creationId xmlns:a16="http://schemas.microsoft.com/office/drawing/2014/main" id="{B6320E06-5350-431B-92E0-27FA892BFD8D}"/>
              </a:ext>
            </a:extLst>
          </p:cNvPr>
          <p:cNvSpPr>
            <a:spLocks noChangeArrowheads="1"/>
          </p:cNvSpPr>
          <p:nvPr>
            <p:custDataLst>
              <p:tags r:id="rId165"/>
            </p:custDataLst>
          </p:nvPr>
        </p:nvSpPr>
        <p:spPr bwMode="auto">
          <a:xfrm>
            <a:off x="9184920" y="3623212"/>
            <a:ext cx="391133"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Maryland</a:t>
            </a:r>
            <a:endParaRPr lang="en-US" sz="1000" dirty="0">
              <a:solidFill>
                <a:prstClr val="black"/>
              </a:solidFill>
            </a:endParaRPr>
          </a:p>
        </p:txBody>
      </p:sp>
      <p:sp>
        <p:nvSpPr>
          <p:cNvPr id="342" name="Rectangle 216">
            <a:extLst>
              <a:ext uri="{FF2B5EF4-FFF2-40B4-BE49-F238E27FC236}">
                <a16:creationId xmlns:a16="http://schemas.microsoft.com/office/drawing/2014/main" id="{7450836E-0959-4957-BB2C-3C26A3C7E78F}"/>
              </a:ext>
            </a:extLst>
          </p:cNvPr>
          <p:cNvSpPr>
            <a:spLocks noChangeArrowheads="1"/>
          </p:cNvSpPr>
          <p:nvPr>
            <p:custDataLst>
              <p:tags r:id="rId166"/>
            </p:custDataLst>
          </p:nvPr>
        </p:nvSpPr>
        <p:spPr bwMode="auto">
          <a:xfrm>
            <a:off x="9566327" y="2460208"/>
            <a:ext cx="676467"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New Hampshire</a:t>
            </a:r>
            <a:endParaRPr lang="en-US" sz="1000" dirty="0">
              <a:solidFill>
                <a:prstClr val="black"/>
              </a:solidFill>
            </a:endParaRPr>
          </a:p>
        </p:txBody>
      </p:sp>
      <p:sp>
        <p:nvSpPr>
          <p:cNvPr id="343" name="Rectangle 217">
            <a:extLst>
              <a:ext uri="{FF2B5EF4-FFF2-40B4-BE49-F238E27FC236}">
                <a16:creationId xmlns:a16="http://schemas.microsoft.com/office/drawing/2014/main" id="{341EF4CE-9AB5-4137-81BE-706EBC874753}"/>
              </a:ext>
            </a:extLst>
          </p:cNvPr>
          <p:cNvSpPr>
            <a:spLocks noChangeArrowheads="1"/>
          </p:cNvSpPr>
          <p:nvPr>
            <p:custDataLst>
              <p:tags r:id="rId167"/>
            </p:custDataLst>
          </p:nvPr>
        </p:nvSpPr>
        <p:spPr bwMode="auto">
          <a:xfrm>
            <a:off x="9463268" y="2974700"/>
            <a:ext cx="501740" cy="138499"/>
          </a:xfrm>
          <a:prstGeom prst="rect">
            <a:avLst/>
          </a:prstGeom>
          <a:solidFill>
            <a:schemeClr val="bg1"/>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Connecticut</a:t>
            </a:r>
            <a:endParaRPr lang="en-US" sz="1000" dirty="0">
              <a:solidFill>
                <a:prstClr val="black"/>
              </a:solidFill>
            </a:endParaRPr>
          </a:p>
        </p:txBody>
      </p:sp>
      <p:sp>
        <p:nvSpPr>
          <p:cNvPr id="344" name="Rectangle 218">
            <a:extLst>
              <a:ext uri="{FF2B5EF4-FFF2-40B4-BE49-F238E27FC236}">
                <a16:creationId xmlns:a16="http://schemas.microsoft.com/office/drawing/2014/main" id="{C34C96DB-C18D-4BDF-A11A-98E374140B19}"/>
              </a:ext>
            </a:extLst>
          </p:cNvPr>
          <p:cNvSpPr>
            <a:spLocks noChangeArrowheads="1"/>
          </p:cNvSpPr>
          <p:nvPr>
            <p:custDataLst>
              <p:tags r:id="rId168"/>
            </p:custDataLst>
          </p:nvPr>
        </p:nvSpPr>
        <p:spPr bwMode="auto">
          <a:xfrm>
            <a:off x="9224339" y="3469732"/>
            <a:ext cx="402354"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Delaware</a:t>
            </a:r>
            <a:endParaRPr lang="en-US" sz="1000" dirty="0">
              <a:solidFill>
                <a:prstClr val="black"/>
              </a:solidFill>
            </a:endParaRPr>
          </a:p>
        </p:txBody>
      </p:sp>
      <p:sp>
        <p:nvSpPr>
          <p:cNvPr id="345" name="Rectangle 219">
            <a:extLst>
              <a:ext uri="{FF2B5EF4-FFF2-40B4-BE49-F238E27FC236}">
                <a16:creationId xmlns:a16="http://schemas.microsoft.com/office/drawing/2014/main" id="{E9FC5D04-9882-475D-96BD-B1CD4BBC8DB7}"/>
              </a:ext>
            </a:extLst>
          </p:cNvPr>
          <p:cNvSpPr>
            <a:spLocks noChangeArrowheads="1"/>
          </p:cNvSpPr>
          <p:nvPr>
            <p:custDataLst>
              <p:tags r:id="rId169"/>
            </p:custDataLst>
          </p:nvPr>
        </p:nvSpPr>
        <p:spPr bwMode="auto">
          <a:xfrm>
            <a:off x="9750458" y="2581356"/>
            <a:ext cx="634789"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Massachusetts</a:t>
            </a:r>
            <a:endParaRPr lang="en-US" sz="1000" dirty="0">
              <a:solidFill>
                <a:prstClr val="black"/>
              </a:solidFill>
            </a:endParaRPr>
          </a:p>
        </p:txBody>
      </p:sp>
      <p:sp>
        <p:nvSpPr>
          <p:cNvPr id="346" name="Rectangle 220">
            <a:extLst>
              <a:ext uri="{FF2B5EF4-FFF2-40B4-BE49-F238E27FC236}">
                <a16:creationId xmlns:a16="http://schemas.microsoft.com/office/drawing/2014/main" id="{CBD164DD-F169-4817-8DD8-F64E1F1EAF1B}"/>
              </a:ext>
            </a:extLst>
          </p:cNvPr>
          <p:cNvSpPr>
            <a:spLocks noChangeArrowheads="1"/>
          </p:cNvSpPr>
          <p:nvPr>
            <p:custDataLst>
              <p:tags r:id="rId170"/>
            </p:custDataLst>
          </p:nvPr>
        </p:nvSpPr>
        <p:spPr bwMode="auto">
          <a:xfrm>
            <a:off x="9568502" y="2849320"/>
            <a:ext cx="559449" cy="138499"/>
          </a:xfrm>
          <a:prstGeom prst="rect">
            <a:avLst/>
          </a:prstGeom>
          <a:noFill/>
          <a:ln w="9525">
            <a:noFill/>
            <a:miter lim="800000"/>
            <a:headEnd/>
            <a:tailEnd/>
          </a:ln>
        </p:spPr>
        <p:txBody>
          <a:bodyPr wrap="none" lIns="0" tIns="0" rIns="0" bIns="0">
            <a:spAutoFit/>
          </a:bodyPr>
          <a:lstStyle/>
          <a:p>
            <a:r>
              <a:rPr lang="en-US" sz="900" dirty="0">
                <a:solidFill>
                  <a:srgbClr val="000000"/>
                </a:solidFill>
                <a:latin typeface="Arial Narrow" pitchFamily="34" charset="0"/>
              </a:rPr>
              <a:t>Rhode Island</a:t>
            </a:r>
            <a:endParaRPr lang="en-US" sz="1000" dirty="0">
              <a:solidFill>
                <a:prstClr val="black"/>
              </a:solidFill>
            </a:endParaRPr>
          </a:p>
        </p:txBody>
      </p:sp>
      <p:sp>
        <p:nvSpPr>
          <p:cNvPr id="348" name="Sun 347">
            <a:extLst>
              <a:ext uri="{FF2B5EF4-FFF2-40B4-BE49-F238E27FC236}">
                <a16:creationId xmlns:a16="http://schemas.microsoft.com/office/drawing/2014/main" id="{4DDD1E36-C786-4FC5-B480-872A7E4D9267}"/>
              </a:ext>
            </a:extLst>
          </p:cNvPr>
          <p:cNvSpPr/>
          <p:nvPr/>
        </p:nvSpPr>
        <p:spPr bwMode="auto">
          <a:xfrm>
            <a:off x="1764377" y="5129262"/>
            <a:ext cx="228600" cy="228600"/>
          </a:xfrm>
          <a:prstGeom prst="sun">
            <a:avLst/>
          </a:prstGeom>
          <a:solidFill>
            <a:srgbClr val="FFC000"/>
          </a:solidFill>
          <a:ln w="12700" cap="flat" cmpd="sng" algn="ctr">
            <a:solidFill>
              <a:srgbClr val="786E64"/>
            </a:solidFill>
            <a:prstDash val="solid"/>
            <a:round/>
            <a:headEnd type="none" w="med" len="med"/>
            <a:tailEnd type="none" w="med" len="med"/>
          </a:ln>
          <a:effectLst/>
        </p:spPr>
        <p:txBody>
          <a:bodyPr vert="horz" wrap="none" lIns="18000" tIns="36000" rIns="18000" bIns="36000" numCol="1" rtlCol="0" anchor="ctr" anchorCtr="0" compatLnSpc="1">
            <a:prstTxWarp prst="textNoShape">
              <a:avLst/>
            </a:prstTxWarp>
          </a:bodyPr>
          <a:lstStyle/>
          <a:p>
            <a:pPr algn="ctr" fontAlgn="base">
              <a:spcBef>
                <a:spcPct val="0"/>
              </a:spcBef>
              <a:spcAft>
                <a:spcPct val="0"/>
              </a:spcAft>
            </a:pPr>
            <a:endParaRPr lang="en-US" sz="1600" dirty="0">
              <a:solidFill>
                <a:srgbClr val="000000"/>
              </a:solidFill>
              <a:latin typeface="Arial" charset="0"/>
            </a:endParaRPr>
          </a:p>
        </p:txBody>
      </p:sp>
      <p:sp>
        <p:nvSpPr>
          <p:cNvPr id="349" name="TextBox 348">
            <a:extLst>
              <a:ext uri="{FF2B5EF4-FFF2-40B4-BE49-F238E27FC236}">
                <a16:creationId xmlns:a16="http://schemas.microsoft.com/office/drawing/2014/main" id="{F9C25AB8-74EC-44B8-81BF-E510A850AE9A}"/>
              </a:ext>
            </a:extLst>
          </p:cNvPr>
          <p:cNvSpPr txBox="1"/>
          <p:nvPr/>
        </p:nvSpPr>
        <p:spPr>
          <a:xfrm>
            <a:off x="1992979" y="5129291"/>
            <a:ext cx="939553" cy="276999"/>
          </a:xfrm>
          <a:prstGeom prst="rect">
            <a:avLst/>
          </a:prstGeom>
          <a:noFill/>
        </p:spPr>
        <p:txBody>
          <a:bodyPr wrap="none" rtlCol="0">
            <a:spAutoFit/>
          </a:bodyPr>
          <a:lstStyle/>
          <a:p>
            <a:r>
              <a:rPr lang="en-US" sz="1200" dirty="0">
                <a:solidFill>
                  <a:prstClr val="black"/>
                </a:solidFill>
              </a:rPr>
              <a:t>Open States</a:t>
            </a:r>
          </a:p>
        </p:txBody>
      </p:sp>
      <p:sp>
        <p:nvSpPr>
          <p:cNvPr id="352" name="Sun 351">
            <a:extLst>
              <a:ext uri="{FF2B5EF4-FFF2-40B4-BE49-F238E27FC236}">
                <a16:creationId xmlns:a16="http://schemas.microsoft.com/office/drawing/2014/main" id="{AE63464E-F02A-4B6F-AC80-B36A1C25B66C}"/>
              </a:ext>
            </a:extLst>
          </p:cNvPr>
          <p:cNvSpPr/>
          <p:nvPr/>
        </p:nvSpPr>
        <p:spPr bwMode="auto">
          <a:xfrm>
            <a:off x="1764377" y="5657364"/>
            <a:ext cx="228600" cy="228600"/>
          </a:xfrm>
          <a:prstGeom prst="sun">
            <a:avLst/>
          </a:prstGeom>
          <a:solidFill>
            <a:srgbClr val="00B050"/>
          </a:solidFill>
          <a:ln w="12700" cap="flat" cmpd="sng" algn="ctr">
            <a:solidFill>
              <a:srgbClr val="786E64"/>
            </a:solidFill>
            <a:prstDash val="solid"/>
            <a:round/>
            <a:headEnd type="none" w="med" len="med"/>
            <a:tailEnd type="none" w="med" len="med"/>
          </a:ln>
          <a:effectLst/>
        </p:spPr>
        <p:txBody>
          <a:bodyPr vert="horz" wrap="none" lIns="18000" tIns="36000" rIns="18000" bIns="36000" numCol="1" rtlCol="0" anchor="ctr" anchorCtr="0" compatLnSpc="1">
            <a:prstTxWarp prst="textNoShape">
              <a:avLst/>
            </a:prstTxWarp>
          </a:bodyPr>
          <a:lstStyle/>
          <a:p>
            <a:pPr algn="ctr" fontAlgn="base">
              <a:spcBef>
                <a:spcPct val="0"/>
              </a:spcBef>
              <a:spcAft>
                <a:spcPct val="0"/>
              </a:spcAft>
            </a:pPr>
            <a:endParaRPr lang="en-US" sz="1600" dirty="0">
              <a:solidFill>
                <a:srgbClr val="000000"/>
              </a:solidFill>
              <a:latin typeface="Arial" charset="0"/>
            </a:endParaRPr>
          </a:p>
        </p:txBody>
      </p:sp>
      <p:sp>
        <p:nvSpPr>
          <p:cNvPr id="353" name="TextBox 352">
            <a:extLst>
              <a:ext uri="{FF2B5EF4-FFF2-40B4-BE49-F238E27FC236}">
                <a16:creationId xmlns:a16="http://schemas.microsoft.com/office/drawing/2014/main" id="{610B0FF8-74F5-4DE3-9FEC-553FE3D08E53}"/>
              </a:ext>
            </a:extLst>
          </p:cNvPr>
          <p:cNvSpPr txBox="1"/>
          <p:nvPr/>
        </p:nvSpPr>
        <p:spPr>
          <a:xfrm>
            <a:off x="1992977" y="5657393"/>
            <a:ext cx="1060675" cy="276999"/>
          </a:xfrm>
          <a:prstGeom prst="rect">
            <a:avLst/>
          </a:prstGeom>
          <a:noFill/>
        </p:spPr>
        <p:txBody>
          <a:bodyPr wrap="none" rtlCol="0">
            <a:spAutoFit/>
          </a:bodyPr>
          <a:lstStyle/>
          <a:p>
            <a:r>
              <a:rPr lang="en-US" sz="1200" dirty="0">
                <a:solidFill>
                  <a:prstClr val="black"/>
                </a:solidFill>
              </a:rPr>
              <a:t>Control States</a:t>
            </a:r>
          </a:p>
        </p:txBody>
      </p:sp>
      <p:sp>
        <p:nvSpPr>
          <p:cNvPr id="354" name="Freeform 11">
            <a:extLst>
              <a:ext uri="{FF2B5EF4-FFF2-40B4-BE49-F238E27FC236}">
                <a16:creationId xmlns:a16="http://schemas.microsoft.com/office/drawing/2014/main" id="{51B4EBCF-5912-4FA6-BBDE-1B9F699903E1}"/>
              </a:ext>
            </a:extLst>
          </p:cNvPr>
          <p:cNvSpPr>
            <a:spLocks/>
          </p:cNvSpPr>
          <p:nvPr>
            <p:custDataLst>
              <p:tags r:id="rId171"/>
            </p:custDataLst>
          </p:nvPr>
        </p:nvSpPr>
        <p:spPr bwMode="auto">
          <a:xfrm>
            <a:off x="2464208" y="1336098"/>
            <a:ext cx="1010512" cy="789023"/>
          </a:xfrm>
          <a:custGeom>
            <a:avLst/>
            <a:gdLst>
              <a:gd name="T0" fmla="*/ 2147483647 w 499"/>
              <a:gd name="T1" fmla="*/ 2147483647 h 365"/>
              <a:gd name="T2" fmla="*/ 2147483647 w 499"/>
              <a:gd name="T3" fmla="*/ 2147483647 h 365"/>
              <a:gd name="T4" fmla="*/ 2147483647 w 499"/>
              <a:gd name="T5" fmla="*/ 2147483647 h 365"/>
              <a:gd name="T6" fmla="*/ 2147483647 w 499"/>
              <a:gd name="T7" fmla="*/ 2147483647 h 365"/>
              <a:gd name="T8" fmla="*/ 2147483647 w 499"/>
              <a:gd name="T9" fmla="*/ 2147483647 h 365"/>
              <a:gd name="T10" fmla="*/ 2147483647 w 499"/>
              <a:gd name="T11" fmla="*/ 2147483647 h 365"/>
              <a:gd name="T12" fmla="*/ 2147483647 w 499"/>
              <a:gd name="T13" fmla="*/ 2147483647 h 365"/>
              <a:gd name="T14" fmla="*/ 2147483647 w 499"/>
              <a:gd name="T15" fmla="*/ 2147483647 h 365"/>
              <a:gd name="T16" fmla="*/ 2147483647 w 499"/>
              <a:gd name="T17" fmla="*/ 2147483647 h 365"/>
              <a:gd name="T18" fmla="*/ 2147483647 w 499"/>
              <a:gd name="T19" fmla="*/ 2147483647 h 365"/>
              <a:gd name="T20" fmla="*/ 2147483647 w 499"/>
              <a:gd name="T21" fmla="*/ 2147483647 h 365"/>
              <a:gd name="T22" fmla="*/ 2147483647 w 499"/>
              <a:gd name="T23" fmla="*/ 2147483647 h 365"/>
              <a:gd name="T24" fmla="*/ 2147483647 w 499"/>
              <a:gd name="T25" fmla="*/ 2147483647 h 365"/>
              <a:gd name="T26" fmla="*/ 2147483647 w 499"/>
              <a:gd name="T27" fmla="*/ 2147483647 h 365"/>
              <a:gd name="T28" fmla="*/ 2147483647 w 499"/>
              <a:gd name="T29" fmla="*/ 2147483647 h 365"/>
              <a:gd name="T30" fmla="*/ 2147483647 w 499"/>
              <a:gd name="T31" fmla="*/ 2147483647 h 365"/>
              <a:gd name="T32" fmla="*/ 2147483647 w 499"/>
              <a:gd name="T33" fmla="*/ 2147483647 h 365"/>
              <a:gd name="T34" fmla="*/ 2147483647 w 499"/>
              <a:gd name="T35" fmla="*/ 2147483647 h 365"/>
              <a:gd name="T36" fmla="*/ 2147483647 w 499"/>
              <a:gd name="T37" fmla="*/ 2147483647 h 365"/>
              <a:gd name="T38" fmla="*/ 2147483647 w 499"/>
              <a:gd name="T39" fmla="*/ 2147483647 h 365"/>
              <a:gd name="T40" fmla="*/ 2147483647 w 499"/>
              <a:gd name="T41" fmla="*/ 2147483647 h 365"/>
              <a:gd name="T42" fmla="*/ 2147483647 w 499"/>
              <a:gd name="T43" fmla="*/ 2147483647 h 365"/>
              <a:gd name="T44" fmla="*/ 2147483647 w 499"/>
              <a:gd name="T45" fmla="*/ 2147483647 h 365"/>
              <a:gd name="T46" fmla="*/ 2147483647 w 499"/>
              <a:gd name="T47" fmla="*/ 2147483647 h 365"/>
              <a:gd name="T48" fmla="*/ 2147483647 w 499"/>
              <a:gd name="T49" fmla="*/ 2147483647 h 365"/>
              <a:gd name="T50" fmla="*/ 2147483647 w 499"/>
              <a:gd name="T51" fmla="*/ 2147483647 h 365"/>
              <a:gd name="T52" fmla="*/ 2147483647 w 499"/>
              <a:gd name="T53" fmla="*/ 2147483647 h 365"/>
              <a:gd name="T54" fmla="*/ 2147483647 w 499"/>
              <a:gd name="T55" fmla="*/ 2147483647 h 365"/>
              <a:gd name="T56" fmla="*/ 2147483647 w 499"/>
              <a:gd name="T57" fmla="*/ 2147483647 h 365"/>
              <a:gd name="T58" fmla="*/ 2147483647 w 499"/>
              <a:gd name="T59" fmla="*/ 2147483647 h 365"/>
              <a:gd name="T60" fmla="*/ 2147483647 w 499"/>
              <a:gd name="T61" fmla="*/ 2147483647 h 365"/>
              <a:gd name="T62" fmla="*/ 2147483647 w 499"/>
              <a:gd name="T63" fmla="*/ 2147483647 h 365"/>
              <a:gd name="T64" fmla="*/ 2147483647 w 499"/>
              <a:gd name="T65" fmla="*/ 2147483647 h 365"/>
              <a:gd name="T66" fmla="*/ 2147483647 w 499"/>
              <a:gd name="T67" fmla="*/ 2147483647 h 365"/>
              <a:gd name="T68" fmla="*/ 2147483647 w 499"/>
              <a:gd name="T69" fmla="*/ 2147483647 h 365"/>
              <a:gd name="T70" fmla="*/ 2147483647 w 499"/>
              <a:gd name="T71" fmla="*/ 2147483647 h 365"/>
              <a:gd name="T72" fmla="*/ 2147483647 w 499"/>
              <a:gd name="T73" fmla="*/ 2147483647 h 365"/>
              <a:gd name="T74" fmla="*/ 2147483647 w 499"/>
              <a:gd name="T75" fmla="*/ 2147483647 h 365"/>
              <a:gd name="T76" fmla="*/ 2147483647 w 499"/>
              <a:gd name="T77" fmla="*/ 2147483647 h 365"/>
              <a:gd name="T78" fmla="*/ 2147483647 w 499"/>
              <a:gd name="T79" fmla="*/ 2147483647 h 365"/>
              <a:gd name="T80" fmla="*/ 2147483647 w 499"/>
              <a:gd name="T81" fmla="*/ 2147483647 h 365"/>
              <a:gd name="T82" fmla="*/ 2147483647 w 499"/>
              <a:gd name="T83" fmla="*/ 2147483647 h 365"/>
              <a:gd name="T84" fmla="*/ 2147483647 w 499"/>
              <a:gd name="T85" fmla="*/ 2147483647 h 365"/>
              <a:gd name="T86" fmla="*/ 2147483647 w 499"/>
              <a:gd name="T87" fmla="*/ 2147483647 h 365"/>
              <a:gd name="T88" fmla="*/ 2147483647 w 499"/>
              <a:gd name="T89" fmla="*/ 2147483647 h 365"/>
              <a:gd name="T90" fmla="*/ 2147483647 w 499"/>
              <a:gd name="T91" fmla="*/ 2147483647 h 365"/>
              <a:gd name="T92" fmla="*/ 2147483647 w 499"/>
              <a:gd name="T93" fmla="*/ 2147483647 h 365"/>
              <a:gd name="T94" fmla="*/ 2147483647 w 499"/>
              <a:gd name="T95" fmla="*/ 2147483647 h 365"/>
              <a:gd name="T96" fmla="*/ 2147483647 w 499"/>
              <a:gd name="T97" fmla="*/ 2147483647 h 365"/>
              <a:gd name="T98" fmla="*/ 2147483647 w 499"/>
              <a:gd name="T99" fmla="*/ 2147483647 h 365"/>
              <a:gd name="T100" fmla="*/ 2147483647 w 499"/>
              <a:gd name="T101" fmla="*/ 2147483647 h 365"/>
              <a:gd name="T102" fmla="*/ 2147483647 w 499"/>
              <a:gd name="T103" fmla="*/ 2147483647 h 365"/>
              <a:gd name="T104" fmla="*/ 2147483647 w 499"/>
              <a:gd name="T105" fmla="*/ 2147483647 h 365"/>
              <a:gd name="T106" fmla="*/ 2147483647 w 499"/>
              <a:gd name="T107" fmla="*/ 2147483647 h 365"/>
              <a:gd name="T108" fmla="*/ 2147483647 w 499"/>
              <a:gd name="T109" fmla="*/ 2147483647 h 365"/>
              <a:gd name="T110" fmla="*/ 2147483647 w 499"/>
              <a:gd name="T111" fmla="*/ 2147483647 h 365"/>
              <a:gd name="T112" fmla="*/ 2147483647 w 499"/>
              <a:gd name="T113" fmla="*/ 2147483647 h 365"/>
              <a:gd name="T114" fmla="*/ 2147483647 w 499"/>
              <a:gd name="T115" fmla="*/ 2147483647 h 365"/>
              <a:gd name="T116" fmla="*/ 2147483647 w 499"/>
              <a:gd name="T117" fmla="*/ 2147483647 h 365"/>
              <a:gd name="T118" fmla="*/ 2147483647 w 499"/>
              <a:gd name="T119" fmla="*/ 2147483647 h 3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9"/>
              <a:gd name="T181" fmla="*/ 0 h 365"/>
              <a:gd name="T182" fmla="*/ 499 w 499"/>
              <a:gd name="T183" fmla="*/ 365 h 3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9" h="365">
                <a:moveTo>
                  <a:pt x="153" y="76"/>
                </a:moveTo>
                <a:lnTo>
                  <a:pt x="151" y="74"/>
                </a:lnTo>
                <a:lnTo>
                  <a:pt x="149" y="85"/>
                </a:lnTo>
                <a:lnTo>
                  <a:pt x="153" y="91"/>
                </a:lnTo>
                <a:lnTo>
                  <a:pt x="147" y="82"/>
                </a:lnTo>
                <a:lnTo>
                  <a:pt x="147" y="74"/>
                </a:lnTo>
                <a:lnTo>
                  <a:pt x="149" y="72"/>
                </a:lnTo>
                <a:lnTo>
                  <a:pt x="153" y="74"/>
                </a:lnTo>
                <a:lnTo>
                  <a:pt x="158" y="69"/>
                </a:lnTo>
                <a:lnTo>
                  <a:pt x="149" y="56"/>
                </a:lnTo>
                <a:lnTo>
                  <a:pt x="143" y="54"/>
                </a:lnTo>
                <a:lnTo>
                  <a:pt x="143" y="48"/>
                </a:lnTo>
                <a:lnTo>
                  <a:pt x="149" y="48"/>
                </a:lnTo>
                <a:lnTo>
                  <a:pt x="153" y="52"/>
                </a:lnTo>
                <a:lnTo>
                  <a:pt x="156" y="54"/>
                </a:lnTo>
                <a:lnTo>
                  <a:pt x="156" y="44"/>
                </a:lnTo>
                <a:lnTo>
                  <a:pt x="164" y="41"/>
                </a:lnTo>
                <a:lnTo>
                  <a:pt x="160" y="37"/>
                </a:lnTo>
                <a:lnTo>
                  <a:pt x="158" y="31"/>
                </a:lnTo>
                <a:lnTo>
                  <a:pt x="160" y="26"/>
                </a:lnTo>
                <a:lnTo>
                  <a:pt x="151" y="20"/>
                </a:lnTo>
                <a:lnTo>
                  <a:pt x="151" y="7"/>
                </a:lnTo>
                <a:lnTo>
                  <a:pt x="149" y="2"/>
                </a:lnTo>
                <a:lnTo>
                  <a:pt x="153" y="5"/>
                </a:lnTo>
                <a:lnTo>
                  <a:pt x="153" y="0"/>
                </a:lnTo>
                <a:lnTo>
                  <a:pt x="268" y="33"/>
                </a:lnTo>
                <a:lnTo>
                  <a:pt x="328" y="48"/>
                </a:lnTo>
                <a:lnTo>
                  <a:pt x="389" y="65"/>
                </a:lnTo>
                <a:lnTo>
                  <a:pt x="428" y="72"/>
                </a:lnTo>
                <a:lnTo>
                  <a:pt x="475" y="85"/>
                </a:lnTo>
                <a:lnTo>
                  <a:pt x="499" y="89"/>
                </a:lnTo>
                <a:lnTo>
                  <a:pt x="495" y="104"/>
                </a:lnTo>
                <a:lnTo>
                  <a:pt x="480" y="177"/>
                </a:lnTo>
                <a:lnTo>
                  <a:pt x="477" y="184"/>
                </a:lnTo>
                <a:lnTo>
                  <a:pt x="464" y="238"/>
                </a:lnTo>
                <a:lnTo>
                  <a:pt x="462" y="249"/>
                </a:lnTo>
                <a:lnTo>
                  <a:pt x="460" y="262"/>
                </a:lnTo>
                <a:lnTo>
                  <a:pt x="447" y="313"/>
                </a:lnTo>
                <a:lnTo>
                  <a:pt x="445" y="322"/>
                </a:lnTo>
                <a:lnTo>
                  <a:pt x="445" y="328"/>
                </a:lnTo>
                <a:lnTo>
                  <a:pt x="443" y="331"/>
                </a:lnTo>
                <a:lnTo>
                  <a:pt x="445" y="333"/>
                </a:lnTo>
                <a:lnTo>
                  <a:pt x="445" y="335"/>
                </a:lnTo>
                <a:lnTo>
                  <a:pt x="445" y="341"/>
                </a:lnTo>
                <a:lnTo>
                  <a:pt x="445" y="346"/>
                </a:lnTo>
                <a:lnTo>
                  <a:pt x="447" y="350"/>
                </a:lnTo>
                <a:lnTo>
                  <a:pt x="443" y="354"/>
                </a:lnTo>
                <a:lnTo>
                  <a:pt x="443" y="359"/>
                </a:lnTo>
                <a:lnTo>
                  <a:pt x="445" y="365"/>
                </a:lnTo>
                <a:lnTo>
                  <a:pt x="408" y="359"/>
                </a:lnTo>
                <a:lnTo>
                  <a:pt x="400" y="354"/>
                </a:lnTo>
                <a:lnTo>
                  <a:pt x="376" y="350"/>
                </a:lnTo>
                <a:lnTo>
                  <a:pt x="376" y="348"/>
                </a:lnTo>
                <a:lnTo>
                  <a:pt x="313" y="333"/>
                </a:lnTo>
                <a:lnTo>
                  <a:pt x="307" y="335"/>
                </a:lnTo>
                <a:lnTo>
                  <a:pt x="300" y="337"/>
                </a:lnTo>
                <a:lnTo>
                  <a:pt x="298" y="337"/>
                </a:lnTo>
                <a:lnTo>
                  <a:pt x="290" y="335"/>
                </a:lnTo>
                <a:lnTo>
                  <a:pt x="285" y="335"/>
                </a:lnTo>
                <a:lnTo>
                  <a:pt x="283" y="335"/>
                </a:lnTo>
                <a:lnTo>
                  <a:pt x="279" y="335"/>
                </a:lnTo>
                <a:lnTo>
                  <a:pt x="272" y="333"/>
                </a:lnTo>
                <a:lnTo>
                  <a:pt x="270" y="333"/>
                </a:lnTo>
                <a:lnTo>
                  <a:pt x="266" y="335"/>
                </a:lnTo>
                <a:lnTo>
                  <a:pt x="255" y="335"/>
                </a:lnTo>
                <a:lnTo>
                  <a:pt x="253" y="335"/>
                </a:lnTo>
                <a:lnTo>
                  <a:pt x="242" y="335"/>
                </a:lnTo>
                <a:lnTo>
                  <a:pt x="238" y="335"/>
                </a:lnTo>
                <a:lnTo>
                  <a:pt x="233" y="335"/>
                </a:lnTo>
                <a:lnTo>
                  <a:pt x="229" y="341"/>
                </a:lnTo>
                <a:lnTo>
                  <a:pt x="223" y="337"/>
                </a:lnTo>
                <a:lnTo>
                  <a:pt x="214" y="337"/>
                </a:lnTo>
                <a:lnTo>
                  <a:pt x="207" y="335"/>
                </a:lnTo>
                <a:lnTo>
                  <a:pt x="205" y="331"/>
                </a:lnTo>
                <a:lnTo>
                  <a:pt x="203" y="331"/>
                </a:lnTo>
                <a:lnTo>
                  <a:pt x="201" y="331"/>
                </a:lnTo>
                <a:lnTo>
                  <a:pt x="199" y="333"/>
                </a:lnTo>
                <a:lnTo>
                  <a:pt x="186" y="333"/>
                </a:lnTo>
                <a:lnTo>
                  <a:pt x="182" y="335"/>
                </a:lnTo>
                <a:lnTo>
                  <a:pt x="182" y="333"/>
                </a:lnTo>
                <a:lnTo>
                  <a:pt x="179" y="333"/>
                </a:lnTo>
                <a:lnTo>
                  <a:pt x="173" y="331"/>
                </a:lnTo>
                <a:lnTo>
                  <a:pt x="171" y="331"/>
                </a:lnTo>
                <a:lnTo>
                  <a:pt x="169" y="333"/>
                </a:lnTo>
                <a:lnTo>
                  <a:pt x="164" y="333"/>
                </a:lnTo>
                <a:lnTo>
                  <a:pt x="164" y="328"/>
                </a:lnTo>
                <a:lnTo>
                  <a:pt x="158" y="326"/>
                </a:lnTo>
                <a:lnTo>
                  <a:pt x="158" y="322"/>
                </a:lnTo>
                <a:lnTo>
                  <a:pt x="153" y="320"/>
                </a:lnTo>
                <a:lnTo>
                  <a:pt x="151" y="320"/>
                </a:lnTo>
                <a:lnTo>
                  <a:pt x="149" y="320"/>
                </a:lnTo>
                <a:lnTo>
                  <a:pt x="143" y="318"/>
                </a:lnTo>
                <a:lnTo>
                  <a:pt x="134" y="316"/>
                </a:lnTo>
                <a:lnTo>
                  <a:pt x="130" y="316"/>
                </a:lnTo>
                <a:lnTo>
                  <a:pt x="125" y="313"/>
                </a:lnTo>
                <a:lnTo>
                  <a:pt x="121" y="316"/>
                </a:lnTo>
                <a:lnTo>
                  <a:pt x="119" y="316"/>
                </a:lnTo>
                <a:lnTo>
                  <a:pt x="115" y="316"/>
                </a:lnTo>
                <a:lnTo>
                  <a:pt x="110" y="318"/>
                </a:lnTo>
                <a:lnTo>
                  <a:pt x="106" y="318"/>
                </a:lnTo>
                <a:lnTo>
                  <a:pt x="93" y="320"/>
                </a:lnTo>
                <a:lnTo>
                  <a:pt x="91" y="318"/>
                </a:lnTo>
                <a:lnTo>
                  <a:pt x="89" y="316"/>
                </a:lnTo>
                <a:lnTo>
                  <a:pt x="84" y="316"/>
                </a:lnTo>
                <a:lnTo>
                  <a:pt x="76" y="311"/>
                </a:lnTo>
                <a:lnTo>
                  <a:pt x="71" y="309"/>
                </a:lnTo>
                <a:lnTo>
                  <a:pt x="69" y="303"/>
                </a:lnTo>
                <a:lnTo>
                  <a:pt x="65" y="300"/>
                </a:lnTo>
                <a:lnTo>
                  <a:pt x="67" y="294"/>
                </a:lnTo>
                <a:lnTo>
                  <a:pt x="69" y="292"/>
                </a:lnTo>
                <a:lnTo>
                  <a:pt x="67" y="287"/>
                </a:lnTo>
                <a:lnTo>
                  <a:pt x="69" y="283"/>
                </a:lnTo>
                <a:lnTo>
                  <a:pt x="69" y="281"/>
                </a:lnTo>
                <a:lnTo>
                  <a:pt x="69" y="279"/>
                </a:lnTo>
                <a:lnTo>
                  <a:pt x="69" y="272"/>
                </a:lnTo>
                <a:lnTo>
                  <a:pt x="69" y="266"/>
                </a:lnTo>
                <a:lnTo>
                  <a:pt x="67" y="262"/>
                </a:lnTo>
                <a:lnTo>
                  <a:pt x="65" y="255"/>
                </a:lnTo>
                <a:lnTo>
                  <a:pt x="58" y="251"/>
                </a:lnTo>
                <a:lnTo>
                  <a:pt x="56" y="246"/>
                </a:lnTo>
                <a:lnTo>
                  <a:pt x="54" y="246"/>
                </a:lnTo>
                <a:lnTo>
                  <a:pt x="52" y="246"/>
                </a:lnTo>
                <a:lnTo>
                  <a:pt x="46" y="249"/>
                </a:lnTo>
                <a:lnTo>
                  <a:pt x="43" y="246"/>
                </a:lnTo>
                <a:lnTo>
                  <a:pt x="37" y="231"/>
                </a:lnTo>
                <a:lnTo>
                  <a:pt x="26" y="231"/>
                </a:lnTo>
                <a:lnTo>
                  <a:pt x="22" y="227"/>
                </a:lnTo>
                <a:lnTo>
                  <a:pt x="9" y="227"/>
                </a:lnTo>
                <a:lnTo>
                  <a:pt x="7" y="218"/>
                </a:lnTo>
                <a:lnTo>
                  <a:pt x="0" y="221"/>
                </a:lnTo>
                <a:lnTo>
                  <a:pt x="9" y="188"/>
                </a:lnTo>
                <a:lnTo>
                  <a:pt x="11" y="195"/>
                </a:lnTo>
                <a:lnTo>
                  <a:pt x="7" y="212"/>
                </a:lnTo>
                <a:lnTo>
                  <a:pt x="17" y="214"/>
                </a:lnTo>
                <a:lnTo>
                  <a:pt x="15" y="203"/>
                </a:lnTo>
                <a:lnTo>
                  <a:pt x="17" y="203"/>
                </a:lnTo>
                <a:lnTo>
                  <a:pt x="17" y="190"/>
                </a:lnTo>
                <a:lnTo>
                  <a:pt x="20" y="188"/>
                </a:lnTo>
                <a:lnTo>
                  <a:pt x="26" y="186"/>
                </a:lnTo>
                <a:lnTo>
                  <a:pt x="24" y="182"/>
                </a:lnTo>
                <a:lnTo>
                  <a:pt x="15" y="182"/>
                </a:lnTo>
                <a:lnTo>
                  <a:pt x="11" y="180"/>
                </a:lnTo>
                <a:lnTo>
                  <a:pt x="11" y="173"/>
                </a:lnTo>
                <a:lnTo>
                  <a:pt x="11" y="164"/>
                </a:lnTo>
                <a:lnTo>
                  <a:pt x="15" y="164"/>
                </a:lnTo>
                <a:lnTo>
                  <a:pt x="15" y="167"/>
                </a:lnTo>
                <a:lnTo>
                  <a:pt x="17" y="171"/>
                </a:lnTo>
                <a:lnTo>
                  <a:pt x="20" y="167"/>
                </a:lnTo>
                <a:lnTo>
                  <a:pt x="35" y="164"/>
                </a:lnTo>
                <a:lnTo>
                  <a:pt x="24" y="158"/>
                </a:lnTo>
                <a:lnTo>
                  <a:pt x="22" y="154"/>
                </a:lnTo>
                <a:lnTo>
                  <a:pt x="20" y="151"/>
                </a:lnTo>
                <a:lnTo>
                  <a:pt x="11" y="158"/>
                </a:lnTo>
                <a:lnTo>
                  <a:pt x="17" y="138"/>
                </a:lnTo>
                <a:lnTo>
                  <a:pt x="17" y="130"/>
                </a:lnTo>
                <a:lnTo>
                  <a:pt x="15" y="119"/>
                </a:lnTo>
                <a:lnTo>
                  <a:pt x="17" y="104"/>
                </a:lnTo>
                <a:lnTo>
                  <a:pt x="20" y="91"/>
                </a:lnTo>
                <a:lnTo>
                  <a:pt x="17" y="74"/>
                </a:lnTo>
                <a:lnTo>
                  <a:pt x="11" y="67"/>
                </a:lnTo>
                <a:lnTo>
                  <a:pt x="11" y="39"/>
                </a:lnTo>
                <a:lnTo>
                  <a:pt x="15" y="35"/>
                </a:lnTo>
                <a:lnTo>
                  <a:pt x="20" y="20"/>
                </a:lnTo>
                <a:lnTo>
                  <a:pt x="26" y="24"/>
                </a:lnTo>
                <a:lnTo>
                  <a:pt x="56" y="54"/>
                </a:lnTo>
                <a:lnTo>
                  <a:pt x="91" y="69"/>
                </a:lnTo>
                <a:lnTo>
                  <a:pt x="108" y="69"/>
                </a:lnTo>
                <a:lnTo>
                  <a:pt x="119" y="80"/>
                </a:lnTo>
                <a:lnTo>
                  <a:pt x="119" y="82"/>
                </a:lnTo>
                <a:lnTo>
                  <a:pt x="125" y="76"/>
                </a:lnTo>
                <a:lnTo>
                  <a:pt x="130" y="76"/>
                </a:lnTo>
                <a:lnTo>
                  <a:pt x="125" y="82"/>
                </a:lnTo>
                <a:lnTo>
                  <a:pt x="132" y="100"/>
                </a:lnTo>
                <a:lnTo>
                  <a:pt x="130" y="104"/>
                </a:lnTo>
                <a:lnTo>
                  <a:pt x="123" y="106"/>
                </a:lnTo>
                <a:lnTo>
                  <a:pt x="119" y="106"/>
                </a:lnTo>
                <a:lnTo>
                  <a:pt x="119" y="102"/>
                </a:lnTo>
                <a:lnTo>
                  <a:pt x="117" y="104"/>
                </a:lnTo>
                <a:lnTo>
                  <a:pt x="108" y="117"/>
                </a:lnTo>
                <a:lnTo>
                  <a:pt x="104" y="121"/>
                </a:lnTo>
                <a:lnTo>
                  <a:pt x="91" y="132"/>
                </a:lnTo>
                <a:lnTo>
                  <a:pt x="87" y="141"/>
                </a:lnTo>
                <a:lnTo>
                  <a:pt x="93" y="145"/>
                </a:lnTo>
                <a:lnTo>
                  <a:pt x="106" y="138"/>
                </a:lnTo>
                <a:lnTo>
                  <a:pt x="93" y="141"/>
                </a:lnTo>
                <a:lnTo>
                  <a:pt x="89" y="138"/>
                </a:lnTo>
                <a:lnTo>
                  <a:pt x="100" y="130"/>
                </a:lnTo>
                <a:lnTo>
                  <a:pt x="106" y="121"/>
                </a:lnTo>
                <a:lnTo>
                  <a:pt x="119" y="121"/>
                </a:lnTo>
                <a:lnTo>
                  <a:pt x="123" y="113"/>
                </a:lnTo>
                <a:lnTo>
                  <a:pt x="132" y="106"/>
                </a:lnTo>
                <a:lnTo>
                  <a:pt x="134" y="100"/>
                </a:lnTo>
                <a:lnTo>
                  <a:pt x="138" y="102"/>
                </a:lnTo>
                <a:lnTo>
                  <a:pt x="138" y="117"/>
                </a:lnTo>
                <a:lnTo>
                  <a:pt x="125" y="119"/>
                </a:lnTo>
                <a:lnTo>
                  <a:pt x="125" y="132"/>
                </a:lnTo>
                <a:lnTo>
                  <a:pt x="130" y="132"/>
                </a:lnTo>
                <a:lnTo>
                  <a:pt x="130" y="136"/>
                </a:lnTo>
                <a:lnTo>
                  <a:pt x="130" y="138"/>
                </a:lnTo>
                <a:lnTo>
                  <a:pt x="123" y="147"/>
                </a:lnTo>
                <a:lnTo>
                  <a:pt x="123" y="149"/>
                </a:lnTo>
                <a:lnTo>
                  <a:pt x="119" y="154"/>
                </a:lnTo>
                <a:lnTo>
                  <a:pt x="121" y="158"/>
                </a:lnTo>
                <a:lnTo>
                  <a:pt x="119" y="162"/>
                </a:lnTo>
                <a:lnTo>
                  <a:pt x="117" y="156"/>
                </a:lnTo>
                <a:lnTo>
                  <a:pt x="117" y="158"/>
                </a:lnTo>
                <a:lnTo>
                  <a:pt x="110" y="154"/>
                </a:lnTo>
                <a:lnTo>
                  <a:pt x="119" y="147"/>
                </a:lnTo>
                <a:lnTo>
                  <a:pt x="110" y="149"/>
                </a:lnTo>
                <a:lnTo>
                  <a:pt x="106" y="156"/>
                </a:lnTo>
                <a:lnTo>
                  <a:pt x="108" y="162"/>
                </a:lnTo>
                <a:lnTo>
                  <a:pt x="104" y="164"/>
                </a:lnTo>
                <a:lnTo>
                  <a:pt x="104" y="156"/>
                </a:lnTo>
                <a:lnTo>
                  <a:pt x="108" y="149"/>
                </a:lnTo>
                <a:lnTo>
                  <a:pt x="106" y="147"/>
                </a:lnTo>
                <a:lnTo>
                  <a:pt x="102" y="151"/>
                </a:lnTo>
                <a:lnTo>
                  <a:pt x="84" y="154"/>
                </a:lnTo>
                <a:lnTo>
                  <a:pt x="84" y="167"/>
                </a:lnTo>
                <a:lnTo>
                  <a:pt x="87" y="167"/>
                </a:lnTo>
                <a:lnTo>
                  <a:pt x="91" y="171"/>
                </a:lnTo>
                <a:lnTo>
                  <a:pt x="102" y="169"/>
                </a:lnTo>
                <a:lnTo>
                  <a:pt x="104" y="173"/>
                </a:lnTo>
                <a:lnTo>
                  <a:pt x="106" y="171"/>
                </a:lnTo>
                <a:lnTo>
                  <a:pt x="117" y="167"/>
                </a:lnTo>
                <a:lnTo>
                  <a:pt x="121" y="158"/>
                </a:lnTo>
                <a:lnTo>
                  <a:pt x="121" y="154"/>
                </a:lnTo>
                <a:lnTo>
                  <a:pt x="130" y="162"/>
                </a:lnTo>
                <a:lnTo>
                  <a:pt x="132" y="162"/>
                </a:lnTo>
                <a:lnTo>
                  <a:pt x="130" y="158"/>
                </a:lnTo>
                <a:lnTo>
                  <a:pt x="130" y="156"/>
                </a:lnTo>
                <a:lnTo>
                  <a:pt x="136" y="156"/>
                </a:lnTo>
                <a:lnTo>
                  <a:pt x="138" y="151"/>
                </a:lnTo>
                <a:lnTo>
                  <a:pt x="136" y="141"/>
                </a:lnTo>
                <a:lnTo>
                  <a:pt x="138" y="134"/>
                </a:lnTo>
                <a:lnTo>
                  <a:pt x="138" y="126"/>
                </a:lnTo>
                <a:lnTo>
                  <a:pt x="143" y="117"/>
                </a:lnTo>
                <a:lnTo>
                  <a:pt x="153" y="102"/>
                </a:lnTo>
                <a:lnTo>
                  <a:pt x="158" y="102"/>
                </a:lnTo>
                <a:lnTo>
                  <a:pt x="160" y="100"/>
                </a:lnTo>
                <a:lnTo>
                  <a:pt x="153" y="85"/>
                </a:lnTo>
                <a:lnTo>
                  <a:pt x="153" y="76"/>
                </a:lnTo>
              </a:path>
            </a:pathLst>
          </a:custGeom>
          <a:solidFill>
            <a:srgbClr val="FFC000"/>
          </a:solidFill>
          <a:ln w="3175">
            <a:solidFill>
              <a:srgbClr val="000000"/>
            </a:solidFill>
            <a:prstDash val="solid"/>
            <a:round/>
            <a:headEnd/>
            <a:tailEnd/>
          </a:ln>
        </p:spPr>
        <p:txBody>
          <a:bodyPr/>
          <a:lstStyle/>
          <a:p>
            <a:endParaRPr lang="en-US" dirty="0">
              <a:solidFill>
                <a:prstClr val="black"/>
              </a:solidFill>
            </a:endParaRPr>
          </a:p>
        </p:txBody>
      </p:sp>
      <p:sp>
        <p:nvSpPr>
          <p:cNvPr id="355" name="Rectangle 176">
            <a:extLst>
              <a:ext uri="{FF2B5EF4-FFF2-40B4-BE49-F238E27FC236}">
                <a16:creationId xmlns:a16="http://schemas.microsoft.com/office/drawing/2014/main" id="{12D0F34C-CDE8-4DB0-8C81-7D6618F4B766}"/>
              </a:ext>
            </a:extLst>
          </p:cNvPr>
          <p:cNvSpPr>
            <a:spLocks noChangeArrowheads="1"/>
          </p:cNvSpPr>
          <p:nvPr>
            <p:custDataLst>
              <p:tags r:id="rId172"/>
            </p:custDataLst>
          </p:nvPr>
        </p:nvSpPr>
        <p:spPr bwMode="auto">
          <a:xfrm>
            <a:off x="2804873" y="1700298"/>
            <a:ext cx="501740" cy="138499"/>
          </a:xfrm>
          <a:prstGeom prst="rect">
            <a:avLst/>
          </a:prstGeom>
          <a:solidFill>
            <a:srgbClr val="FFC000"/>
          </a:solidFill>
          <a:ln w="9525">
            <a:noFill/>
            <a:miter lim="800000"/>
            <a:headEnd/>
            <a:tailEnd/>
          </a:ln>
        </p:spPr>
        <p:txBody>
          <a:bodyPr wrap="none" lIns="0" tIns="0" rIns="0" bIns="0">
            <a:spAutoFit/>
          </a:bodyPr>
          <a:lstStyle/>
          <a:p>
            <a:r>
              <a:rPr lang="en-US" sz="900" dirty="0">
                <a:solidFill>
                  <a:srgbClr val="000000"/>
                </a:solidFill>
                <a:latin typeface="Arial Narrow" pitchFamily="34" charset="0"/>
              </a:rPr>
              <a:t>Washington</a:t>
            </a:r>
            <a:endParaRPr lang="en-US" sz="1000" dirty="0">
              <a:solidFill>
                <a:prstClr val="black"/>
              </a:solidFill>
            </a:endParaRPr>
          </a:p>
        </p:txBody>
      </p:sp>
      <p:sp>
        <p:nvSpPr>
          <p:cNvPr id="347" name="TextBox 346">
            <a:extLst>
              <a:ext uri="{FF2B5EF4-FFF2-40B4-BE49-F238E27FC236}">
                <a16:creationId xmlns:a16="http://schemas.microsoft.com/office/drawing/2014/main" id="{5A8453A0-A654-4F74-AC56-C1603C3B3B45}"/>
              </a:ext>
            </a:extLst>
          </p:cNvPr>
          <p:cNvSpPr txBox="1"/>
          <p:nvPr/>
        </p:nvSpPr>
        <p:spPr>
          <a:xfrm>
            <a:off x="1999557" y="5354076"/>
            <a:ext cx="1177951" cy="276999"/>
          </a:xfrm>
          <a:prstGeom prst="rect">
            <a:avLst/>
          </a:prstGeom>
          <a:noFill/>
        </p:spPr>
        <p:txBody>
          <a:bodyPr wrap="none" rtlCol="0">
            <a:spAutoFit/>
          </a:bodyPr>
          <a:lstStyle/>
          <a:p>
            <a:r>
              <a:rPr lang="en-US" sz="1200" dirty="0">
                <a:solidFill>
                  <a:prstClr val="black"/>
                </a:solidFill>
              </a:rPr>
              <a:t>(Alaska; Hawaii)</a:t>
            </a:r>
          </a:p>
        </p:txBody>
      </p:sp>
      <p:pic>
        <p:nvPicPr>
          <p:cNvPr id="351" name="Picture 350">
            <a:extLst>
              <a:ext uri="{FF2B5EF4-FFF2-40B4-BE49-F238E27FC236}">
                <a16:creationId xmlns:a16="http://schemas.microsoft.com/office/drawing/2014/main" id="{8724447B-2BBB-4AAE-B817-B9C752C81944}"/>
              </a:ext>
            </a:extLst>
          </p:cNvPr>
          <p:cNvPicPr>
            <a:picLocks noChangeAspect="1"/>
          </p:cNvPicPr>
          <p:nvPr/>
        </p:nvPicPr>
        <p:blipFill>
          <a:blip r:embed="rId17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1365074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57200" y="356163"/>
            <a:ext cx="381000" cy="930272"/>
          </a:xfrm>
          <a:prstGeom prst="rect">
            <a:avLst/>
          </a:prstGeom>
          <a:solidFill>
            <a:srgbClr val="0070C0"/>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dirty="0"/>
          </a:p>
        </p:txBody>
      </p:sp>
      <p:sp>
        <p:nvSpPr>
          <p:cNvPr id="10" name="Title 7">
            <a:extLst>
              <a:ext uri="{FF2B5EF4-FFF2-40B4-BE49-F238E27FC236}">
                <a16:creationId xmlns:a16="http://schemas.microsoft.com/office/drawing/2014/main" id="{D517FD14-98BD-41E9-B88B-58D96EC1C398}"/>
              </a:ext>
            </a:extLst>
          </p:cNvPr>
          <p:cNvSpPr>
            <a:spLocks noGrp="1"/>
          </p:cNvSpPr>
          <p:nvPr>
            <p:ph type="title"/>
          </p:nvPr>
        </p:nvSpPr>
        <p:spPr>
          <a:xfrm>
            <a:off x="838200" y="365125"/>
            <a:ext cx="8924925" cy="930275"/>
          </a:xfrm>
        </p:spPr>
        <p:txBody>
          <a:bodyPr anchor="t">
            <a:normAutofit fontScale="90000"/>
          </a:bodyPr>
          <a:lstStyle/>
          <a:p>
            <a:r>
              <a:rPr lang="en-US" sz="3600" b="1" dirty="0">
                <a:latin typeface="Cambria" panose="02040503050406030204" pitchFamily="18" charset="0"/>
              </a:rPr>
              <a:t>Three-Tier System</a:t>
            </a:r>
            <a:br>
              <a:rPr lang="en-US" sz="3200" b="1" dirty="0">
                <a:latin typeface="Cambria" panose="02040503050406030204" pitchFamily="18" charset="0"/>
              </a:rPr>
            </a:br>
            <a:r>
              <a:rPr lang="en-US" sz="2900" dirty="0">
                <a:latin typeface="Cambria" panose="02040503050406030204" pitchFamily="18" charset="0"/>
              </a:rPr>
              <a:t>What Is the Three-Tier System?</a:t>
            </a:r>
          </a:p>
        </p:txBody>
      </p:sp>
      <p:sp>
        <p:nvSpPr>
          <p:cNvPr id="6" name="Rectangle 5">
            <a:extLst>
              <a:ext uri="{FF2B5EF4-FFF2-40B4-BE49-F238E27FC236}">
                <a16:creationId xmlns:a16="http://schemas.microsoft.com/office/drawing/2014/main" id="{0B21CA6A-5A88-4E47-A5ED-32EBDAF15739}"/>
              </a:ext>
            </a:extLst>
          </p:cNvPr>
          <p:cNvSpPr/>
          <p:nvPr/>
        </p:nvSpPr>
        <p:spPr>
          <a:xfrm>
            <a:off x="923923" y="1462332"/>
            <a:ext cx="7109734" cy="4708981"/>
          </a:xfrm>
          <a:prstGeom prst="rect">
            <a:avLst/>
          </a:prstGeom>
        </p:spPr>
        <p:txBody>
          <a:bodyPr wrap="square">
            <a:spAutoFit/>
          </a:bodyPr>
          <a:lstStyle/>
          <a:p>
            <a:pPr marL="342900" indent="-342900">
              <a:buFont typeface="Arial" panose="020B0604020202020204" pitchFamily="34" charset="0"/>
              <a:buChar char="•"/>
            </a:pPr>
            <a:r>
              <a:rPr lang="en-US" sz="2000" dirty="0">
                <a:latin typeface="Cambria" panose="02040503050406030204" pitchFamily="18" charset="0"/>
              </a:rPr>
              <a:t>Regulatory framework involving a system for the sale of beverage alcohol products (beer, wine and spirits).</a:t>
            </a:r>
          </a:p>
          <a:p>
            <a:pPr marL="342900" indent="-342900">
              <a:buFont typeface="Arial" panose="020B0604020202020204" pitchFamily="34" charset="0"/>
              <a:buChar char="•"/>
            </a:pPr>
            <a:endParaRPr lang="en-US" sz="2000" dirty="0">
              <a:latin typeface="Cambria" panose="02040503050406030204" pitchFamily="18" charset="0"/>
            </a:endParaRPr>
          </a:p>
          <a:p>
            <a:pPr marL="342900" indent="-342900">
              <a:buFont typeface="Arial" panose="020B0604020202020204" pitchFamily="34" charset="0"/>
              <a:buChar char="•"/>
            </a:pPr>
            <a:r>
              <a:rPr lang="en-US" sz="2000" dirty="0">
                <a:latin typeface="Cambria" panose="02040503050406030204" pitchFamily="18" charset="0"/>
              </a:rPr>
              <a:t>System is made up of three “tiers”: producers, wholesalers, and retailers – each of which is licensed at the state and/or federal level.</a:t>
            </a:r>
          </a:p>
          <a:p>
            <a:endParaRPr lang="en-US" sz="2000" dirty="0">
              <a:latin typeface="Cambria" panose="02040503050406030204" pitchFamily="18" charset="0"/>
            </a:endParaRPr>
          </a:p>
          <a:p>
            <a:pPr marL="342900" indent="-342900">
              <a:buFont typeface="Arial" panose="020B0604020202020204" pitchFamily="34" charset="0"/>
              <a:buChar char="•"/>
            </a:pPr>
            <a:r>
              <a:rPr lang="en-US" sz="2000" dirty="0">
                <a:latin typeface="Cambria" panose="02040503050406030204" pitchFamily="18" charset="0"/>
              </a:rPr>
              <a:t>Each tier is typically required to be wholly separate and independent from the other tiers within the industry to prevent anti-consumer ills associated with pre-Prohibition “tied houses”.</a:t>
            </a:r>
          </a:p>
          <a:p>
            <a:pPr marL="342900" indent="-342900">
              <a:buFont typeface="Arial" panose="020B0604020202020204" pitchFamily="34" charset="0"/>
              <a:buChar char="•"/>
            </a:pPr>
            <a:endParaRPr lang="en-US" sz="2000" dirty="0">
              <a:latin typeface="Cambria" panose="02040503050406030204" pitchFamily="18" charset="0"/>
            </a:endParaRPr>
          </a:p>
          <a:p>
            <a:pPr marL="342900" indent="-342900">
              <a:buFont typeface="Arial" panose="020B0604020202020204" pitchFamily="34" charset="0"/>
              <a:buChar char="•"/>
            </a:pPr>
            <a:r>
              <a:rPr lang="en-US" sz="2000" dirty="0">
                <a:latin typeface="Cambria" panose="02040503050406030204" pitchFamily="18" charset="0"/>
              </a:rPr>
              <a:t>All states abide by the same basic tenets of the three-tier system – though each state has adopted its own unique structure for regulating beverage alcohol commerce. </a:t>
            </a:r>
          </a:p>
        </p:txBody>
      </p:sp>
      <p:sp>
        <p:nvSpPr>
          <p:cNvPr id="2" name="Slide Number Placeholder 1">
            <a:extLst>
              <a:ext uri="{FF2B5EF4-FFF2-40B4-BE49-F238E27FC236}">
                <a16:creationId xmlns:a16="http://schemas.microsoft.com/office/drawing/2014/main" id="{6883D176-F547-4F00-AE67-F6B4C9CA4B60}"/>
              </a:ext>
            </a:extLst>
          </p:cNvPr>
          <p:cNvSpPr>
            <a:spLocks noGrp="1"/>
          </p:cNvSpPr>
          <p:nvPr>
            <p:ph type="sldNum" sz="quarter" idx="12"/>
          </p:nvPr>
        </p:nvSpPr>
        <p:spPr/>
        <p:txBody>
          <a:bodyPr/>
          <a:lstStyle/>
          <a:p>
            <a:fld id="{E688E218-EDC1-45FE-BD02-D56DD4A0E21D}" type="slidenum">
              <a:rPr lang="en-US" smtClean="0"/>
              <a:t>9</a:t>
            </a:fld>
            <a:endParaRPr lang="en-US" dirty="0"/>
          </a:p>
        </p:txBody>
      </p:sp>
      <p:pic>
        <p:nvPicPr>
          <p:cNvPr id="7" name="Picture 6">
            <a:extLst>
              <a:ext uri="{FF2B5EF4-FFF2-40B4-BE49-F238E27FC236}">
                <a16:creationId xmlns:a16="http://schemas.microsoft.com/office/drawing/2014/main" id="{48CF10E8-95BC-4E06-A312-45475C0B85CE}"/>
              </a:ext>
            </a:extLst>
          </p:cNvPr>
          <p:cNvPicPr>
            <a:picLocks noChangeAspect="1"/>
          </p:cNvPicPr>
          <p:nvPr/>
        </p:nvPicPr>
        <p:blipFill>
          <a:blip r:embed="rId3"/>
          <a:stretch>
            <a:fillRect/>
          </a:stretch>
        </p:blipFill>
        <p:spPr>
          <a:xfrm>
            <a:off x="8323684" y="2301365"/>
            <a:ext cx="3429000" cy="3009900"/>
          </a:xfrm>
          <a:prstGeom prst="rect">
            <a:avLst/>
          </a:prstGeom>
        </p:spPr>
      </p:pic>
      <p:pic>
        <p:nvPicPr>
          <p:cNvPr id="11" name="Picture 10">
            <a:extLst>
              <a:ext uri="{FF2B5EF4-FFF2-40B4-BE49-F238E27FC236}">
                <a16:creationId xmlns:a16="http://schemas.microsoft.com/office/drawing/2014/main" id="{3B3E5409-99AD-4466-91F3-4A51AECD59F6}"/>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538233" y="190618"/>
            <a:ext cx="1440194" cy="598644"/>
          </a:xfrm>
          <a:prstGeom prst="rect">
            <a:avLst/>
          </a:prstGeom>
        </p:spPr>
      </p:pic>
    </p:spTree>
    <p:extLst>
      <p:ext uri="{BB962C8B-B14F-4D97-AF65-F5344CB8AC3E}">
        <p14:creationId xmlns:p14="http://schemas.microsoft.com/office/powerpoint/2010/main" val="252838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AS84OvukO_XTfMFPx7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NQPqX.Itkyq6c4fjfHY2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1gABQy1gUCp4cRHGG9N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WNSgiu98k.PDdx0Tq.k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Fl.zlga60OkfaEDQj2c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14dWln6k02d0VZIA7a3e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wwmDz_hleUe9qSjmc.cN6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DGO5hysi0yf8lEVxZGL9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4T86o9I40qvoLht1uzT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xkZIRuMNKUm7N57y4v80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uJ41A5Rx0mmFYxDVeVr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_1t2Z.vsz0uGKtty4iWO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83ap35b9UiqkvlO3utI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DVvBleKykKVhRj7WUquQ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wxHnrlVJ02l0Jlv.ZPfR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7Uwg_AhRxU6yj.g4a4uD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72lx6leijEGu4B5CW7JBN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zHK0qI_.UW_eYOXKwHhE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pTlqccMakKvChr6j8x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aeTf8fYSUe4DEHzmpbnJ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P3MbfTKuUOnFDx4IVMog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WqZ46vGHUuvX7hlYuD.K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3JDK7TeCJEeYvx0P0jAd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Z1WFf6.hUuciOicKmNnR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jDmkzTC0ka5JOMqddpsH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VICsGAQwmEC94lH99bAu9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KGEy2Ecw0qzxGtPpDM8e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x08ee1uE9USlhB6fAuGVM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RhYL_2QEUSTj5pL3M0.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v7.w_3980CfsM7hs6PY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DfyWzUxGEe2MgkSZQILH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cp_ieU4pkCH7QE88fOup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WVsKesUS5UaT3VSNKRuRM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fxfYv1I7kyF6aEDNNeJ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Wj_J6toP0u0juiHqjPD8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4peq16UR4EGwfoa3eCH7m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B3HmmczWLE2QBpypzWNNB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sXOXOW1IUWtZnE66x9d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wLrcBD8ikO2dYrZnbxj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vdO_3tWjUCQ5eafMRDKW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kEKs.VY80W0r41n0lOdh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bsYBZh4h0G1aY.n4xN4A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_fwLDkVKI024SFeXrNf5h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ldZM2pZ40.9jkGb0uXs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CAjTLqEYX0mZ.UcHm8bQ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aWD2IU2o0STXbW.ruUHC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0liA3_cXaEWSWM3JT1foZ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u2ADC4xoSU2eueSGOlev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a.k7BARxDUubF2jV8HfuL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25ngl24kUK7qFcIyiYvA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1_CEflBj0ChcCuyHZnte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WQYj53YFJkWbDBxlbiIpI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8Ow658.AUO45IUa.pL7X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4vgPeolLUiwslJ2co_mS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_O0jgnrAM0C0A278Hz4Eq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xqE0RNCu9Uq5IwscFq1j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rxfk8r16UeY4n6uu3E62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e.pvz9foEeWtGWu0_st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uWonrb4XUucK.b6Atwgg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kjKGY3qrc0OEakl7d.6XK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dpqjLOE3dUuVzXF6WFf1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at9U7B0yUCJLJ2BtUGS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nb3iOiF30a_I5Obk8osG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Myg53RSJkmAlvwK6Foi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hQ95d8GhUaeL8VuZD3T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BzSEhNVNES8298BVRds0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9X_WKbIeMES7iZSUPIYS8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EIWwtrqcEWcjIsEelWAC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bgw2dT3V0GbvTG9PcvM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pYDBZlNhEejsxZyBMXgE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6p29SSIRkC7KNdoZ_R4H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IfaW1BOX0SkH8guKfoh_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DWSTqc9y02RvjeB7brWg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wCWxXOYBEC7SHhjeV2.s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CPL3gtofLkyGHa9yrUkJW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ej8keFHfU2skFY9IhStP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9l94Q2WSWE2g4i2JHDt.A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kHvE5QcoE0i.i7Eg9PbJ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fhKliRJO0G41RVk1jOVq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4GM00qQS0SpIi0_61.Pi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yE_wKqcDh06kV6x1jgtiD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cp_ieU4pkCH7QE88fOu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wojzIoO9Uy_iik4l9.i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DNK1.fbKkm22eTCIFoc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W8q6esUCZdoUdqWA4g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n56UkxyC06beyzXnpri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VWFHT4M.kSFNy64mOVw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bllGGP2j0iEkh7SNEqK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2zd0oLxykGGL4nWXQ2p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xv_x01yTE2_1wZBOOpy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y5QPPRoFU2J1sN.Motm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fLr.nnpI0SXfrAVTCEA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1IiNaZqka9gJ6rQES1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XJSZLs3mECo1qheSCTq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nm2LLrLk0u5w57L_0TH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w2o.LTlCU.kFGXU0T0.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qvnh8t_9UmtxFZoJ03H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iV8gJPxtkiDDtpqCQWm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t.ejugodUemFfILcvSb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sY8CeavC0CmJJOTTfIT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TAuKRJlYEeYhzZefFGN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HZTUOMm_kaQ36vRPgHg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yuh30KEjEujoDppxwVP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wucB_DlCkGH4.tJ_ju4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6VwVncce0.l.bwtrk8Z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FGjj2lfzkuKTxYJvJai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rHV1RrYiUyULSBVA2XlE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dk9CJiEhkeYLjK0L3fo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6L4cR.lUuYJI2bsZcA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l1RfUdEhUSB8FZ.gVy9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VqYtT9R80ag.g1gacT44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96uL67FQ7UKYi3Gjryml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YN5sfAqr0qdoJ1ofcpl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TBtl19OXkqttu75R6sy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CRPaQUBUECr9eeWvgGsv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NYO4c1BtE6nBahUTl3a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4pSJZ9Ld0SYIMbwrrE2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aVhkpVV70SIFjD_cvEuB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3deHm1NJUezhaUy5FL1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NDrmdjuxka7c28sgwvH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l8.Xura1kmNAd.OWMr4q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tk3Qev1bk.e0vKi2DnH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ImPwal.pkSkajuGA5C.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QqJvJHxrEmV.JHFhF9G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Ekj1U.Cy0OXbU8HDQpl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StWxAEllkC4A2f8AyVCs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18UFVaiokux0OIUPx1H8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HUI3MzjQ0G38K0NGj.8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NqR7EaVaU2fL9IlQciH_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xQfwKlsfEa4RAB0jHGx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GAUX0g_ykyhAlKJjKgP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v3Fl7_p_keOH1BZzltvy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TqRLDgVo0GS6GWcKzZ7.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2D1a.nz.ECSWKWfujmG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g54oomTrUm0lqQEDLlk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MjKI2WhA0OxUc3qR8Pt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JpQAXaeZEShLdimA2wT2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XQJvfU56kydBNh5EO3U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6mYj6UM3UmiHDm4lltS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BvHUNDuekmPCsZkOkMrP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PPbI8T4W0iTM_ulfQhC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iF0HIOsx0KuNZ2_ApCz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gegDgRfCUy9xJ69UE_L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SYfFDASoE6oS74SUcLC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K.AO2gjHke5EmL2R6dSq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XxEXNS6.UOVm9noLj9i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VcSC5OXRkq.iiMH56fPs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DhDTJWiGEW5VsPFFCogb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faClcO3tUSAHWaL1CME_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p711_NwfEWQVMk9jAhm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YbpDpc_N0ijBPkng1gFZ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F9tj5VUUibjeAbJZLe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6ULDxnBx0GYSjrtPqJ.6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7EHIbDrbkClsoEzGzE_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UGonlJcY0.fAUrrCr3U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lshxXFRSkeowFQ7PAX_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qPfFiOVMEGLezaaEP2U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P9YZ84k_UepwS3Lk0RS8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jPiEmrBE027fo7VkFpzW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EFULQlmPU.WvnoxuQkV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QeMtBywHUiCkUWIWud_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c85SajyO0Ko5fDJW0Q4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UgiU3Q5ZUSuyGETrIhR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3jcEnVoPikado4xpM8r6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SStaaVYvOECglsc3fFsl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7YSsZiu5pkCwD_9jJa.K.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41Fpt0iVkmJGssVxGdH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4YwENEHIkyKcTLBhAGV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aGDtgeiC0WRjniANGMo_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8ld_wpt4U6OJnqIk5Kjs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pj5oM7_Z06s1X7dL3GU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WG6FPLpibE6qe3966s.4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063</TotalTime>
  <Words>2466</Words>
  <Application>Microsoft Office PowerPoint</Application>
  <PresentationFormat>Widescreen</PresentationFormat>
  <Paragraphs>425</Paragraphs>
  <Slides>26</Slides>
  <Notes>25</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6</vt:i4>
      </vt:variant>
    </vt:vector>
  </HeadingPairs>
  <TitlesOfParts>
    <vt:vector size="33" baseType="lpstr">
      <vt:lpstr>Aharoni</vt:lpstr>
      <vt:lpstr>Arial</vt:lpstr>
      <vt:lpstr>Arial Narrow</vt:lpstr>
      <vt:lpstr>Calibri</vt:lpstr>
      <vt:lpstr>Calibri Light</vt:lpstr>
      <vt:lpstr>Cambria</vt:lpstr>
      <vt:lpstr>Office Theme</vt:lpstr>
      <vt:lpstr>PowerPoint Presentation</vt:lpstr>
      <vt:lpstr>Regulation of the Alcohol Marketplace What We’ll Cover</vt:lpstr>
      <vt:lpstr>Independent Beverage Retailers  Providing Choice, Service &amp; Accountability</vt:lpstr>
      <vt:lpstr>Economic Impact of Beverage Retailers ~2/3 of U.S. Adults Enjoy Beverage Alcohol…</vt:lpstr>
      <vt:lpstr>Economic Impact of Beverage Retailers …in WISCONSIN</vt:lpstr>
      <vt:lpstr>Public Opinion Are Americans Happy with the System &amp; Variety of Options?</vt:lpstr>
      <vt:lpstr>Alcohol Regulation in America How Is Alcohol Regulated in the United States?</vt:lpstr>
      <vt:lpstr>Alcohol Regulation in America Open States &amp; Control States</vt:lpstr>
      <vt:lpstr>Three-Tier System What Is the Three-Tier System?</vt:lpstr>
      <vt:lpstr>Three-Tier System Five Common Characteristics Among State Systems</vt:lpstr>
      <vt:lpstr>Federal Alcohol Regulation Is There a Dedicated Federal Alcohol Enforcement Agency?</vt:lpstr>
      <vt:lpstr>State Alcohol Regulation Do Most States Have Dedicated Alcohol Laws Enforcement Agencies?</vt:lpstr>
      <vt:lpstr>State Alcohol Regulation Which State Govt. Departments Are Alcohol Control Agencies?</vt:lpstr>
      <vt:lpstr>State Alcohol Regulation What Are Alcohol Control Agencies Called?</vt:lpstr>
      <vt:lpstr>State Alcohol Regulation Examples of States with Dedicated Alcohol Law Enforcement</vt:lpstr>
      <vt:lpstr>Snapshot on Enforcement Compliance Checks Enforced in the United States</vt:lpstr>
      <vt:lpstr>State Challenges &amp; Opportunities… …But Mostly Challenges</vt:lpstr>
      <vt:lpstr>Market Facts Pertinent Realities for Alcohol Marketplace Regulation</vt:lpstr>
      <vt:lpstr>Disruption Doesn’t Discriminate Similar Forces Are Shaping ALL Retail</vt:lpstr>
      <vt:lpstr>Regulation &amp; Enforcement It’s Only Going to Get More Complicated </vt:lpstr>
      <vt:lpstr>Building a Bridge to Future Regulation Acknowledge Realities &amp; Ask the Right Questions</vt:lpstr>
      <vt:lpstr>Understand Constituencies  Balance Is Important for Effective Regulation</vt:lpstr>
      <vt:lpstr>Retailer Relationships with Control Systems What Are Retailers Saying About Alcohol Regulators?</vt:lpstr>
      <vt:lpstr>Effective Alcohol Regulation “What Does This Regulatory Agency Do for Me?”*</vt:lpstr>
      <vt:lpstr>Moving forward Balancing Access/Normalization with Control/Public Safety</vt:lpstr>
      <vt:lpstr>Questions &amp; Discuss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act of Grocery Sales of Alcohol on Independent Package Stores</dc:title>
  <dc:creator>John Bodnovich</dc:creator>
  <cp:lastModifiedBy>John Bodnovich</cp:lastModifiedBy>
  <cp:revision>130</cp:revision>
  <cp:lastPrinted>2018-07-24T15:20:57Z</cp:lastPrinted>
  <dcterms:created xsi:type="dcterms:W3CDTF">2017-08-23T14:30:12Z</dcterms:created>
  <dcterms:modified xsi:type="dcterms:W3CDTF">2018-07-24T15:22:50Z</dcterms:modified>
</cp:coreProperties>
</file>